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x-e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2.xml" ContentType="application/vnd.openxmlformats-officedocument.presentationml.notesSlide+xml"/>
  <Override PartName="/ppt/tags/tag6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6.xml" ContentType="application/vnd.openxmlformats-officedocument.drawingml.chart+xml"/>
  <Override PartName="/ppt/notesSlides/notesSlide16.xml" ContentType="application/vnd.openxmlformats-officedocument.presentationml.notesSlide+xml"/>
  <Override PartName="/ppt/charts/chart7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8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64.xml" ContentType="application/vnd.openxmlformats-officedocument.presentationml.tags+xml"/>
  <Override PartName="/ppt/notesSlides/notesSlide22.xml" ContentType="application/vnd.openxmlformats-officedocument.presentationml.notesSlide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9.xml" ContentType="application/vnd.openxmlformats-officedocument.drawingml.chart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0.xml" ContentType="application/vnd.openxmlformats-officedocument.drawingml.chart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11.xml" ContentType="application/vnd.openxmlformats-officedocument.drawingml.chart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12.xml" ContentType="application/vnd.openxmlformats-officedocument.drawingml.chart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13.xml" ContentType="application/vnd.openxmlformats-officedocument.drawingml.chart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14.xml" ContentType="application/vnd.openxmlformats-officedocument.drawingml.chart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15.xml" ContentType="application/vnd.openxmlformats-officedocument.drawingml.chart+xml"/>
  <Override PartName="/ppt/notesSlides/notesSlide31.xml" ContentType="application/vnd.openxmlformats-officedocument.presentationml.notesSlide+xml"/>
  <Override PartName="/ppt/tags/tag73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rts/chart16.xml" ContentType="application/vnd.openxmlformats-officedocument.drawingml.chart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rts/chart17.xml" ContentType="application/vnd.openxmlformats-officedocument.drawingml.chart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tags/tag74.xml" ContentType="application/vnd.openxmlformats-officedocument.presentationml.tags+xml"/>
  <Override PartName="/ppt/notesSlides/notesSlide40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8" r:id="rId2"/>
    <p:sldMasterId id="2147483701" r:id="rId3"/>
  </p:sldMasterIdLst>
  <p:notesMasterIdLst>
    <p:notesMasterId r:id="rId46"/>
  </p:notesMasterIdLst>
  <p:handoutMasterIdLst>
    <p:handoutMasterId r:id="rId47"/>
  </p:handoutMasterIdLst>
  <p:sldIdLst>
    <p:sldId id="256" r:id="rId4"/>
    <p:sldId id="261" r:id="rId5"/>
    <p:sldId id="564" r:id="rId6"/>
    <p:sldId id="561" r:id="rId7"/>
    <p:sldId id="562" r:id="rId8"/>
    <p:sldId id="524" r:id="rId9"/>
    <p:sldId id="563" r:id="rId10"/>
    <p:sldId id="567" r:id="rId11"/>
    <p:sldId id="525" r:id="rId12"/>
    <p:sldId id="514" r:id="rId13"/>
    <p:sldId id="565" r:id="rId14"/>
    <p:sldId id="526" r:id="rId15"/>
    <p:sldId id="566" r:id="rId16"/>
    <p:sldId id="529" r:id="rId17"/>
    <p:sldId id="569" r:id="rId18"/>
    <p:sldId id="535" r:id="rId19"/>
    <p:sldId id="530" r:id="rId20"/>
    <p:sldId id="568" r:id="rId21"/>
    <p:sldId id="527" r:id="rId22"/>
    <p:sldId id="570" r:id="rId23"/>
    <p:sldId id="589" r:id="rId24"/>
    <p:sldId id="580" r:id="rId25"/>
    <p:sldId id="581" r:id="rId26"/>
    <p:sldId id="582" r:id="rId27"/>
    <p:sldId id="583" r:id="rId28"/>
    <p:sldId id="584" r:id="rId29"/>
    <p:sldId id="585" r:id="rId30"/>
    <p:sldId id="586" r:id="rId31"/>
    <p:sldId id="587" r:id="rId32"/>
    <p:sldId id="588" r:id="rId33"/>
    <p:sldId id="590" r:id="rId34"/>
    <p:sldId id="592" r:id="rId35"/>
    <p:sldId id="593" r:id="rId36"/>
    <p:sldId id="598" r:id="rId37"/>
    <p:sldId id="599" r:id="rId38"/>
    <p:sldId id="600" r:id="rId39"/>
    <p:sldId id="595" r:id="rId40"/>
    <p:sldId id="596" r:id="rId41"/>
    <p:sldId id="597" r:id="rId42"/>
    <p:sldId id="594" r:id="rId43"/>
    <p:sldId id="573" r:id="rId44"/>
    <p:sldId id="539" r:id="rId45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2B23C3AD-82BB-4141-A07A-3E1535D8E018}">
          <p14:sldIdLst>
            <p14:sldId id="256"/>
            <p14:sldId id="261"/>
            <p14:sldId id="564"/>
            <p14:sldId id="561"/>
            <p14:sldId id="562"/>
            <p14:sldId id="524"/>
            <p14:sldId id="563"/>
            <p14:sldId id="567"/>
            <p14:sldId id="525"/>
            <p14:sldId id="514"/>
            <p14:sldId id="565"/>
            <p14:sldId id="526"/>
            <p14:sldId id="566"/>
            <p14:sldId id="529"/>
            <p14:sldId id="569"/>
            <p14:sldId id="535"/>
            <p14:sldId id="530"/>
            <p14:sldId id="568"/>
            <p14:sldId id="527"/>
            <p14:sldId id="570"/>
            <p14:sldId id="589"/>
            <p14:sldId id="580"/>
            <p14:sldId id="581"/>
            <p14:sldId id="582"/>
            <p14:sldId id="583"/>
            <p14:sldId id="584"/>
            <p14:sldId id="585"/>
            <p14:sldId id="586"/>
            <p14:sldId id="587"/>
            <p14:sldId id="588"/>
            <p14:sldId id="590"/>
            <p14:sldId id="592"/>
            <p14:sldId id="593"/>
            <p14:sldId id="598"/>
            <p14:sldId id="599"/>
            <p14:sldId id="600"/>
            <p14:sldId id="595"/>
            <p14:sldId id="596"/>
            <p14:sldId id="597"/>
            <p14:sldId id="594"/>
            <p14:sldId id="573"/>
            <p14:sldId id="539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9B200"/>
    <a:srgbClr val="FFD6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90" autoAdjust="0"/>
    <p:restoredTop sz="93849" autoAdjust="0"/>
  </p:normalViewPr>
  <p:slideViewPr>
    <p:cSldViewPr showGuides="1">
      <p:cViewPr>
        <p:scale>
          <a:sx n="86" d="100"/>
          <a:sy n="86" d="100"/>
        </p:scale>
        <p:origin x="-894" y="186"/>
      </p:cViewPr>
      <p:guideLst>
        <p:guide orient="horz" pos="708"/>
        <p:guide orient="horz" pos="4065"/>
        <p:guide orient="horz" pos="4156"/>
        <p:guide orient="horz" pos="572"/>
        <p:guide orient="horz" pos="1299"/>
        <p:guide orient="horz" pos="1389"/>
        <p:guide orient="horz" pos="1979"/>
        <p:guide orient="horz" pos="2069"/>
        <p:guide orient="horz" pos="2659"/>
        <p:guide orient="horz" pos="2751"/>
        <p:guide orient="horz" pos="3339"/>
        <p:guide orient="horz" pos="3431"/>
        <p:guide orient="horz" pos="4020"/>
        <p:guide pos="204"/>
        <p:guide pos="5556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438" y="-204"/>
      </p:cViewPr>
      <p:guideLst>
        <p:guide orient="horz" pos="5939"/>
        <p:guide orient="horz" pos="517"/>
        <p:guide pos="281"/>
        <p:guide pos="400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7.2817468976854482E-2"/>
          <c:w val="0.99316360704887019"/>
          <c:h val="0.79572918679975813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15875"/>
          </c:spPr>
          <c:marker>
            <c:symbol val="circle"/>
            <c:size val="5"/>
            <c:spPr>
              <a:solidFill>
                <a:srgbClr val="0070C0"/>
              </a:solidFill>
              <a:ln>
                <a:solidFill>
                  <a:schemeClr val="accent1"/>
                </a:solidFill>
              </a:ln>
            </c:spPr>
          </c:marker>
          <c:dLbls>
            <c:txPr>
              <a:bodyPr/>
              <a:lstStyle/>
              <a:p>
                <a:pPr>
                  <a:defRPr b="1">
                    <a:solidFill>
                      <a:schemeClr val="accent1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9</c:f>
              <c:strCache>
                <c:ptCount val="8"/>
                <c:pt idx="0">
                  <c:v>Q4'2007</c:v>
                </c:pt>
                <c:pt idx="1">
                  <c:v>Q4'2008</c:v>
                </c:pt>
                <c:pt idx="2">
                  <c:v>Q4'2009</c:v>
                </c:pt>
                <c:pt idx="3">
                  <c:v>Q4'2010</c:v>
                </c:pt>
                <c:pt idx="4">
                  <c:v>Q4'2011</c:v>
                </c:pt>
                <c:pt idx="5">
                  <c:v>Q4'2012</c:v>
                </c:pt>
                <c:pt idx="6">
                  <c:v>Q4'2013</c:v>
                </c:pt>
                <c:pt idx="7">
                  <c:v>Q4'2014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0.122</c:v>
                </c:pt>
                <c:pt idx="1">
                  <c:v>0.156</c:v>
                </c:pt>
                <c:pt idx="2">
                  <c:v>0.217</c:v>
                </c:pt>
                <c:pt idx="3">
                  <c:v>0.26300000000000001</c:v>
                </c:pt>
                <c:pt idx="4">
                  <c:v>0.33</c:v>
                </c:pt>
                <c:pt idx="5">
                  <c:v>0.435</c:v>
                </c:pt>
                <c:pt idx="6">
                  <c:v>0.5</c:v>
                </c:pt>
                <c:pt idx="7">
                  <c:v>0.5259605381849251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695104"/>
        <c:axId val="19696640"/>
      </c:lineChart>
      <c:catAx>
        <c:axId val="19695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696640"/>
        <c:crosses val="autoZero"/>
        <c:auto val="1"/>
        <c:lblAlgn val="ctr"/>
        <c:lblOffset val="100"/>
        <c:noMultiLvlLbl val="0"/>
      </c:catAx>
      <c:valAx>
        <c:axId val="1969664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96951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520039642160856E-2"/>
          <c:y val="5.4512630821476817E-2"/>
          <c:w val="0.94665733012695852"/>
          <c:h val="0.719716453522869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24</c:f>
              <c:strCache>
                <c:ptCount val="23"/>
                <c:pt idx="0">
                  <c:v>Мексика</c:v>
                </c:pt>
                <c:pt idx="1">
                  <c:v>Польша</c:v>
                </c:pt>
                <c:pt idx="2">
                  <c:v>Турция</c:v>
                </c:pt>
                <c:pt idx="3">
                  <c:v>Китай</c:v>
                </c:pt>
                <c:pt idx="4">
                  <c:v>Россия</c:v>
                </c:pt>
                <c:pt idx="5">
                  <c:v>Бразилия</c:v>
                </c:pt>
                <c:pt idx="6">
                  <c:v>Аргентина</c:v>
                </c:pt>
                <c:pt idx="7">
                  <c:v>Южная Корея</c:v>
                </c:pt>
                <c:pt idx="8">
                  <c:v>США</c:v>
                </c:pt>
                <c:pt idx="9">
                  <c:v>Испания</c:v>
                </c:pt>
                <c:pt idx="10">
                  <c:v>Австралия</c:v>
                </c:pt>
                <c:pt idx="11">
                  <c:v>Италия</c:v>
                </c:pt>
                <c:pt idx="12">
                  <c:v>Франция</c:v>
                </c:pt>
                <c:pt idx="13">
                  <c:v>Канада</c:v>
                </c:pt>
                <c:pt idx="14">
                  <c:v>Бельгия</c:v>
                </c:pt>
                <c:pt idx="15">
                  <c:v>Индия</c:v>
                </c:pt>
                <c:pt idx="16">
                  <c:v>Украина</c:v>
                </c:pt>
                <c:pt idx="17">
                  <c:v>Южная Африка</c:v>
                </c:pt>
                <c:pt idx="18">
                  <c:v>Великобритания</c:v>
                </c:pt>
                <c:pt idx="19">
                  <c:v>Швеция</c:v>
                </c:pt>
                <c:pt idx="20">
                  <c:v>Германия</c:v>
                </c:pt>
                <c:pt idx="21">
                  <c:v>Индонезия</c:v>
                </c:pt>
                <c:pt idx="22">
                  <c:v>Япония</c:v>
                </c:pt>
              </c:strCache>
            </c:strRef>
          </c:cat>
          <c:val>
            <c:numRef>
              <c:f>Tabelle1!$B$2:$B$24</c:f>
              <c:numCache>
                <c:formatCode>0%</c:formatCode>
                <c:ptCount val="23"/>
                <c:pt idx="0">
                  <c:v>0.55400000000000005</c:v>
                </c:pt>
                <c:pt idx="1">
                  <c:v>0.53300000000000003</c:v>
                </c:pt>
                <c:pt idx="2">
                  <c:v>0.52100000000000002</c:v>
                </c:pt>
                <c:pt idx="3">
                  <c:v>0.49199999999999999</c:v>
                </c:pt>
                <c:pt idx="4">
                  <c:v>0.46200000000000002</c:v>
                </c:pt>
                <c:pt idx="5">
                  <c:v>0.43099999999999999</c:v>
                </c:pt>
                <c:pt idx="6">
                  <c:v>0.41699999999999998</c:v>
                </c:pt>
                <c:pt idx="7">
                  <c:v>0.41299999999999998</c:v>
                </c:pt>
                <c:pt idx="8">
                  <c:v>0.38600000000000001</c:v>
                </c:pt>
                <c:pt idx="9">
                  <c:v>0.375</c:v>
                </c:pt>
                <c:pt idx="10">
                  <c:v>0.33800000000000002</c:v>
                </c:pt>
                <c:pt idx="11">
                  <c:v>0.32100000000000001</c:v>
                </c:pt>
                <c:pt idx="12">
                  <c:v>0.317</c:v>
                </c:pt>
                <c:pt idx="13">
                  <c:v>0.314</c:v>
                </c:pt>
                <c:pt idx="14">
                  <c:v>0.311</c:v>
                </c:pt>
                <c:pt idx="15">
                  <c:v>0.27900000000000003</c:v>
                </c:pt>
                <c:pt idx="16">
                  <c:v>0.27800000000000002</c:v>
                </c:pt>
                <c:pt idx="17">
                  <c:v>0.27400000000000002</c:v>
                </c:pt>
                <c:pt idx="18">
                  <c:v>0.27300000000000002</c:v>
                </c:pt>
                <c:pt idx="19">
                  <c:v>0.254</c:v>
                </c:pt>
                <c:pt idx="20">
                  <c:v>0.23899999999999999</c:v>
                </c:pt>
                <c:pt idx="21">
                  <c:v>0.20699999999999999</c:v>
                </c:pt>
                <c:pt idx="22">
                  <c:v>0.15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5763328"/>
        <c:axId val="145770368"/>
      </c:barChart>
      <c:catAx>
        <c:axId val="14576332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45770368"/>
        <c:crosses val="autoZero"/>
        <c:auto val="1"/>
        <c:lblAlgn val="ctr"/>
        <c:lblOffset val="100"/>
        <c:noMultiLvlLbl val="0"/>
      </c:catAx>
      <c:valAx>
        <c:axId val="14577036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457633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104716842559748E-2"/>
          <c:y val="9.2191478035458033E-2"/>
          <c:w val="0.88706355741710918"/>
          <c:h val="0.760920036826160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ікові групи </c:v>
                </c:pt>
              </c:strCache>
            </c:strRef>
          </c:tx>
          <c:spPr>
            <a:solidFill>
              <a:schemeClr val="accent1"/>
            </a:solidFill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400" dirty="0" smtClean="0"/>
                      <a:t>30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400" dirty="0" smtClean="0"/>
                      <a:t>32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2611644997173543E-3"/>
                  <c:y val="8.8182196917094849E-2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 smtClean="0"/>
                      <a:t>33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1400" dirty="0" smtClean="0"/>
                      <a:t>31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1400" dirty="0" smtClean="0"/>
                      <a:t>24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1400" dirty="0" smtClean="0"/>
                      <a:t>20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7</c:f>
              <c:strCache>
                <c:ptCount val="6"/>
                <c:pt idx="0">
                  <c:v>15 – 19 
лет</c:v>
                </c:pt>
                <c:pt idx="1">
                  <c:v>20 – 29
лет</c:v>
                </c:pt>
                <c:pt idx="2">
                  <c:v>30 – 39 
лет</c:v>
                </c:pt>
                <c:pt idx="3">
                  <c:v>40 – 49 
лет</c:v>
                </c:pt>
                <c:pt idx="4">
                  <c:v>50 – 59 
лет</c:v>
                </c:pt>
                <c:pt idx="5">
                  <c:v>60 лет и старше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0.2</c:v>
                </c:pt>
                <c:pt idx="1">
                  <c:v>32.299999999999997</c:v>
                </c:pt>
                <c:pt idx="2">
                  <c:v>33</c:v>
                </c:pt>
                <c:pt idx="3">
                  <c:v>30.7</c:v>
                </c:pt>
                <c:pt idx="4">
                  <c:v>24.3</c:v>
                </c:pt>
                <c:pt idx="5">
                  <c:v>19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45851904"/>
        <c:axId val="145853440"/>
      </c:barChart>
      <c:catAx>
        <c:axId val="14585190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45853440"/>
        <c:crosses val="autoZero"/>
        <c:auto val="1"/>
        <c:lblAlgn val="ctr"/>
        <c:lblOffset val="100"/>
        <c:noMultiLvlLbl val="0"/>
      </c:catAx>
      <c:valAx>
        <c:axId val="145853440"/>
        <c:scaling>
          <c:orientation val="minMax"/>
          <c:max val="50"/>
          <c:min val="0"/>
        </c:scaling>
        <c:delete val="1"/>
        <c:axPos val="l"/>
        <c:numFmt formatCode="0%" sourceLinked="0"/>
        <c:majorTickMark val="none"/>
        <c:minorTickMark val="none"/>
        <c:tickLblPos val="nextTo"/>
        <c:crossAx val="1458519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en-US" sz="1200" noProof="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815013685697393E-2"/>
          <c:y val="2.6454660745013996E-2"/>
          <c:w val="0.95469486253490665"/>
          <c:h val="0.747291332472215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24</c:f>
              <c:strCache>
                <c:ptCount val="23"/>
                <c:pt idx="0">
                  <c:v>Мексика</c:v>
                </c:pt>
                <c:pt idx="1">
                  <c:v>Китай</c:v>
                </c:pt>
                <c:pt idx="2">
                  <c:v>Турция</c:v>
                </c:pt>
                <c:pt idx="3">
                  <c:v>Испания</c:v>
                </c:pt>
                <c:pt idx="4">
                  <c:v>Бразилия</c:v>
                </c:pt>
                <c:pt idx="5">
                  <c:v>Южная Корея</c:v>
                </c:pt>
                <c:pt idx="6">
                  <c:v>Аргентина</c:v>
                </c:pt>
                <c:pt idx="7">
                  <c:v>США</c:v>
                </c:pt>
                <c:pt idx="8">
                  <c:v>Россия</c:v>
                </c:pt>
                <c:pt idx="9">
                  <c:v>Австралия</c:v>
                </c:pt>
                <c:pt idx="10">
                  <c:v>Польша</c:v>
                </c:pt>
                <c:pt idx="11">
                  <c:v>Канада</c:v>
                </c:pt>
                <c:pt idx="12">
                  <c:v>Швеция</c:v>
                </c:pt>
                <c:pt idx="13">
                  <c:v>Италия</c:v>
                </c:pt>
                <c:pt idx="14">
                  <c:v>Франция</c:v>
                </c:pt>
                <c:pt idx="15">
                  <c:v>Бельгия</c:v>
                </c:pt>
                <c:pt idx="16">
                  <c:v>Германия</c:v>
                </c:pt>
                <c:pt idx="17">
                  <c:v>Великобритания</c:v>
                </c:pt>
                <c:pt idx="18">
                  <c:v>Южная Африка</c:v>
                </c:pt>
                <c:pt idx="19">
                  <c:v>Япония</c:v>
                </c:pt>
                <c:pt idx="20">
                  <c:v>Индонезия</c:v>
                </c:pt>
                <c:pt idx="21">
                  <c:v>Украина</c:v>
                </c:pt>
                <c:pt idx="22">
                  <c:v>Индия</c:v>
                </c:pt>
              </c:strCache>
            </c:strRef>
          </c:cat>
          <c:val>
            <c:numRef>
              <c:f>Tabelle1!$B$2:$B$24</c:f>
              <c:numCache>
                <c:formatCode>0%</c:formatCode>
                <c:ptCount val="23"/>
                <c:pt idx="0">
                  <c:v>0.48899999999999999</c:v>
                </c:pt>
                <c:pt idx="1">
                  <c:v>0.48699999999999999</c:v>
                </c:pt>
                <c:pt idx="2">
                  <c:v>0.47199999999999998</c:v>
                </c:pt>
                <c:pt idx="3">
                  <c:v>0.41199999999999998</c:v>
                </c:pt>
                <c:pt idx="4">
                  <c:v>0.38600000000000001</c:v>
                </c:pt>
                <c:pt idx="5">
                  <c:v>0.38</c:v>
                </c:pt>
                <c:pt idx="6">
                  <c:v>0.36099999999999999</c:v>
                </c:pt>
                <c:pt idx="7">
                  <c:v>0.33600000000000002</c:v>
                </c:pt>
                <c:pt idx="8">
                  <c:v>0.33500000000000002</c:v>
                </c:pt>
                <c:pt idx="9">
                  <c:v>0.32800000000000001</c:v>
                </c:pt>
                <c:pt idx="10">
                  <c:v>0.32500000000000001</c:v>
                </c:pt>
                <c:pt idx="11">
                  <c:v>0.311</c:v>
                </c:pt>
                <c:pt idx="12">
                  <c:v>0.3</c:v>
                </c:pt>
                <c:pt idx="13">
                  <c:v>0.29399999999999998</c:v>
                </c:pt>
                <c:pt idx="14">
                  <c:v>0.26100000000000001</c:v>
                </c:pt>
                <c:pt idx="15">
                  <c:v>0.25</c:v>
                </c:pt>
                <c:pt idx="16">
                  <c:v>0.248</c:v>
                </c:pt>
                <c:pt idx="17">
                  <c:v>0.24399999999999999</c:v>
                </c:pt>
                <c:pt idx="18">
                  <c:v>0.24</c:v>
                </c:pt>
                <c:pt idx="19">
                  <c:v>0.17100000000000001</c:v>
                </c:pt>
                <c:pt idx="20">
                  <c:v>0.156</c:v>
                </c:pt>
                <c:pt idx="21">
                  <c:v>0.125</c:v>
                </c:pt>
                <c:pt idx="22">
                  <c:v>0.12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8587648"/>
        <c:axId val="148594688"/>
      </c:barChart>
      <c:catAx>
        <c:axId val="14858764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48594688"/>
        <c:crosses val="autoZero"/>
        <c:auto val="1"/>
        <c:lblAlgn val="ctr"/>
        <c:lblOffset val="100"/>
        <c:noMultiLvlLbl val="0"/>
      </c:catAx>
      <c:valAx>
        <c:axId val="1485946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48587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104716842559748E-2"/>
          <c:y val="9.2191413743975867E-2"/>
          <c:w val="0.88706355741710918"/>
          <c:h val="0.760920036826160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ge Groups</c:v>
                </c:pt>
              </c:strCache>
            </c:strRef>
          </c:tx>
          <c:spPr>
            <a:solidFill>
              <a:schemeClr val="accent3"/>
            </a:solidFill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400" dirty="0" smtClean="0"/>
                      <a:t>22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400" dirty="0" smtClean="0"/>
                      <a:t>20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400" dirty="0" smtClean="0"/>
                      <a:t>15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1400" dirty="0" smtClean="0"/>
                      <a:t>16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1400" dirty="0" smtClean="0"/>
                      <a:t>8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1.4739208031806282E-2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 smtClean="0">
                        <a:solidFill>
                          <a:schemeClr val="tx1"/>
                        </a:solidFill>
                      </a:rPr>
                      <a:t>3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7</c:f>
              <c:strCache>
                <c:ptCount val="6"/>
                <c:pt idx="0">
                  <c:v>15 – 19 
лет</c:v>
                </c:pt>
                <c:pt idx="1">
                  <c:v>20 – 29
лет</c:v>
                </c:pt>
                <c:pt idx="2">
                  <c:v>30 – 39 
лет</c:v>
                </c:pt>
                <c:pt idx="3">
                  <c:v>40 – 49 
лет</c:v>
                </c:pt>
                <c:pt idx="4">
                  <c:v>50 – 59 
лет</c:v>
                </c:pt>
                <c:pt idx="5">
                  <c:v>60 лет и старше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1.9</c:v>
                </c:pt>
                <c:pt idx="1">
                  <c:v>20.2</c:v>
                </c:pt>
                <c:pt idx="2">
                  <c:v>14.6</c:v>
                </c:pt>
                <c:pt idx="3">
                  <c:v>15.7</c:v>
                </c:pt>
                <c:pt idx="4">
                  <c:v>7.5</c:v>
                </c:pt>
                <c:pt idx="5">
                  <c:v>2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48802944"/>
        <c:axId val="148812928"/>
      </c:barChart>
      <c:catAx>
        <c:axId val="14880294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48812928"/>
        <c:crosses val="autoZero"/>
        <c:auto val="1"/>
        <c:lblAlgn val="ctr"/>
        <c:lblOffset val="100"/>
        <c:noMultiLvlLbl val="0"/>
      </c:catAx>
      <c:valAx>
        <c:axId val="148812928"/>
        <c:scaling>
          <c:orientation val="minMax"/>
          <c:max val="50"/>
          <c:min val="0"/>
        </c:scaling>
        <c:delete val="1"/>
        <c:axPos val="l"/>
        <c:numFmt formatCode="0%" sourceLinked="0"/>
        <c:majorTickMark val="none"/>
        <c:minorTickMark val="none"/>
        <c:tickLblPos val="nextTo"/>
        <c:crossAx val="1488029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en-US" sz="1200" noProof="0"/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104716842559748E-2"/>
          <c:y val="9.2191413743975867E-2"/>
          <c:w val="0.88706355741710918"/>
          <c:h val="0.760920036826160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ge Groups</c:v>
                </c:pt>
              </c:strCache>
            </c:strRef>
          </c:tx>
          <c:spPr>
            <a:solidFill>
              <a:schemeClr val="accent2"/>
            </a:solidFill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400" dirty="0" smtClean="0"/>
                      <a:t>14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400" dirty="0" smtClean="0"/>
                      <a:t>18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400" dirty="0" smtClean="0"/>
                      <a:t>11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1400" dirty="0" smtClean="0"/>
                      <a:t>16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1400" dirty="0" smtClean="0"/>
                      <a:t>7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1400" dirty="0" smtClean="0"/>
                      <a:t>5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7</c:f>
              <c:strCache>
                <c:ptCount val="6"/>
                <c:pt idx="0">
                  <c:v>15 – 19 
лет</c:v>
                </c:pt>
                <c:pt idx="1">
                  <c:v>20 – 29
лет</c:v>
                </c:pt>
                <c:pt idx="2">
                  <c:v>30 – 39 
лет</c:v>
                </c:pt>
                <c:pt idx="3">
                  <c:v>40 – 49 
лет</c:v>
                </c:pt>
                <c:pt idx="4">
                  <c:v>50 – 59 
лет</c:v>
                </c:pt>
                <c:pt idx="5">
                  <c:v>60 лет и старше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4.2</c:v>
                </c:pt>
                <c:pt idx="1">
                  <c:v>18.3</c:v>
                </c:pt>
                <c:pt idx="2">
                  <c:v>11.2</c:v>
                </c:pt>
                <c:pt idx="3">
                  <c:v>15.6</c:v>
                </c:pt>
                <c:pt idx="4">
                  <c:v>6.6</c:v>
                </c:pt>
                <c:pt idx="5">
                  <c:v>5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49080320"/>
        <c:axId val="149291008"/>
      </c:barChart>
      <c:catAx>
        <c:axId val="14908032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49291008"/>
        <c:crosses val="autoZero"/>
        <c:auto val="1"/>
        <c:lblAlgn val="ctr"/>
        <c:lblOffset val="100"/>
        <c:noMultiLvlLbl val="0"/>
      </c:catAx>
      <c:valAx>
        <c:axId val="149291008"/>
        <c:scaling>
          <c:orientation val="minMax"/>
          <c:max val="50"/>
          <c:min val="0"/>
        </c:scaling>
        <c:delete val="1"/>
        <c:axPos val="l"/>
        <c:numFmt formatCode="0%" sourceLinked="0"/>
        <c:majorTickMark val="none"/>
        <c:minorTickMark val="none"/>
        <c:tickLblPos val="nextTo"/>
        <c:crossAx val="1490803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lang="en-US" sz="1200" noProof="0"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24</c:f>
              <c:strCache>
                <c:ptCount val="23"/>
                <c:pt idx="0">
                  <c:v>Китай</c:v>
                </c:pt>
                <c:pt idx="1">
                  <c:v>Южная Корея</c:v>
                </c:pt>
                <c:pt idx="2">
                  <c:v>Мексика</c:v>
                </c:pt>
                <c:pt idx="3">
                  <c:v>Турция</c:v>
                </c:pt>
                <c:pt idx="4">
                  <c:v>США</c:v>
                </c:pt>
                <c:pt idx="5">
                  <c:v>Бразилия</c:v>
                </c:pt>
                <c:pt idx="6">
                  <c:v>Испания</c:v>
                </c:pt>
                <c:pt idx="7">
                  <c:v>Аргентина</c:v>
                </c:pt>
                <c:pt idx="8">
                  <c:v>Япония</c:v>
                </c:pt>
                <c:pt idx="9">
                  <c:v>Германия</c:v>
                </c:pt>
                <c:pt idx="10">
                  <c:v>Польша</c:v>
                </c:pt>
                <c:pt idx="11">
                  <c:v>Италия</c:v>
                </c:pt>
                <c:pt idx="12">
                  <c:v>Франция</c:v>
                </c:pt>
                <c:pt idx="13">
                  <c:v>Бельгия</c:v>
                </c:pt>
                <c:pt idx="14">
                  <c:v>Россия</c:v>
                </c:pt>
                <c:pt idx="15">
                  <c:v>Австралия</c:v>
                </c:pt>
                <c:pt idx="16">
                  <c:v>Канада</c:v>
                </c:pt>
                <c:pt idx="17">
                  <c:v>Великобритания</c:v>
                </c:pt>
                <c:pt idx="18">
                  <c:v>Швеция</c:v>
                </c:pt>
                <c:pt idx="19">
                  <c:v>Южная Африка</c:v>
                </c:pt>
                <c:pt idx="20">
                  <c:v>Индия</c:v>
                </c:pt>
                <c:pt idx="21">
                  <c:v>Украина</c:v>
                </c:pt>
                <c:pt idx="22">
                  <c:v>Индонезия</c:v>
                </c:pt>
              </c:strCache>
            </c:strRef>
          </c:cat>
          <c:val>
            <c:numRef>
              <c:f>Tabelle1!$B$2:$B$24</c:f>
              <c:numCache>
                <c:formatCode>0%</c:formatCode>
                <c:ptCount val="23"/>
                <c:pt idx="0">
                  <c:v>0.499</c:v>
                </c:pt>
                <c:pt idx="1">
                  <c:v>0.309</c:v>
                </c:pt>
                <c:pt idx="2">
                  <c:v>0.29899999999999999</c:v>
                </c:pt>
                <c:pt idx="3">
                  <c:v>0.28999999999999998</c:v>
                </c:pt>
                <c:pt idx="4">
                  <c:v>0.24199999999999999</c:v>
                </c:pt>
                <c:pt idx="5">
                  <c:v>0.23899999999999999</c:v>
                </c:pt>
                <c:pt idx="6">
                  <c:v>0.214</c:v>
                </c:pt>
                <c:pt idx="7">
                  <c:v>0.193</c:v>
                </c:pt>
                <c:pt idx="8">
                  <c:v>0.17899999999999999</c:v>
                </c:pt>
                <c:pt idx="9">
                  <c:v>0.17100000000000001</c:v>
                </c:pt>
                <c:pt idx="10">
                  <c:v>0.16500000000000001</c:v>
                </c:pt>
                <c:pt idx="11">
                  <c:v>0.156</c:v>
                </c:pt>
                <c:pt idx="12">
                  <c:v>0.14599999999999999</c:v>
                </c:pt>
                <c:pt idx="13">
                  <c:v>0.13900000000000001</c:v>
                </c:pt>
                <c:pt idx="14">
                  <c:v>0.13400000000000001</c:v>
                </c:pt>
                <c:pt idx="15">
                  <c:v>0.13100000000000001</c:v>
                </c:pt>
                <c:pt idx="16">
                  <c:v>0.13</c:v>
                </c:pt>
                <c:pt idx="17">
                  <c:v>0.128</c:v>
                </c:pt>
                <c:pt idx="18">
                  <c:v>0.121</c:v>
                </c:pt>
                <c:pt idx="19">
                  <c:v>3.7999999999999999E-2</c:v>
                </c:pt>
                <c:pt idx="20">
                  <c:v>2.5999999999999999E-2</c:v>
                </c:pt>
                <c:pt idx="21">
                  <c:v>1.7999999999999999E-2</c:v>
                </c:pt>
                <c:pt idx="22">
                  <c:v>1.7000000000000001E-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65291904"/>
        <c:axId val="165294848"/>
      </c:barChart>
      <c:catAx>
        <c:axId val="16529190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65294848"/>
        <c:crosses val="autoZero"/>
        <c:auto val="1"/>
        <c:lblAlgn val="ctr"/>
        <c:lblOffset val="100"/>
        <c:noMultiLvlLbl val="0"/>
      </c:catAx>
      <c:valAx>
        <c:axId val="16529484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652919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045238748457475"/>
          <c:y val="0"/>
          <c:w val="0.82954761251542519"/>
          <c:h val="0.987219277372813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 штуках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1.6330036466128675E-3"/>
                  <c:y val="4.77680494450978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5035000282882672E-3"/>
                  <c:y val="4.95491571198327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4.8990109398386024E-3"/>
                  <c:y val="-3.07337873221906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9</c:f>
              <c:strCache>
                <c:ptCount val="8"/>
                <c:pt idx="0">
                  <c:v>Малая бытовая техника</c:v>
                </c:pt>
                <c:pt idx="1">
                  <c:v>Телеком-оборудование</c:v>
                </c:pt>
                <c:pt idx="2">
                  <c:v>Бытовая электроника</c:v>
                </c:pt>
                <c:pt idx="3">
                  <c:v>Крупная бытовая техника</c:v>
                </c:pt>
                <c:pt idx="4">
                  <c:v>В целом БТиЭ</c:v>
                </c:pt>
                <c:pt idx="5">
                  <c:v>ИТ</c:v>
                </c:pt>
                <c:pt idx="6">
                  <c:v>Офисная техника</c:v>
                </c:pt>
                <c:pt idx="7">
                  <c:v>Фото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-0.14899999999999999</c:v>
                </c:pt>
                <c:pt idx="1">
                  <c:v>-0.14399999999999999</c:v>
                </c:pt>
                <c:pt idx="2">
                  <c:v>-0.23100000000000001</c:v>
                </c:pt>
                <c:pt idx="3">
                  <c:v>-0.16700000000000001</c:v>
                </c:pt>
                <c:pt idx="4">
                  <c:v>-0.21</c:v>
                </c:pt>
                <c:pt idx="5">
                  <c:v>-0.28999999999999998</c:v>
                </c:pt>
                <c:pt idx="6">
                  <c:v>-0.443</c:v>
                </c:pt>
                <c:pt idx="7">
                  <c:v>-0.5220000000000000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 гривнях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0"/>
              <c:layout>
                <c:manualLayout>
                  <c:x val="-1.6330036466128675E-3"/>
                  <c:y val="-8.78623319926626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6330036466128675E-3"/>
                  <c:y val="-7.16048844941992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266007293225735E-3"/>
                  <c:y val="-1.53668936610958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9</c:f>
              <c:strCache>
                <c:ptCount val="8"/>
                <c:pt idx="0">
                  <c:v>Малая бытовая техника</c:v>
                </c:pt>
                <c:pt idx="1">
                  <c:v>Телеком-оборудование</c:v>
                </c:pt>
                <c:pt idx="2">
                  <c:v>Бытовая электроника</c:v>
                </c:pt>
                <c:pt idx="3">
                  <c:v>Крупная бытовая техника</c:v>
                </c:pt>
                <c:pt idx="4">
                  <c:v>В целом БТиЭ</c:v>
                </c:pt>
                <c:pt idx="5">
                  <c:v>ИТ</c:v>
                </c:pt>
                <c:pt idx="6">
                  <c:v>Офисная техника</c:v>
                </c:pt>
                <c:pt idx="7">
                  <c:v>Фото</c:v>
                </c:pt>
              </c:strCache>
            </c:strRef>
          </c:cat>
          <c:val>
            <c:numRef>
              <c:f>Лист1!$C$2:$C$9</c:f>
              <c:numCache>
                <c:formatCode>0%</c:formatCode>
                <c:ptCount val="8"/>
                <c:pt idx="0">
                  <c:v>0.16900000000000001</c:v>
                </c:pt>
                <c:pt idx="1">
                  <c:v>6.8000000000000005E-2</c:v>
                </c:pt>
                <c:pt idx="2">
                  <c:v>2.5000000000000001E-2</c:v>
                </c:pt>
                <c:pt idx="3">
                  <c:v>0.01</c:v>
                </c:pt>
                <c:pt idx="4">
                  <c:v>-2.8000000000000001E-2</c:v>
                </c:pt>
                <c:pt idx="5">
                  <c:v>-0.16400000000000001</c:v>
                </c:pt>
                <c:pt idx="6">
                  <c:v>-0.20300000000000001</c:v>
                </c:pt>
                <c:pt idx="7">
                  <c:v>-0.397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axId val="149453824"/>
        <c:axId val="149472000"/>
      </c:barChart>
      <c:catAx>
        <c:axId val="149453824"/>
        <c:scaling>
          <c:orientation val="maxMin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1400"/>
            </a:pPr>
            <a:endParaRPr lang="ru-RU"/>
          </a:p>
        </c:txPr>
        <c:crossAx val="149472000"/>
        <c:crosses val="autoZero"/>
        <c:auto val="1"/>
        <c:lblAlgn val="ctr"/>
        <c:lblOffset val="100"/>
        <c:noMultiLvlLbl val="0"/>
      </c:catAx>
      <c:valAx>
        <c:axId val="14947200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494538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30861793133971"/>
          <c:y val="0.68868410457257656"/>
          <c:w val="0.17986661744134452"/>
          <c:h val="0.17515309026325351"/>
        </c:manualLayout>
      </c:layout>
      <c:overlay val="0"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 marL="0" algn="l" defTabSz="914400" rtl="0" eaLnBrk="1" latinLnBrk="0" hangingPunct="1">
        <a:defRPr lang="ru-RU" sz="1200" i="0" kern="1200">
          <a:solidFill>
            <a:srgbClr val="000000"/>
          </a:solidFill>
          <a:latin typeface="+mn-lt"/>
          <a:ea typeface="+mn-ea"/>
          <a:cs typeface="+mn-cs"/>
        </a:defRPr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045238748457475"/>
          <c:y val="0"/>
          <c:w val="0.82954761251542519"/>
          <c:h val="0.987219277372813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 штуках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1.6330036466128675E-3"/>
                  <c:y val="4.77680494450978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5035000282882672E-3"/>
                  <c:y val="4.95491571198327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4.8990109398386024E-3"/>
                  <c:y val="-3.07337873221906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9</c:f>
              <c:strCache>
                <c:ptCount val="8"/>
                <c:pt idx="0">
                  <c:v>Крупная бытовая техника</c:v>
                </c:pt>
                <c:pt idx="1">
                  <c:v>Телеком-оборудование</c:v>
                </c:pt>
                <c:pt idx="2">
                  <c:v>Малая бытовая техника</c:v>
                </c:pt>
                <c:pt idx="3">
                  <c:v>В целом БТиЭ</c:v>
                </c:pt>
                <c:pt idx="4">
                  <c:v>Бытовая электроника</c:v>
                </c:pt>
                <c:pt idx="5">
                  <c:v>ИТ</c:v>
                </c:pt>
                <c:pt idx="6">
                  <c:v>Офисная техника</c:v>
                </c:pt>
                <c:pt idx="7">
                  <c:v>Фото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-0.28999999999999998</c:v>
                </c:pt>
                <c:pt idx="1">
                  <c:v>-0.3553</c:v>
                </c:pt>
                <c:pt idx="2">
                  <c:v>-0.29420000000000002</c:v>
                </c:pt>
                <c:pt idx="3">
                  <c:v>-0.36230000000000001</c:v>
                </c:pt>
                <c:pt idx="4">
                  <c:v>-0.38019999999999998</c:v>
                </c:pt>
                <c:pt idx="5">
                  <c:v>-0.41830000000000001</c:v>
                </c:pt>
                <c:pt idx="6">
                  <c:v>-0.50329999999999997</c:v>
                </c:pt>
                <c:pt idx="7">
                  <c:v>-0.6454999999999999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 гривнах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0"/>
              <c:layout>
                <c:manualLayout>
                  <c:x val="-1.6330036466128675E-3"/>
                  <c:y val="-8.78623319926626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6330036466128675E-3"/>
                  <c:y val="-7.16048844941992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266007293225735E-3"/>
                  <c:y val="-1.53668936610958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9</c:f>
              <c:strCache>
                <c:ptCount val="8"/>
                <c:pt idx="0">
                  <c:v>Крупная бытовая техника</c:v>
                </c:pt>
                <c:pt idx="1">
                  <c:v>Телеком-оборудование</c:v>
                </c:pt>
                <c:pt idx="2">
                  <c:v>Малая бытовая техника</c:v>
                </c:pt>
                <c:pt idx="3">
                  <c:v>В целом БТиЭ</c:v>
                </c:pt>
                <c:pt idx="4">
                  <c:v>Бытовая электроника</c:v>
                </c:pt>
                <c:pt idx="5">
                  <c:v>ИТ</c:v>
                </c:pt>
                <c:pt idx="6">
                  <c:v>Офисная техника</c:v>
                </c:pt>
                <c:pt idx="7">
                  <c:v>Фото</c:v>
                </c:pt>
              </c:strCache>
            </c:strRef>
          </c:cat>
          <c:val>
            <c:numRef>
              <c:f>Лист1!$C$2:$C$9</c:f>
              <c:numCache>
                <c:formatCode>0%</c:formatCode>
                <c:ptCount val="8"/>
                <c:pt idx="0">
                  <c:v>0.34300000000000003</c:v>
                </c:pt>
                <c:pt idx="1">
                  <c:v>0.20899999999999999</c:v>
                </c:pt>
                <c:pt idx="2">
                  <c:v>0.19500000000000001</c:v>
                </c:pt>
                <c:pt idx="3">
                  <c:v>0.16800000000000001</c:v>
                </c:pt>
                <c:pt idx="4">
                  <c:v>0.14299999999999999</c:v>
                </c:pt>
                <c:pt idx="5">
                  <c:v>6.5000000000000002E-2</c:v>
                </c:pt>
                <c:pt idx="6">
                  <c:v>2.5000000000000001E-2</c:v>
                </c:pt>
                <c:pt idx="7">
                  <c:v>-0.2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axId val="166826368"/>
        <c:axId val="166827904"/>
      </c:barChart>
      <c:catAx>
        <c:axId val="166826368"/>
        <c:scaling>
          <c:orientation val="maxMin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1400"/>
            </a:pPr>
            <a:endParaRPr lang="ru-RU"/>
          </a:p>
        </c:txPr>
        <c:crossAx val="166827904"/>
        <c:crosses val="autoZero"/>
        <c:auto val="1"/>
        <c:lblAlgn val="ctr"/>
        <c:lblOffset val="100"/>
        <c:noMultiLvlLbl val="0"/>
      </c:catAx>
      <c:valAx>
        <c:axId val="16682790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668263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30861793133971"/>
          <c:y val="0.68868410457257656"/>
          <c:w val="0.17986661744134452"/>
          <c:h val="0.17515309026325351"/>
        </c:manualLayout>
      </c:layout>
      <c:overlay val="0"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 marL="0" algn="l" defTabSz="914400" rtl="0" eaLnBrk="1" latinLnBrk="0" hangingPunct="1">
        <a:defRPr lang="ru-RU" sz="1200" i="0" kern="1200">
          <a:solidFill>
            <a:srgbClr val="000000"/>
          </a:solidFill>
          <a:latin typeface="+mn-lt"/>
          <a:ea typeface="+mn-ea"/>
          <a:cs typeface="+mn-cs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680938320210014E-2"/>
          <c:y val="6.4692647754410415E-2"/>
          <c:w val="0.81764753411237145"/>
          <c:h val="0.65208224133185522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marker>
            <c:symbol val="none"/>
          </c:marker>
          <c:cat>
            <c:strRef>
              <c:f>Лист1!$A$2:$A$21</c:f>
              <c:strCache>
                <c:ptCount val="20"/>
                <c:pt idx="0">
                  <c:v>Q1'2010</c:v>
                </c:pt>
                <c:pt idx="1">
                  <c:v>Q2'2010</c:v>
                </c:pt>
                <c:pt idx="2">
                  <c:v>Q3'2010</c:v>
                </c:pt>
                <c:pt idx="3">
                  <c:v>Q4'2010</c:v>
                </c:pt>
                <c:pt idx="4">
                  <c:v>Q1'2011</c:v>
                </c:pt>
                <c:pt idx="5">
                  <c:v>Q2'2011</c:v>
                </c:pt>
                <c:pt idx="6">
                  <c:v>Q3'2011</c:v>
                </c:pt>
                <c:pt idx="7">
                  <c:v>Q4'2011</c:v>
                </c:pt>
                <c:pt idx="8">
                  <c:v>Q1'2012</c:v>
                </c:pt>
                <c:pt idx="9">
                  <c:v>Q2'2012</c:v>
                </c:pt>
                <c:pt idx="10">
                  <c:v>Q3'2012</c:v>
                </c:pt>
                <c:pt idx="11">
                  <c:v>Q4'2012</c:v>
                </c:pt>
                <c:pt idx="12">
                  <c:v>Q1'2013</c:v>
                </c:pt>
                <c:pt idx="13">
                  <c:v>Q2'2013</c:v>
                </c:pt>
                <c:pt idx="14">
                  <c:v>Q3'2013</c:v>
                </c:pt>
                <c:pt idx="15">
                  <c:v>Q4'2013</c:v>
                </c:pt>
                <c:pt idx="16">
                  <c:v>Q1'2014</c:v>
                </c:pt>
                <c:pt idx="17">
                  <c:v>Q2'2014*</c:v>
                </c:pt>
                <c:pt idx="18">
                  <c:v>Q3'2014*</c:v>
                </c:pt>
                <c:pt idx="19">
                  <c:v>Q4'2014*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674.28896880338471</c:v>
                </c:pt>
                <c:pt idx="1">
                  <c:v>911.28901523289107</c:v>
                </c:pt>
                <c:pt idx="2">
                  <c:v>877.14276310615753</c:v>
                </c:pt>
                <c:pt idx="3">
                  <c:v>1034.2888112725302</c:v>
                </c:pt>
                <c:pt idx="4">
                  <c:v>853.5671177296058</c:v>
                </c:pt>
                <c:pt idx="5">
                  <c:v>1347.9522079382127</c:v>
                </c:pt>
                <c:pt idx="6">
                  <c:v>1180.8718533651224</c:v>
                </c:pt>
                <c:pt idx="7">
                  <c:v>1262.4101742274775</c:v>
                </c:pt>
                <c:pt idx="8">
                  <c:v>1879.0877233585645</c:v>
                </c:pt>
                <c:pt idx="9" formatCode="0.000">
                  <c:v>1567.5538959925887</c:v>
                </c:pt>
                <c:pt idx="10" formatCode="0.000">
                  <c:v>1877.0819521354317</c:v>
                </c:pt>
                <c:pt idx="11" formatCode="0.000">
                  <c:v>2063.1517137506248</c:v>
                </c:pt>
                <c:pt idx="12" formatCode="0.000">
                  <c:v>2042.3633862620816</c:v>
                </c:pt>
                <c:pt idx="13" formatCode="0.000">
                  <c:v>2769.2625251233339</c:v>
                </c:pt>
                <c:pt idx="14">
                  <c:v>3264.8406764771025</c:v>
                </c:pt>
                <c:pt idx="15">
                  <c:v>2849.1843226735368</c:v>
                </c:pt>
                <c:pt idx="16">
                  <c:v>3021.9655659407963</c:v>
                </c:pt>
                <c:pt idx="17">
                  <c:v>3059.5216431888957</c:v>
                </c:pt>
                <c:pt idx="18">
                  <c:v>2495.3870211932231</c:v>
                </c:pt>
                <c:pt idx="19">
                  <c:v>2930.37060155837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602176"/>
        <c:axId val="157603712"/>
      </c:lineChart>
      <c:catAx>
        <c:axId val="1576021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57603712"/>
        <c:crosses val="autoZero"/>
        <c:auto val="1"/>
        <c:lblAlgn val="ctr"/>
        <c:lblOffset val="100"/>
        <c:tickLblSkip val="1"/>
        <c:noMultiLvlLbl val="0"/>
      </c:catAx>
      <c:valAx>
        <c:axId val="1576037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57602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7435990713145"/>
          <c:y val="0.16247966552264567"/>
          <c:w val="0.24484089445739327"/>
          <c:h val="0.53542315551411512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layout>
        <c:manualLayout>
          <c:xMode val="edge"/>
          <c:yMode val="edge"/>
          <c:x val="0"/>
          <c:y val="0.716263366199139"/>
          <c:w val="1"/>
          <c:h val="0.21319360406292776"/>
        </c:manualLayout>
      </c:layout>
      <c:overlay val="0"/>
      <c:txPr>
        <a:bodyPr/>
        <a:lstStyle/>
        <a:p>
          <a:pPr>
            <a:defRPr sz="105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430969409010656"/>
          <c:y val="0"/>
          <c:w val="0.82954761251542519"/>
          <c:h val="0.987219277372813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4  рік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18</c:f>
              <c:strCache>
                <c:ptCount val="17"/>
                <c:pt idx="0">
                  <c:v>Животные и товары для животных</c:v>
                </c:pt>
                <c:pt idx="1">
                  <c:v>БТиЭ</c:v>
                </c:pt>
                <c:pt idx="2">
                  <c:v>Одежда </c:v>
                </c:pt>
                <c:pt idx="3">
                  <c:v>Косметика и парфюмерия</c:v>
                </c:pt>
                <c:pt idx="4">
                  <c:v>Медицинские препараты </c:v>
                </c:pt>
                <c:pt idx="5">
                  <c:v>Обувь</c:v>
                </c:pt>
                <c:pt idx="6">
                  <c:v>Товаря для детей</c:v>
                </c:pt>
                <c:pt idx="7">
                  <c:v>Продукты питания </c:v>
                </c:pt>
                <c:pt idx="8">
                  <c:v>Аксессуары и подарки </c:v>
                </c:pt>
                <c:pt idx="9">
                  <c:v>Строительные материалы </c:v>
                </c:pt>
                <c:pt idx="10">
                  <c:v>Спортивный инвентарь </c:v>
                </c:pt>
                <c:pt idx="11">
                  <c:v>Мебель, товары для дома и сада</c:v>
                </c:pt>
                <c:pt idx="12">
                  <c:v>Заказ доставки готовых блюд </c:v>
                </c:pt>
                <c:pt idx="13">
                  <c:v>Спортивная одежда и обувь </c:v>
                </c:pt>
                <c:pt idx="14">
                  <c:v>Книги </c:v>
                </c:pt>
                <c:pt idx="15">
                  <c:v>Автотовары</c:v>
                </c:pt>
                <c:pt idx="16">
                  <c:v>Электронный контент</c:v>
                </c:pt>
              </c:strCache>
            </c:strRef>
          </c:cat>
          <c:val>
            <c:numRef>
              <c:f>Лист1!$B$2:$B$18</c:f>
              <c:numCache>
                <c:formatCode>0%</c:formatCode>
                <c:ptCount val="17"/>
                <c:pt idx="0">
                  <c:v>0</c:v>
                </c:pt>
                <c:pt idx="1">
                  <c:v>-0.01</c:v>
                </c:pt>
                <c:pt idx="2">
                  <c:v>-0.02</c:v>
                </c:pt>
                <c:pt idx="3">
                  <c:v>-0.03</c:v>
                </c:pt>
                <c:pt idx="4">
                  <c:v>-0.08</c:v>
                </c:pt>
                <c:pt idx="5">
                  <c:v>-0.1</c:v>
                </c:pt>
                <c:pt idx="6">
                  <c:v>-0.11</c:v>
                </c:pt>
                <c:pt idx="7">
                  <c:v>-0.13</c:v>
                </c:pt>
                <c:pt idx="8">
                  <c:v>-0.16</c:v>
                </c:pt>
                <c:pt idx="9">
                  <c:v>-0.18</c:v>
                </c:pt>
                <c:pt idx="10">
                  <c:v>-0.21</c:v>
                </c:pt>
                <c:pt idx="11">
                  <c:v>-0.22</c:v>
                </c:pt>
                <c:pt idx="12">
                  <c:v>-0.25</c:v>
                </c:pt>
                <c:pt idx="13">
                  <c:v>-0.27</c:v>
                </c:pt>
                <c:pt idx="14">
                  <c:v>-0.28999999999999998</c:v>
                </c:pt>
                <c:pt idx="15">
                  <c:v>-0.45</c:v>
                </c:pt>
                <c:pt idx="16">
                  <c:v>-0.4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4"/>
        <c:axId val="158223360"/>
        <c:axId val="158230400"/>
      </c:barChart>
      <c:catAx>
        <c:axId val="158223360"/>
        <c:scaling>
          <c:orientation val="maxMin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1600" b="1"/>
            </a:pPr>
            <a:endParaRPr lang="ru-RU"/>
          </a:p>
        </c:txPr>
        <c:crossAx val="158230400"/>
        <c:crosses val="autoZero"/>
        <c:auto val="1"/>
        <c:lblAlgn val="ctr"/>
        <c:lblOffset val="100"/>
        <c:noMultiLvlLbl val="0"/>
      </c:catAx>
      <c:valAx>
        <c:axId val="158230400"/>
        <c:scaling>
          <c:orientation val="minMax"/>
          <c:max val="1.0000000000000002E-2"/>
          <c:min val="-0.55000000000000004"/>
        </c:scaling>
        <c:delete val="1"/>
        <c:axPos val="t"/>
        <c:numFmt formatCode="0%" sourceLinked="1"/>
        <c:majorTickMark val="out"/>
        <c:minorTickMark val="none"/>
        <c:tickLblPos val="nextTo"/>
        <c:crossAx val="1582233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 marL="0" algn="l" defTabSz="914400" rtl="0" eaLnBrk="1" latinLnBrk="0" hangingPunct="1">
        <a:defRPr lang="ru-RU" sz="1200" i="0" kern="1200">
          <a:solidFill>
            <a:srgbClr val="000000"/>
          </a:solidFill>
          <a:latin typeface="+mn-lt"/>
          <a:ea typeface="+mn-ea"/>
          <a:cs typeface="+mn-cs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en-US" sz="1400" noProof="0"/>
            </a:pPr>
            <a:r>
              <a:rPr lang="ru-RU" sz="1400" b="1" i="0" u="none" strike="noStrike" baseline="0" noProof="0" dirty="0" smtClean="0">
                <a:effectLst/>
              </a:rPr>
              <a:t>Какие товары не планируют покупать онлайн и почему?</a:t>
            </a:r>
            <a:endParaRPr lang="en-US" sz="1400" noProof="0" dirty="0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0.10141732283464568"/>
          <c:y val="7.1556861637526087E-2"/>
          <c:w val="0.71973738443802493"/>
          <c:h val="0.59852198948917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2</c:v>
                </c:pt>
              </c:strCache>
            </c:strRef>
          </c:tx>
          <c:spPr>
            <a:effectLst>
              <a:outerShdw blurRad="38100" dist="38100" dir="5400000" algn="tl" rotWithShape="0">
                <a:prstClr val="black">
                  <a:alpha val="35000"/>
                </a:prstClr>
              </a:outerShdw>
            </a:effectLst>
          </c:spPr>
          <c:invertIfNegative val="0"/>
          <c:cat>
            <c:strRef>
              <c:f>Sheet1!$A$2:$A$11</c:f>
              <c:strCache>
                <c:ptCount val="10"/>
                <c:pt idx="0">
                  <c:v>Животные и товары для животных</c:v>
                </c:pt>
                <c:pt idx="1">
                  <c:v>Продукты питания</c:v>
                </c:pt>
                <c:pt idx="2">
                  <c:v>Медицинские препараты</c:v>
                </c:pt>
                <c:pt idx="3">
                  <c:v>Обувь</c:v>
                </c:pt>
                <c:pt idx="4">
                  <c:v>Заказ доставки готовых блюд</c:v>
                </c:pt>
                <c:pt idx="5">
                  <c:v>Строительные материалы</c:v>
                </c:pt>
                <c:pt idx="6">
                  <c:v>Косметика и парфюмерия</c:v>
                </c:pt>
                <c:pt idx="7">
                  <c:v>Одежда</c:v>
                </c:pt>
                <c:pt idx="8">
                  <c:v>Автотовары</c:v>
                </c:pt>
                <c:pt idx="9">
                  <c:v>Товары для детей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1">
                  <c:v>0.38400000000000001</c:v>
                </c:pt>
                <c:pt idx="2">
                  <c:v>0.40899999999999997</c:v>
                </c:pt>
                <c:pt idx="3">
                  <c:v>0.35199999999999998</c:v>
                </c:pt>
                <c:pt idx="4">
                  <c:v>0.22900000000000001</c:v>
                </c:pt>
                <c:pt idx="5">
                  <c:v>0.182</c:v>
                </c:pt>
                <c:pt idx="6">
                  <c:v>0.20899999999999999</c:v>
                </c:pt>
                <c:pt idx="7">
                  <c:v>0.20599999999999999</c:v>
                </c:pt>
                <c:pt idx="8">
                  <c:v>0.10199999999999999</c:v>
                </c:pt>
                <c:pt idx="9">
                  <c:v>0.1419999999999999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3</c:v>
                </c:pt>
              </c:strCache>
            </c:strRef>
          </c:tx>
          <c:spPr>
            <a:effectLst>
              <a:outerShdw blurRad="38100" dist="38100" dir="5400000" algn="tl" rotWithShape="0">
                <a:prstClr val="black">
                  <a:alpha val="35000"/>
                </a:prstClr>
              </a:outerShdw>
            </a:effectLst>
          </c:spPr>
          <c:invertIfNegative val="0"/>
          <c:cat>
            <c:strRef>
              <c:f>Sheet1!$A$2:$A$11</c:f>
              <c:strCache>
                <c:ptCount val="10"/>
                <c:pt idx="0">
                  <c:v>Животные и товары для животных</c:v>
                </c:pt>
                <c:pt idx="1">
                  <c:v>Продукты питания</c:v>
                </c:pt>
                <c:pt idx="2">
                  <c:v>Медицинские препараты</c:v>
                </c:pt>
                <c:pt idx="3">
                  <c:v>Обувь</c:v>
                </c:pt>
                <c:pt idx="4">
                  <c:v>Заказ доставки готовых блюд</c:v>
                </c:pt>
                <c:pt idx="5">
                  <c:v>Строительные материалы</c:v>
                </c:pt>
                <c:pt idx="6">
                  <c:v>Косметика и парфюмерия</c:v>
                </c:pt>
                <c:pt idx="7">
                  <c:v>Одежда</c:v>
                </c:pt>
                <c:pt idx="8">
                  <c:v>Автотовары</c:v>
                </c:pt>
                <c:pt idx="9">
                  <c:v>Товары для детей</c:v>
                </c:pt>
              </c:strCache>
            </c:strRef>
          </c:cat>
          <c:val>
            <c:numRef>
              <c:f>Sheet1!$C$2:$C$11</c:f>
              <c:numCache>
                <c:formatCode>###0.0%</c:formatCode>
                <c:ptCount val="10"/>
                <c:pt idx="0">
                  <c:v>0.33289169878456609</c:v>
                </c:pt>
                <c:pt idx="1">
                  <c:v>0.39525881446980887</c:v>
                </c:pt>
                <c:pt idx="2">
                  <c:v>0.39933264439110255</c:v>
                </c:pt>
                <c:pt idx="3">
                  <c:v>0.25025458634631526</c:v>
                </c:pt>
                <c:pt idx="4">
                  <c:v>0.19719172706732002</c:v>
                </c:pt>
                <c:pt idx="5">
                  <c:v>0.14599527557847261</c:v>
                </c:pt>
                <c:pt idx="6">
                  <c:v>0.15656753599777615</c:v>
                </c:pt>
                <c:pt idx="7">
                  <c:v>0.15118720829777177</c:v>
                </c:pt>
                <c:pt idx="8" formatCode="0.00%">
                  <c:v>0.11</c:v>
                </c:pt>
                <c:pt idx="9">
                  <c:v>9.885271372544345E-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cat>
            <c:strRef>
              <c:f>Sheet1!$A$2:$A$11</c:f>
              <c:strCache>
                <c:ptCount val="10"/>
                <c:pt idx="0">
                  <c:v>Животные и товары для животных</c:v>
                </c:pt>
                <c:pt idx="1">
                  <c:v>Продукты питания</c:v>
                </c:pt>
                <c:pt idx="2">
                  <c:v>Медицинские препараты</c:v>
                </c:pt>
                <c:pt idx="3">
                  <c:v>Обувь</c:v>
                </c:pt>
                <c:pt idx="4">
                  <c:v>Заказ доставки готовых блюд</c:v>
                </c:pt>
                <c:pt idx="5">
                  <c:v>Строительные материалы</c:v>
                </c:pt>
                <c:pt idx="6">
                  <c:v>Косметика и парфюмерия</c:v>
                </c:pt>
                <c:pt idx="7">
                  <c:v>Одежда</c:v>
                </c:pt>
                <c:pt idx="8">
                  <c:v>Автотовары</c:v>
                </c:pt>
                <c:pt idx="9">
                  <c:v>Товары для детей</c:v>
                </c:pt>
              </c:strCache>
            </c:strRef>
          </c:cat>
          <c:val>
            <c:numRef>
              <c:f>Sheet1!$D$2:$D$11</c:f>
              <c:numCache>
                <c:formatCode>0.00%</c:formatCode>
                <c:ptCount val="10"/>
                <c:pt idx="0">
                  <c:v>0.33650000000000002</c:v>
                </c:pt>
                <c:pt idx="1">
                  <c:v>0.33410000000000001</c:v>
                </c:pt>
                <c:pt idx="2">
                  <c:v>0.29659999999999997</c:v>
                </c:pt>
                <c:pt idx="3">
                  <c:v>0.20660000000000001</c:v>
                </c:pt>
                <c:pt idx="4">
                  <c:v>0.1777</c:v>
                </c:pt>
                <c:pt idx="5">
                  <c:v>0.17710000000000001</c:v>
                </c:pt>
                <c:pt idx="6">
                  <c:v>0.1162</c:v>
                </c:pt>
                <c:pt idx="7">
                  <c:v>8.8599999999999998E-2</c:v>
                </c:pt>
                <c:pt idx="8">
                  <c:v>7.4800000000000005E-2</c:v>
                </c:pt>
                <c:pt idx="9">
                  <c:v>6.550000000000000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0900224"/>
        <c:axId val="160901760"/>
      </c:barChart>
      <c:catAx>
        <c:axId val="16090022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 rot="-5400000" vert="horz"/>
          <a:lstStyle/>
          <a:p>
            <a:pPr>
              <a:defRPr lang="en-US" sz="1200" b="1" noProof="0"/>
            </a:pPr>
            <a:endParaRPr lang="ru-RU"/>
          </a:p>
        </c:txPr>
        <c:crossAx val="160901760"/>
        <c:crosses val="autoZero"/>
        <c:auto val="1"/>
        <c:lblAlgn val="ctr"/>
        <c:lblOffset val="100"/>
        <c:noMultiLvlLbl val="0"/>
      </c:catAx>
      <c:valAx>
        <c:axId val="160901760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1609002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1991106679782604"/>
          <c:y val="0.16557598537353424"/>
          <c:w val="0.1155569007802798"/>
          <c:h val="0.11526308272226919"/>
        </c:manualLayout>
      </c:layout>
      <c:overlay val="0"/>
      <c:txPr>
        <a:bodyPr/>
        <a:lstStyle/>
        <a:p>
          <a:pPr>
            <a:defRPr lang="en-US" sz="1200" b="1" noProof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857057549161204"/>
          <c:y val="0"/>
          <c:w val="0.56117268700540346"/>
          <c:h val="0.718513160373485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Так, купував на сайтах іноземних інтернет-магазинів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1"/>
              <c:numFmt formatCode="0%" sourceLinked="0"/>
              <c:spPr>
                <a:ln w="19050">
                  <a:noFill/>
                </a:ln>
              </c:spPr>
              <c:txPr>
                <a:bodyPr/>
                <a:lstStyle/>
                <a:p>
                  <a:pPr>
                    <a:defRPr sz="14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0%" sourceLinked="0"/>
              <c:spPr>
                <a:ln w="19050">
                  <a:noFill/>
                </a:ln>
              </c:spPr>
              <c:txPr>
                <a:bodyPr/>
                <a:lstStyle/>
                <a:p>
                  <a:pPr>
                    <a:defRPr sz="14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numFmt formatCode="0%" sourceLinked="0"/>
              <c:spPr>
                <a:ln w="19050">
                  <a:noFill/>
                </a:ln>
              </c:spPr>
              <c:txPr>
                <a:bodyPr/>
                <a:lstStyle/>
                <a:p>
                  <a:pPr>
                    <a:defRPr sz="14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pPr>
              <a:ln>
                <a:noFill/>
              </a:ln>
            </c:spPr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D$1</c:f>
              <c:strCache>
                <c:ptCount val="3"/>
                <c:pt idx="0">
                  <c:v>2014 год</c:v>
                </c:pt>
                <c:pt idx="1">
                  <c:v>2013 год</c:v>
                </c:pt>
                <c:pt idx="2">
                  <c:v>2012 год</c:v>
                </c:pt>
              </c:strCache>
            </c:strRef>
          </c:cat>
          <c:val>
            <c:numRef>
              <c:f>Лист1!$B$2:$D$2</c:f>
              <c:numCache>
                <c:formatCode>0%</c:formatCode>
                <c:ptCount val="3"/>
                <c:pt idx="0">
                  <c:v>0.29260000000000003</c:v>
                </c:pt>
                <c:pt idx="1">
                  <c:v>0.25506184185512271</c:v>
                </c:pt>
                <c:pt idx="2">
                  <c:v>0.182045082616525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61205632"/>
        <c:axId val="163660928"/>
      </c:barChart>
      <c:catAx>
        <c:axId val="16120563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/>
                </a:solidFill>
              </a:defRPr>
            </a:pPr>
            <a:endParaRPr lang="ru-RU"/>
          </a:p>
        </c:txPr>
        <c:crossAx val="163660928"/>
        <c:crosses val="autoZero"/>
        <c:auto val="1"/>
        <c:lblAlgn val="ctr"/>
        <c:lblOffset val="100"/>
        <c:noMultiLvlLbl val="0"/>
      </c:catAx>
      <c:valAx>
        <c:axId val="163660928"/>
        <c:scaling>
          <c:orientation val="minMax"/>
          <c:max val="0.5"/>
        </c:scaling>
        <c:delete val="1"/>
        <c:axPos val="t"/>
        <c:numFmt formatCode="0%" sourceLinked="1"/>
        <c:majorTickMark val="out"/>
        <c:minorTickMark val="none"/>
        <c:tickLblPos val="nextTo"/>
        <c:crossAx val="161205632"/>
        <c:crosses val="autoZero"/>
        <c:crossBetween val="between"/>
      </c:valAx>
      <c:spPr>
        <a:noFill/>
        <a:ln w="25387">
          <a:noFill/>
        </a:ln>
      </c:spPr>
    </c:plotArea>
    <c:plotVisOnly val="1"/>
    <c:dispBlanksAs val="gap"/>
    <c:showDLblsOverMax val="0"/>
  </c:chart>
  <c:txPr>
    <a:bodyPr/>
    <a:lstStyle/>
    <a:p>
      <a:pPr>
        <a:defRPr sz="1000" b="1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7033723007950297"/>
          <c:y val="1.1277406566818854E-3"/>
          <c:w val="0.22454529539539769"/>
          <c:h val="0.963273260642997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Лист1!$A$2:$A$11</c:f>
              <c:strCache>
                <c:ptCount val="7"/>
                <c:pt idx="0">
                  <c:v>Дешевле</c:v>
                </c:pt>
                <c:pt idx="1">
                  <c:v>Качественный товар / красивый товар</c:v>
                </c:pt>
                <c:pt idx="2">
                  <c:v>Эксклюзивный товар / в Украине такого нет в наличии</c:v>
                </c:pt>
                <c:pt idx="3">
                  <c:v>Широкий выбор</c:v>
                </c:pt>
                <c:pt idx="4">
                  <c:v>Доставка / Бесплатная доставка</c:v>
                </c:pt>
                <c:pt idx="5">
                  <c:v>Из интереса</c:v>
                </c:pt>
                <c:pt idx="6">
                  <c:v>По совету друзей, знакомых</c:v>
                </c:pt>
              </c:strCache>
            </c:strRef>
          </c:cat>
          <c:val>
            <c:numRef>
              <c:f>Лист1!$B$2:$B$11</c:f>
              <c:numCache>
                <c:formatCode>0%</c:formatCode>
                <c:ptCount val="7"/>
                <c:pt idx="0">
                  <c:v>0.76</c:v>
                </c:pt>
                <c:pt idx="1">
                  <c:v>0.19</c:v>
                </c:pt>
                <c:pt idx="2">
                  <c:v>0.15</c:v>
                </c:pt>
                <c:pt idx="3">
                  <c:v>0.14000000000000001</c:v>
                </c:pt>
                <c:pt idx="4">
                  <c:v>0.04</c:v>
                </c:pt>
                <c:pt idx="5">
                  <c:v>0.01</c:v>
                </c:pt>
                <c:pt idx="6">
                  <c:v>0.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163700096"/>
        <c:axId val="163992704"/>
      </c:barChart>
      <c:catAx>
        <c:axId val="16370009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63992704"/>
        <c:crosses val="autoZero"/>
        <c:auto val="1"/>
        <c:lblAlgn val="ctr"/>
        <c:lblOffset val="100"/>
        <c:noMultiLvlLbl val="0"/>
      </c:catAx>
      <c:valAx>
        <c:axId val="163992704"/>
        <c:scaling>
          <c:orientation val="minMax"/>
          <c:max val="0.8"/>
        </c:scaling>
        <c:delete val="1"/>
        <c:axPos val="t"/>
        <c:numFmt formatCode="0%" sourceLinked="1"/>
        <c:majorTickMark val="out"/>
        <c:minorTickMark val="none"/>
        <c:tickLblPos val="nextTo"/>
        <c:crossAx val="163700096"/>
        <c:crosses val="autoZero"/>
        <c:crossBetween val="between"/>
      </c:valAx>
      <c:spPr>
        <a:noFill/>
        <a:ln w="25387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00" b="1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1442234677807749E-2"/>
          <c:y val="2.6235085163533609E-2"/>
          <c:w val="0.78012312077283397"/>
          <c:h val="0.52417796320456556"/>
        </c:manualLayout>
      </c:layout>
      <c:pieChart>
        <c:varyColors val="1"/>
        <c:ser>
          <c:idx val="0"/>
          <c:order val="0"/>
          <c:dPt>
            <c:idx val="0"/>
            <c:bubble3D val="0"/>
          </c:dPt>
          <c:dPt>
            <c:idx val="1"/>
            <c:bubble3D val="0"/>
          </c:dPt>
          <c:dPt>
            <c:idx val="5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Pt>
            <c:idx val="6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</c:spPr>
          </c:dPt>
          <c:dLbls>
            <c:numFmt formatCode="0%" sourceLinked="0"/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3:$A$10</c:f>
              <c:strCache>
                <c:ptCount val="8"/>
                <c:pt idx="0">
                  <c:v>Забирал в офисе курьерской службы</c:v>
                </c:pt>
                <c:pt idx="1">
                  <c:v>Забирал в отделении Укрпочты</c:v>
                </c:pt>
                <c:pt idx="2">
                  <c:v>Доставил курьер до квартиры/офиса</c:v>
                </c:pt>
                <c:pt idx="3">
                  <c:v>Самовывоз</c:v>
                </c:pt>
                <c:pt idx="4">
                  <c:v>Забирал из почтомата/терминала</c:v>
                </c:pt>
                <c:pt idx="5">
                  <c:v>Товар доставил курьер до подъезда</c:v>
                </c:pt>
                <c:pt idx="6">
                  <c:v>Не пользовался услугой доставки</c:v>
                </c:pt>
                <c:pt idx="7">
                  <c:v>Другое</c:v>
                </c:pt>
              </c:strCache>
            </c:strRef>
          </c:cat>
          <c:val>
            <c:numRef>
              <c:f>Sheet1!$B$3:$B$10</c:f>
              <c:numCache>
                <c:formatCode>0%</c:formatCode>
                <c:ptCount val="8"/>
                <c:pt idx="0">
                  <c:v>0.37</c:v>
                </c:pt>
                <c:pt idx="1">
                  <c:v>0.21</c:v>
                </c:pt>
                <c:pt idx="2">
                  <c:v>0.2</c:v>
                </c:pt>
                <c:pt idx="3">
                  <c:v>0.12</c:v>
                </c:pt>
                <c:pt idx="4">
                  <c:v>0.03</c:v>
                </c:pt>
                <c:pt idx="5">
                  <c:v>0.04</c:v>
                </c:pt>
                <c:pt idx="6">
                  <c:v>0.02</c:v>
                </c:pt>
                <c:pt idx="7">
                  <c:v>0.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6"/>
      </c:pieChart>
    </c:plotArea>
    <c:legend>
      <c:legendPos val="b"/>
      <c:layout>
        <c:manualLayout>
          <c:xMode val="edge"/>
          <c:yMode val="edge"/>
          <c:x val="3.5819532159437256E-4"/>
          <c:y val="0.56876172967844107"/>
          <c:w val="0.99964177384248176"/>
          <c:h val="0.3913660845722897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289337711709802"/>
          <c:y val="3.8805555555555558E-2"/>
          <c:w val="0.47495792286053928"/>
          <c:h val="0.8815838888888888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Украина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9</c:f>
              <c:strCache>
                <c:ptCount val="7"/>
                <c:pt idx="0">
                  <c:v>Buy products through an application (app) on my device</c:v>
                </c:pt>
                <c:pt idx="1">
                  <c:v>Scan barcodes or QR codes to obtain more information about products</c:v>
                </c:pt>
                <c:pt idx="2">
                  <c:v>Buy products through the store's or another website while in the store</c:v>
                </c:pt>
                <c:pt idx="3">
                  <c:v>Take pictures of advertisements descriptions and other information about products that I might buy</c:v>
                </c:pt>
                <c:pt idx="4">
                  <c:v>Compare prices</c:v>
                </c:pt>
                <c:pt idx="5">
                  <c:v>Take pictures of actual products that I might buy</c:v>
                </c:pt>
                <c:pt idx="6">
                  <c:v>Contact a friend or family member for advice while in the store</c:v>
                </c:pt>
              </c:strCache>
            </c:strRef>
          </c:cat>
          <c:val>
            <c:numRef>
              <c:f>Tabelle1!$B$2:$B$9</c:f>
              <c:numCache>
                <c:formatCode>0%</c:formatCode>
                <c:ptCount val="7"/>
                <c:pt idx="0">
                  <c:v>8.0000000000000002E-3</c:v>
                </c:pt>
                <c:pt idx="1">
                  <c:v>1.7999999999999999E-2</c:v>
                </c:pt>
                <c:pt idx="2">
                  <c:v>2.3E-2</c:v>
                </c:pt>
                <c:pt idx="3">
                  <c:v>3.4000000000000002E-2</c:v>
                </c:pt>
                <c:pt idx="4">
                  <c:v>0.114</c:v>
                </c:pt>
                <c:pt idx="5">
                  <c:v>0.125</c:v>
                </c:pt>
                <c:pt idx="6">
                  <c:v>0.27800000000000002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Мир</c:v>
                </c:pt>
              </c:strCache>
            </c:strRef>
          </c:tx>
          <c:invertIfNegative val="0"/>
          <c:dLbls>
            <c:txPr>
              <a:bodyPr/>
              <a:lstStyle/>
              <a:p>
                <a:pPr algn="ctr">
                  <a:defRPr lang="uk-UA" sz="14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9</c:f>
              <c:strCache>
                <c:ptCount val="7"/>
                <c:pt idx="0">
                  <c:v>Buy products through an application (app) on my device</c:v>
                </c:pt>
                <c:pt idx="1">
                  <c:v>Scan barcodes or QR codes to obtain more information about products</c:v>
                </c:pt>
                <c:pt idx="2">
                  <c:v>Buy products through the store's or another website while in the store</c:v>
                </c:pt>
                <c:pt idx="3">
                  <c:v>Take pictures of advertisements descriptions and other information about products that I might buy</c:v>
                </c:pt>
                <c:pt idx="4">
                  <c:v>Compare prices</c:v>
                </c:pt>
                <c:pt idx="5">
                  <c:v>Take pictures of actual products that I might buy</c:v>
                </c:pt>
                <c:pt idx="6">
                  <c:v>Contact a friend or family member for advice while in the store</c:v>
                </c:pt>
              </c:strCache>
            </c:strRef>
          </c:cat>
          <c:val>
            <c:numRef>
              <c:f>Tabelle1!$C$2:$C$9</c:f>
              <c:numCache>
                <c:formatCode>0%</c:formatCode>
                <c:ptCount val="7"/>
                <c:pt idx="0">
                  <c:v>0.23</c:v>
                </c:pt>
                <c:pt idx="1">
                  <c:v>0.28000000000000003</c:v>
                </c:pt>
                <c:pt idx="2">
                  <c:v>0.22</c:v>
                </c:pt>
                <c:pt idx="3">
                  <c:v>0.28999999999999998</c:v>
                </c:pt>
                <c:pt idx="4">
                  <c:v>0.4</c:v>
                </c:pt>
                <c:pt idx="5">
                  <c:v>0.36</c:v>
                </c:pt>
                <c:pt idx="6">
                  <c:v>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156736"/>
        <c:axId val="165158272"/>
      </c:barChart>
      <c:catAx>
        <c:axId val="1651567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5158272"/>
        <c:crosses val="autoZero"/>
        <c:auto val="1"/>
        <c:lblAlgn val="ctr"/>
        <c:lblOffset val="100"/>
        <c:noMultiLvlLbl val="0"/>
      </c:catAx>
      <c:valAx>
        <c:axId val="165158272"/>
        <c:scaling>
          <c:orientation val="minMax"/>
        </c:scaling>
        <c:delete val="0"/>
        <c:axPos val="b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sz="1050"/>
            </a:pPr>
            <a:endParaRPr lang="ru-RU"/>
          </a:p>
        </c:txPr>
        <c:crossAx val="1651567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453291432741306"/>
          <c:y val="0.48343277777777777"/>
          <c:w val="0.1240769511434389"/>
          <c:h val="0.16719000000000001"/>
        </c:manualLayout>
      </c:layout>
      <c:overlay val="0"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682888" y="9429486"/>
            <a:ext cx="668359" cy="28804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7" y="204595"/>
            <a:ext cx="432000" cy="432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46088" y="9429446"/>
            <a:ext cx="4969029" cy="28804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latin typeface="Arial" pitchFamily="34" charset="0"/>
              </a:rPr>
              <a:t>© </a:t>
            </a:r>
            <a:r>
              <a:rPr lang="en-US" dirty="0" err="1">
                <a:latin typeface="Arial" pitchFamily="34" charset="0"/>
              </a:rPr>
              <a:t>GfK</a:t>
            </a:r>
            <a:r>
              <a:rPr lang="en-US" dirty="0">
                <a:latin typeface="Arial" pitchFamily="34" charset="0"/>
              </a:rPr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4500" y="820738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729555"/>
            <a:ext cx="5905500" cy="445659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682888" y="9429486"/>
            <a:ext cx="668700" cy="28804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88" y="9429446"/>
            <a:ext cx="4969029" cy="288046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latin typeface="Arial" pitchFamily="34" charset="0"/>
              </a:rPr>
              <a:t>© </a:t>
            </a:r>
            <a:r>
              <a:rPr lang="en-US" dirty="0" err="1">
                <a:latin typeface="Arial" pitchFamily="34" charset="0"/>
              </a:rPr>
              <a:t>GfK</a:t>
            </a:r>
            <a:r>
              <a:rPr lang="en-US" dirty="0">
                <a:latin typeface="Arial" pitchFamily="34" charset="0"/>
              </a:rPr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300"/>
      </a:spcAft>
      <a:buFont typeface="Arial" pitchFamily="34" charset="0"/>
      <a:buNone/>
      <a:defRPr sz="1000" kern="1200">
        <a:solidFill>
          <a:schemeClr val="tx2"/>
        </a:solidFill>
        <a:latin typeface="Arial" pitchFamily="34" charset="0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buFont typeface="Arial" pitchFamily="34" charset="0"/>
      <a:buNone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0488" indent="-90488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79388" indent="-90488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63525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63525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1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80501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0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239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1021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5558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ru-RU" dirty="0" smtClean="0"/>
              <a:t>И в 2014 году продолжается тенденция по уменьшению количество категорий, которые «не подходят» для покупок онлайн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rgbClr val="EEECE1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rgbClr val="EEECE1"/>
                </a:solidFill>
                <a:latin typeface="Arial" pitchFamily="34" charset="0"/>
              </a:rPr>
              <a:pPr/>
              <a:t>13</a:t>
            </a:fld>
            <a:endParaRPr lang="en-US" sz="800" dirty="0">
              <a:solidFill>
                <a:srgbClr val="EEECE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678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4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4736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>
                <a:latin typeface="Arial" charset="0"/>
              </a:rPr>
              <a:t>В 2014 году список причин практически не изменился: привлекательная цена остаётся основным драйвером для покупки за рубежом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239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239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7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3800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1400" dirty="0" smtClean="0"/>
              <a:t>Возможность доставки крупногабаритного товара – это мотивация сразу заказать в интернете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239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9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575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2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2854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0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239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дходим</a:t>
            </a:r>
            <a:r>
              <a:rPr lang="ru-RU" baseline="0" dirty="0" smtClean="0"/>
              <a:t> к тому, что происходит в </a:t>
            </a:r>
            <a:r>
              <a:rPr lang="ru-RU" baseline="0" dirty="0" err="1" smtClean="0"/>
              <a:t>оффлайне</a:t>
            </a: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2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503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788988"/>
            <a:ext cx="4429125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sz="1000" b="0" i="0" kern="1200" cap="all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СПОЖИВАЧІ ПЕРЕНОСЯТЬ ЗВИЧКИ З ОНЛАЙН-ШОПІНГУ В ТРАДИЦІЙНІ МАГАЗИНИ</a:t>
            </a:r>
          </a:p>
          <a:p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Нові висновки для традиційних магазинів роздрібної торгівлі:</a:t>
            </a:r>
          </a:p>
          <a:p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• Чотири з десяти покупців у всьому світі використовують мобільні телефони для порівняння цін під час здійснення покупок у традиційних магазинах</a:t>
            </a:r>
          </a:p>
          <a:p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• Чотири з десяти покупців за допомогою телефону запитують поради у друзів або родичів під час традиційного </a:t>
            </a:r>
            <a:r>
              <a:rPr lang="uk-UA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шопінгу</a:t>
            </a:r>
            <a:endParaRPr lang="uk-UA" sz="1000" b="0" i="0" kern="1200" dirty="0" smtClean="0">
              <a:solidFill>
                <a:schemeClr val="tx2"/>
              </a:solidFill>
              <a:effectLst/>
              <a:latin typeface="Arial" pitchFamily="34" charset="0"/>
              <a:ea typeface="+mn-ea"/>
              <a:cs typeface="+mn-cs"/>
            </a:endParaRPr>
          </a:p>
          <a:p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• Більше третини покупців фотографують мобільним телефоном товари, які мають намір купити</a:t>
            </a:r>
          </a:p>
          <a:p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Відомо, що покупці </a:t>
            </a:r>
            <a:r>
              <a:rPr lang="uk-UA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онлайн-магазинів</a:t>
            </a:r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мають можливість миттєво порівняти ціни при здійсненні покупки, втім, покупці традиційних магазинів нині запозичують цю модель поведінки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22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65852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787400"/>
            <a:ext cx="4429125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2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0470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788988"/>
            <a:ext cx="4429125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24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6585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788988"/>
            <a:ext cx="4429125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Звертатись</a:t>
            </a:r>
            <a:r>
              <a:rPr lang="ru-RU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за </a:t>
            </a:r>
            <a:r>
              <a:rPr lang="ru-RU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порадою</a:t>
            </a:r>
            <a:r>
              <a:rPr lang="ru-RU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до друга </a:t>
            </a:r>
            <a:r>
              <a:rPr lang="ru-RU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або</a:t>
            </a:r>
            <a:r>
              <a:rPr lang="ru-RU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члена </a:t>
            </a:r>
            <a:r>
              <a:rPr lang="ru-RU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родини</a:t>
            </a:r>
            <a:r>
              <a:rPr lang="ru-RU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ru-RU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однаково</a:t>
            </a:r>
            <a:r>
              <a:rPr lang="ru-RU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ru-RU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важливо</a:t>
            </a:r>
            <a:r>
              <a:rPr lang="ru-RU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для </a:t>
            </a:r>
            <a:r>
              <a:rPr lang="ru-RU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чоловіків</a:t>
            </a:r>
            <a:r>
              <a:rPr lang="ru-RU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та </a:t>
            </a:r>
            <a:r>
              <a:rPr lang="ru-RU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жінок</a:t>
            </a:r>
            <a:endParaRPr lang="ru-RU" sz="1000" b="0" i="0" kern="1200" dirty="0" smtClean="0">
              <a:solidFill>
                <a:schemeClr val="tx2"/>
              </a:solidFill>
              <a:effectLst/>
              <a:latin typeface="Arial" pitchFamily="34" charset="0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25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6585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788988"/>
            <a:ext cx="4429125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26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6585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788988"/>
            <a:ext cx="4429125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27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65852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788988"/>
            <a:ext cx="4429125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«З огляду на те, що значна кількість покупців користуються </a:t>
            </a:r>
            <a:r>
              <a:rPr lang="uk-UA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інтернетом</a:t>
            </a:r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під час «</a:t>
            </a:r>
            <a:r>
              <a:rPr lang="uk-UA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офлайн</a:t>
            </a:r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» </a:t>
            </a:r>
            <a:r>
              <a:rPr lang="uk-UA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шопінгу</a:t>
            </a:r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, традиційні магазини мають врахувати це для своєї діяльності. Для традиційного </a:t>
            </a:r>
            <a:r>
              <a:rPr lang="uk-UA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ритейлу</a:t>
            </a:r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ключовим фактором успіху нині є можливість чітко і оперативно дізнаватись про ціни </a:t>
            </a:r>
            <a:r>
              <a:rPr lang="uk-UA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онлайн-конкурентів</a:t>
            </a:r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 та швидко реагувати на них. Те саме стосується </a:t>
            </a:r>
            <a:r>
              <a:rPr lang="uk-UA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онлайн-магазинів</a:t>
            </a:r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. Це особливо актуально для роздрібної торгівлі у таких регіонах, як Азія та Південна Америка, оскільки там покупці найактивніше використовують мобільні телефони, перебуваючи у магазині», – коментує Адріан </a:t>
            </a:r>
            <a:r>
              <a:rPr lang="uk-UA" sz="1000" b="0" i="0" kern="1200" dirty="0" err="1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Хоббс</a:t>
            </a:r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, керівник напрямку </a:t>
            </a:r>
            <a:r>
              <a:rPr lang="en-US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Online Pricing Intelligence </a:t>
            </a:r>
            <a:r>
              <a:rPr lang="uk-UA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компанії </a:t>
            </a:r>
            <a:r>
              <a:rPr lang="en-US" sz="1000" b="0" i="0" kern="1200" dirty="0" smtClean="0"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+mn-cs"/>
              </a:rPr>
              <a:t>GfK.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28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65852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788988"/>
            <a:ext cx="4429125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29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658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7846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788988"/>
            <a:ext cx="4429125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30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65852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1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6848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 чем закончили 2014 год?</a:t>
            </a:r>
          </a:p>
          <a:p>
            <a:r>
              <a:rPr lang="ru-RU" dirty="0" smtClean="0"/>
              <a:t>Резкое сокращение рынка в долларах. Мелкая бытовая техника лучше, чем</a:t>
            </a:r>
            <a:r>
              <a:rPr lang="ru-RU" baseline="0" dirty="0" smtClean="0"/>
              <a:t> рынок в целом. Фото хуже, чем рынок в целом. Дорогая игрушка и не всем по карману.</a:t>
            </a: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98661-0BA9-4BE2-A43D-898331112EB3}" type="slidenum">
              <a:rPr lang="uk-UA" smtClean="0"/>
              <a:t>3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0855186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ак закончили</a:t>
            </a:r>
            <a:r>
              <a:rPr lang="ru-RU" baseline="0" dirty="0" smtClean="0"/>
              <a:t> 2014 год</a:t>
            </a: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3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60216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4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04905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uk-UA" altLang="ru-RU" sz="1000" dirty="0" err="1" smtClean="0"/>
              <a:t>Динамика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помесячно</a:t>
            </a:r>
            <a:r>
              <a:rPr lang="uk-UA" altLang="ru-RU" sz="1000" dirty="0" smtClean="0"/>
              <a:t>: </a:t>
            </a:r>
            <a:r>
              <a:rPr lang="uk-UA" altLang="ru-RU" sz="1000" dirty="0" err="1" smtClean="0"/>
              <a:t>Больше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всего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рынок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сократился</a:t>
            </a:r>
            <a:r>
              <a:rPr lang="uk-UA" altLang="ru-RU" sz="1000" dirty="0" smtClean="0"/>
              <a:t> в марте, </a:t>
            </a:r>
            <a:r>
              <a:rPr lang="uk-UA" altLang="ru-RU" sz="1000" dirty="0" err="1" smtClean="0"/>
              <a:t>когда</a:t>
            </a:r>
            <a:r>
              <a:rPr lang="uk-UA" altLang="ru-RU" sz="1000" dirty="0" smtClean="0"/>
              <a:t> курс </a:t>
            </a:r>
            <a:r>
              <a:rPr lang="uk-UA" altLang="ru-RU" sz="1000" dirty="0" err="1" smtClean="0"/>
              <a:t>валюты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стабилизировался</a:t>
            </a:r>
            <a:r>
              <a:rPr lang="uk-UA" altLang="ru-RU" sz="1000" dirty="0" smtClean="0"/>
              <a:t>, а </a:t>
            </a:r>
            <a:r>
              <a:rPr lang="uk-UA" altLang="ru-RU" sz="1000" dirty="0" err="1" smtClean="0"/>
              <a:t>цены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значительно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повысились</a:t>
            </a:r>
            <a:r>
              <a:rPr lang="uk-UA" altLang="ru-RU" sz="1000" dirty="0" smtClean="0"/>
              <a:t>. </a:t>
            </a:r>
            <a:r>
              <a:rPr lang="uk-UA" altLang="ru-RU" sz="1000" dirty="0" err="1" smtClean="0"/>
              <a:t>расхождение</a:t>
            </a:r>
            <a:endParaRPr lang="uk-UA" altLang="ru-RU" sz="10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uk-UA" altLang="ru-RU" sz="1000" dirty="0" err="1" smtClean="0"/>
              <a:t>динамики</a:t>
            </a:r>
            <a:r>
              <a:rPr lang="uk-UA" altLang="ru-RU" sz="1000" dirty="0" smtClean="0"/>
              <a:t> в </a:t>
            </a:r>
            <a:r>
              <a:rPr lang="uk-UA" altLang="ru-RU" sz="1000" dirty="0" err="1" smtClean="0"/>
              <a:t>натуральном</a:t>
            </a:r>
            <a:r>
              <a:rPr lang="uk-UA" altLang="ru-RU" sz="1000" dirty="0" smtClean="0"/>
              <a:t> и </a:t>
            </a:r>
            <a:r>
              <a:rPr lang="uk-UA" altLang="ru-RU" sz="1000" dirty="0" err="1" smtClean="0"/>
              <a:t>денежном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измерениях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оставаться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характерной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чертой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рынка</a:t>
            </a:r>
            <a:r>
              <a:rPr lang="uk-UA" altLang="ru-RU" sz="1000" dirty="0" smtClean="0"/>
              <a:t> в </a:t>
            </a:r>
            <a:r>
              <a:rPr lang="uk-UA" altLang="ru-RU" sz="1000" dirty="0" err="1" smtClean="0"/>
              <a:t>ближайшее</a:t>
            </a:r>
            <a:r>
              <a:rPr lang="uk-UA" altLang="ru-RU" sz="1000" dirty="0" smtClean="0"/>
              <a:t> </a:t>
            </a:r>
            <a:r>
              <a:rPr lang="uk-UA" altLang="ru-RU" sz="1000" dirty="0" err="1" smtClean="0"/>
              <a:t>время</a:t>
            </a:r>
            <a:r>
              <a:rPr lang="uk-UA" altLang="ru-RU" sz="100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ru-RU" altLang="ru-RU" sz="10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altLang="ru-RU" sz="1000" dirty="0" smtClean="0"/>
              <a:t>Крупная бытовая техника: вытяжки, холодильники, </a:t>
            </a:r>
            <a:r>
              <a:rPr lang="ru-RU" altLang="ru-RU" sz="1000" dirty="0" err="1" smtClean="0"/>
              <a:t>стиралки</a:t>
            </a:r>
            <a:r>
              <a:rPr lang="ru-RU" altLang="ru-RU" sz="1000" dirty="0" smtClean="0"/>
              <a:t>. </a:t>
            </a:r>
            <a:r>
              <a:rPr lang="uk-UA" noProof="1" smtClean="0">
                <a:latin typeface="Arial" pitchFamily="34" charset="0"/>
                <a:cs typeface="Arial" pitchFamily="34" charset="0"/>
              </a:rPr>
              <a:t>Рост в гривнах</a:t>
            </a:r>
            <a:r>
              <a:rPr lang="uk-UA" baseline="0" noProof="1" smtClean="0">
                <a:latin typeface="Arial" pitchFamily="34" charset="0"/>
                <a:cs typeface="Arial" pitchFamily="34" charset="0"/>
              </a:rPr>
              <a:t> за счет </a:t>
            </a:r>
            <a:r>
              <a:rPr lang="uk-UA" noProof="1" smtClean="0">
                <a:latin typeface="Arial" pitchFamily="34" charset="0"/>
                <a:cs typeface="Arial" pitchFamily="34" charset="0"/>
              </a:rPr>
              <a:t>существенного подорожания всех продуктовых групп категории</a:t>
            </a:r>
            <a:endParaRPr lang="en-US" noProof="1" smtClean="0">
              <a:latin typeface="Arial" pitchFamily="34" charset="0"/>
              <a:cs typeface="Arial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altLang="ru-RU" sz="1000" dirty="0" smtClean="0"/>
              <a:t>Телеком: растут</a:t>
            </a:r>
            <a:r>
              <a:rPr lang="ru-RU" altLang="ru-RU" sz="1000" baseline="0" dirty="0" smtClean="0"/>
              <a:t> только смартфоны </a:t>
            </a:r>
            <a:r>
              <a:rPr lang="ru-RU" altLang="ru-RU" sz="1000" dirty="0" smtClean="0"/>
              <a:t>– за счет роста среднерыночной цены вполовину по сравнению с первого квартала 2014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altLang="ru-RU" sz="1000" dirty="0" smtClean="0"/>
              <a:t>Малая</a:t>
            </a:r>
            <a:r>
              <a:rPr lang="ru-RU" altLang="ru-RU" sz="1000" baseline="0" dirty="0" smtClean="0"/>
              <a:t> бытовая техника: нетипичная сезонность – нетипично слабый март. По группам товаров: растут пылесосы, кофеварки и </a:t>
            </a:r>
            <a:r>
              <a:rPr lang="ru-RU" altLang="ru-RU" sz="1000" baseline="0" dirty="0" err="1" smtClean="0"/>
              <a:t>мультиварки</a:t>
            </a:r>
            <a:endParaRPr lang="ru-RU" altLang="ru-RU" sz="1000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altLang="ru-RU" sz="1000" baseline="0" dirty="0" smtClean="0"/>
              <a:t>Бытовая электроника: очередной рост обменного курса стимулировало потребителей вложить свои сбережения. Телевизоры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altLang="ru-RU" sz="1000" baseline="0" dirty="0" err="1" smtClean="0"/>
              <a:t>Айти</a:t>
            </a:r>
            <a:r>
              <a:rPr lang="ru-RU" altLang="ru-RU" sz="1000" baseline="0" dirty="0" smtClean="0"/>
              <a:t>: сегмент вырос впервые за долгое время за счет увеличения среднерыночной цены в два-три раза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altLang="ru-RU" sz="1000" baseline="0" dirty="0" err="1" smtClean="0"/>
              <a:t>Фоторынок</a:t>
            </a:r>
            <a:r>
              <a:rPr lang="ru-RU" altLang="ru-RU" sz="1000" baseline="0" dirty="0" smtClean="0"/>
              <a:t>: Благодаря высоким ценам в денежном выражении рынок уменьшился всего на четверть, в штуках рынок уменьшился больше, чем в половину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21462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В гривне выросли почти все сегменты рынка,</a:t>
            </a:r>
            <a:r>
              <a:rPr lang="ru-RU" baseline="0" dirty="0" smtClean="0"/>
              <a:t> в штуках – сократились больше, чем на треть все без исключения сегменты.</a:t>
            </a:r>
            <a:endParaRPr lang="ru-RU" altLang="ru-RU" sz="10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altLang="ru-RU" sz="1000" dirty="0" err="1" smtClean="0"/>
              <a:t>Зросли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майже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всі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сектори</a:t>
            </a:r>
            <a:r>
              <a:rPr lang="ru-RU" altLang="ru-RU" sz="1000" dirty="0" smtClean="0"/>
              <a:t> ринку: велика </a:t>
            </a:r>
            <a:r>
              <a:rPr lang="ru-RU" altLang="ru-RU" sz="1000" dirty="0" err="1" smtClean="0"/>
              <a:t>побутова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техніка</a:t>
            </a:r>
            <a:r>
              <a:rPr lang="ru-RU" altLang="ru-RU" sz="1000" dirty="0" smtClean="0"/>
              <a:t> на 34%, </a:t>
            </a:r>
            <a:r>
              <a:rPr lang="ru-RU" altLang="ru-RU" sz="1000" dirty="0" err="1" smtClean="0"/>
              <a:t>телекомунікації</a:t>
            </a:r>
            <a:r>
              <a:rPr lang="ru-RU" altLang="ru-RU" sz="1000" dirty="0" smtClean="0"/>
              <a:t> – на 21%, мала </a:t>
            </a:r>
            <a:r>
              <a:rPr lang="ru-RU" altLang="ru-RU" sz="1000" dirty="0" err="1" smtClean="0"/>
              <a:t>побутова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техніка</a:t>
            </a:r>
            <a:r>
              <a:rPr lang="ru-RU" altLang="ru-RU" sz="1000" dirty="0" smtClean="0"/>
              <a:t> і </a:t>
            </a:r>
            <a:r>
              <a:rPr lang="ru-RU" altLang="ru-RU" sz="1000" dirty="0" err="1" smtClean="0"/>
              <a:t>побутова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електроніка</a:t>
            </a:r>
            <a:r>
              <a:rPr lang="ru-RU" altLang="ru-RU" sz="1000" dirty="0" smtClean="0"/>
              <a:t> – на 19,5% та 14% </a:t>
            </a:r>
            <a:r>
              <a:rPr lang="ru-RU" altLang="ru-RU" sz="1000" dirty="0" err="1" smtClean="0"/>
              <a:t>відповідно</a:t>
            </a:r>
            <a:r>
              <a:rPr lang="ru-RU" altLang="ru-RU" sz="1000" dirty="0" smtClean="0"/>
              <a:t>. </a:t>
            </a:r>
            <a:r>
              <a:rPr lang="ru-RU" altLang="ru-RU" sz="1000" dirty="0" err="1" smtClean="0"/>
              <a:t>Також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збільшилися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сектори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інформаційних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технологій</a:t>
            </a:r>
            <a:r>
              <a:rPr lang="ru-RU" altLang="ru-RU" sz="1000" dirty="0" smtClean="0"/>
              <a:t> (+6,5%) та </a:t>
            </a:r>
            <a:r>
              <a:rPr lang="ru-RU" altLang="ru-RU" sz="1000" dirty="0" err="1" smtClean="0"/>
              <a:t>офісної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техніки</a:t>
            </a:r>
            <a:r>
              <a:rPr lang="ru-RU" altLang="ru-RU" sz="1000" dirty="0" smtClean="0"/>
              <a:t> (+2,5%). 25% </a:t>
            </a:r>
            <a:r>
              <a:rPr lang="ru-RU" altLang="ru-RU" sz="1000" dirty="0" err="1" smtClean="0"/>
              <a:t>падіння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зазнав</a:t>
            </a:r>
            <a:r>
              <a:rPr lang="ru-RU" altLang="ru-RU" sz="1000" dirty="0" smtClean="0"/>
              <a:t> </a:t>
            </a:r>
            <a:r>
              <a:rPr lang="ru-RU" altLang="ru-RU" sz="1000" dirty="0" err="1" smtClean="0"/>
              <a:t>лише</a:t>
            </a:r>
            <a:r>
              <a:rPr lang="ru-RU" altLang="ru-RU" sz="1000" dirty="0" smtClean="0"/>
              <a:t> сектор фото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ru-RU" altLang="ru-RU" sz="10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altLang="ru-RU" sz="1000" dirty="0" smtClean="0"/>
              <a:t>Бытовая техника остается более стабильным сектором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33478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альше</a:t>
            </a:r>
            <a:r>
              <a:rPr lang="ru-RU" baseline="0" dirty="0" smtClean="0"/>
              <a:t> – сравнение каналов.</a:t>
            </a:r>
            <a:endParaRPr lang="ru-RU" dirty="0" smtClean="0"/>
          </a:p>
          <a:p>
            <a:r>
              <a:rPr lang="ru-RU" dirty="0" smtClean="0"/>
              <a:t>Данные по всем </a:t>
            </a:r>
            <a:r>
              <a:rPr lang="ru-RU" dirty="0" err="1" smtClean="0"/>
              <a:t>мониторящимся</a:t>
            </a:r>
            <a:r>
              <a:rPr lang="ru-RU" baseline="0" dirty="0" smtClean="0"/>
              <a:t> группам бытовой техники и электроники. </a:t>
            </a:r>
            <a:r>
              <a:rPr lang="ru-RU" dirty="0" smtClean="0"/>
              <a:t>на</a:t>
            </a:r>
            <a:r>
              <a:rPr lang="ru-RU" baseline="0" dirty="0" smtClean="0"/>
              <a:t> конец 1-го квартала онлайн-продажи составили почти 25% от всех продаж на рынке бытовой техники и электроники (рост канала - 19%)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За счет чего растем? За счет чисто онлайн игроков или за счет мультиканального ритейла? </a:t>
            </a:r>
            <a:r>
              <a:rPr lang="ru-RU" b="1" baseline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стут и те и другие. В % рост мультиканального ритейла выше. Если смотреть на разницу долей, то прирост больше у чистого </a:t>
            </a:r>
            <a:r>
              <a:rPr lang="ru-RU" b="1" baseline="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нлайна</a:t>
            </a:r>
            <a:r>
              <a:rPr lang="ru-RU" b="1" baseline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r>
              <a:rPr lang="en-US" b="1" baseline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b="0" baseline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мпы роста доли (увеличения канала, не денег) мультиканальных несколько выше. Увеличение доли за счет того, что падаешь меньше</a:t>
            </a:r>
            <a:endParaRPr lang="uk-UA" b="0" baseline="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7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32283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интернете больше</a:t>
            </a:r>
            <a:r>
              <a:rPr lang="ru-RU" baseline="0" dirty="0" smtClean="0"/>
              <a:t> продается </a:t>
            </a:r>
            <a:r>
              <a:rPr lang="ru-RU" baseline="0" dirty="0" err="1" smtClean="0"/>
              <a:t>айти</a:t>
            </a:r>
            <a:r>
              <a:rPr lang="ru-RU" baseline="0" dirty="0" smtClean="0"/>
              <a:t> (ноутбуки), сравнительно больше – крупная бытовая техника и фототехника («дорогие игрушки»)</a:t>
            </a:r>
          </a:p>
          <a:p>
            <a:r>
              <a:rPr lang="ru-RU" baseline="0" dirty="0" smtClean="0"/>
              <a:t>В традиционной рознице сохраняется больший вес телеком товаров (за счет смартфонов). Специфика структуры ассортимента? </a:t>
            </a:r>
            <a:r>
              <a:rPr lang="ru-RU" b="1" baseline="0" dirty="0" smtClean="0">
                <a:solidFill>
                  <a:srgbClr val="FF0000"/>
                </a:solidFill>
              </a:rPr>
              <a:t>В </a:t>
            </a:r>
            <a:r>
              <a:rPr lang="ru-RU" b="1" baseline="0" dirty="0" err="1" smtClean="0">
                <a:solidFill>
                  <a:srgbClr val="FF0000"/>
                </a:solidFill>
              </a:rPr>
              <a:t>оффлайне</a:t>
            </a:r>
            <a:r>
              <a:rPr lang="ru-RU" b="1" baseline="0" dirty="0" smtClean="0">
                <a:solidFill>
                  <a:srgbClr val="FF0000"/>
                </a:solidFill>
              </a:rPr>
              <a:t> есть специфические игроки по </a:t>
            </a:r>
            <a:r>
              <a:rPr lang="ru-RU" b="1" baseline="0" dirty="0" err="1" smtClean="0">
                <a:solidFill>
                  <a:srgbClr val="FF0000"/>
                </a:solidFill>
              </a:rPr>
              <a:t>телекому</a:t>
            </a:r>
            <a:r>
              <a:rPr lang="ru-RU" b="1" baseline="0" dirty="0" smtClean="0">
                <a:solidFill>
                  <a:srgbClr val="FF0000"/>
                </a:solidFill>
              </a:rPr>
              <a:t>.</a:t>
            </a:r>
          </a:p>
          <a:p>
            <a:r>
              <a:rPr lang="ru-RU" baseline="0" dirty="0" smtClean="0"/>
              <a:t>Сравнительно больше – бытовая электроника (за счет каких категорий)? </a:t>
            </a:r>
            <a:r>
              <a:rPr lang="ru-RU" b="1" baseline="0" dirty="0" smtClean="0"/>
              <a:t>За счет ТВ</a:t>
            </a:r>
          </a:p>
          <a:p>
            <a:endParaRPr lang="ru-RU" baseline="0" dirty="0" smtClean="0"/>
          </a:p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38589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ак изменился портфель продаж в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онлайне</a:t>
            </a:r>
            <a:r>
              <a:rPr lang="ru-RU" baseline="0" dirty="0" smtClean="0"/>
              <a:t>?</a:t>
            </a:r>
          </a:p>
          <a:p>
            <a:r>
              <a:rPr lang="ru-RU" baseline="0" dirty="0" smtClean="0"/>
              <a:t>За счет чего увеличилась доля крупной бытовой техники? </a:t>
            </a:r>
            <a:r>
              <a:rPr lang="ru-RU" b="1" baseline="0" dirty="0" smtClean="0"/>
              <a:t>Групп-чемпионов нет. Спрос в целом выше (упал меньше) на КБТ</a:t>
            </a:r>
          </a:p>
          <a:p>
            <a:r>
              <a:rPr lang="ru-RU" baseline="0" dirty="0" smtClean="0"/>
              <a:t>Почему несколько уменьшилась доля </a:t>
            </a:r>
            <a:r>
              <a:rPr lang="ru-RU" baseline="0" dirty="0" err="1" smtClean="0"/>
              <a:t>айти</a:t>
            </a:r>
            <a:r>
              <a:rPr lang="ru-RU" baseline="0" dirty="0" smtClean="0"/>
              <a:t>? </a:t>
            </a:r>
            <a:r>
              <a:rPr lang="ru-RU" b="1" baseline="0" dirty="0" smtClean="0"/>
              <a:t>Падение спроса на планшеты (насыщение рынка, и частичное замещение. Экономишь на игрушка. Кто хотел – уже купил. Повторная покупка замена – откладывается. Перестали быть категорией повышенного спроса). Продолжение снижения спроса на ноутбуки.</a:t>
            </a:r>
            <a:endParaRPr lang="uk-UA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39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226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7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0937" cy="3721100"/>
          </a:xfrm>
          <a:ln/>
        </p:spPr>
      </p:sp>
      <p:sp>
        <p:nvSpPr>
          <p:cNvPr id="5027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64" y="4715407"/>
            <a:ext cx="5438748" cy="4467470"/>
          </a:xfrm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ак ведет себ</a:t>
            </a:r>
            <a:r>
              <a:rPr lang="ru-RU" baseline="0" dirty="0" smtClean="0"/>
              <a:t>я покупатель во время валютного шока/резкой девальвации.</a:t>
            </a:r>
          </a:p>
          <a:p>
            <a:r>
              <a:rPr lang="ru-RU" baseline="0" dirty="0" smtClean="0"/>
              <a:t>Насколько значим эффект девальвации на спрос в краткосрочном периоде. Как долго длиться эффект повышенного спроса на разных рынках?</a:t>
            </a:r>
          </a:p>
          <a:p>
            <a:r>
              <a:rPr lang="ru-RU" baseline="0" dirty="0" smtClean="0"/>
              <a:t>Сила эффекта – это увеличение продаж. Крупная бытовая техника – это инвестиция. Модели поведения одинаковы, что в </a:t>
            </a:r>
            <a:r>
              <a:rPr lang="ru-RU" baseline="0" dirty="0" err="1" smtClean="0"/>
              <a:t>онлайне</a:t>
            </a:r>
            <a:r>
              <a:rPr lang="ru-RU" baseline="0" dirty="0" smtClean="0"/>
              <a:t> и </a:t>
            </a:r>
            <a:r>
              <a:rPr lang="ru-RU" baseline="0" dirty="0" err="1" smtClean="0"/>
              <a:t>оффлайне</a:t>
            </a:r>
            <a:r>
              <a:rPr lang="ru-RU" baseline="0" dirty="0" smtClean="0"/>
              <a:t>.</a:t>
            </a:r>
          </a:p>
          <a:p>
            <a:r>
              <a:rPr lang="ru-RU" baseline="0" dirty="0" smtClean="0"/>
              <a:t>Покупка </a:t>
            </a:r>
            <a:r>
              <a:rPr lang="ru-RU" baseline="0" dirty="0" err="1" smtClean="0"/>
              <a:t>БТиЭ</a:t>
            </a:r>
            <a:r>
              <a:rPr lang="ru-RU" baseline="0" dirty="0" smtClean="0"/>
              <a:t> как инвестиция. Февраль еще раз это подтвердил.</a:t>
            </a: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98661-0BA9-4BE2-A43D-898331112EB3}" type="slidenum">
              <a:rPr lang="uk-UA" smtClean="0"/>
              <a:t>4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5838832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3840506-5CB8-4F92-83DE-9C25D678723E}" type="slidenum">
              <a:rPr lang="en-US">
                <a:latin typeface="Arial" pitchFamily="34" charset="0"/>
              </a:rPr>
              <a:pPr/>
              <a:t>41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598018" name="Rectangle 7"/>
          <p:cNvSpPr txBox="1">
            <a:spLocks noGrp="1" noChangeArrowheads="1"/>
          </p:cNvSpPr>
          <p:nvPr/>
        </p:nvSpPr>
        <p:spPr bwMode="auto">
          <a:xfrm>
            <a:off x="3853592" y="9435263"/>
            <a:ext cx="2944085" cy="492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12" tIns="47410" rIns="94812" bIns="47410" anchor="b"/>
          <a:lstStyle/>
          <a:p>
            <a:pPr algn="r" defTabSz="947614"/>
            <a:fld id="{A235A4CC-E2CE-4470-B826-91DC4465D83D}" type="slidenum">
              <a:rPr lang="en-US" sz="1300">
                <a:latin typeface="Arial" pitchFamily="34" charset="0"/>
                <a:cs typeface="Arial" pitchFamily="34" charset="0"/>
              </a:rPr>
              <a:pPr algn="r" defTabSz="947614"/>
              <a:t>41</a:t>
            </a:fld>
            <a:endParaRPr lang="en-US" sz="1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980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7287" cy="3724275"/>
          </a:xfrm>
          <a:ln/>
        </p:spPr>
      </p:sp>
      <p:sp>
        <p:nvSpPr>
          <p:cNvPr id="5980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7" y="4715908"/>
            <a:ext cx="4984962" cy="4467701"/>
          </a:xfrm>
        </p:spPr>
        <p:txBody>
          <a:bodyPr lIns="94812" tIns="47410" rIns="94812" bIns="4741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Потребитель</a:t>
            </a:r>
            <a:r>
              <a:rPr lang="ru-RU" baseline="0" dirty="0" smtClean="0"/>
              <a:t> быстрее реагирует на ситуацию.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Тенденции в онлайне схожи с офлайн рынками</a:t>
            </a: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42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80501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23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4520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 smtClean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pPr/>
              <a:t>7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2854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4500" y="820738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ски объявлений и прайс-</a:t>
            </a:r>
            <a:r>
              <a:rPr lang="ru-RU" dirty="0" err="1" smtClean="0"/>
              <a:t>агрегаторы</a:t>
            </a:r>
            <a:r>
              <a:rPr lang="ru-RU" dirty="0" smtClean="0"/>
              <a:t> остались без изменений</a:t>
            </a:r>
            <a:r>
              <a:rPr lang="ru-RU" dirty="0" smtClean="0">
                <a:latin typeface="Arial" charset="0"/>
              </a:rPr>
              <a:t>, покупки через </a:t>
            </a:r>
            <a:r>
              <a:rPr lang="ru-RU" dirty="0" err="1" smtClean="0">
                <a:latin typeface="Arial" charset="0"/>
              </a:rPr>
              <a:t>соцсети</a:t>
            </a:r>
            <a:r>
              <a:rPr lang="ru-RU" dirty="0" smtClean="0">
                <a:latin typeface="Arial" charset="0"/>
              </a:rPr>
              <a:t> – растут, сайты с купонами – продолжили падать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t>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239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9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977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530" y="2205037"/>
            <a:ext cx="8496943" cy="1584003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529" y="3861051"/>
            <a:ext cx="8496944" cy="1439615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97651"/>
            <a:ext cx="9144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" name="Gruppieren 5"/>
          <p:cNvGrpSpPr/>
          <p:nvPr/>
        </p:nvGrpSpPr>
        <p:grpSpPr bwMode="gray">
          <a:xfrm>
            <a:off x="-324680" y="908651"/>
            <a:ext cx="216030" cy="5688791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/>
          <p:cNvGrpSpPr/>
          <p:nvPr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323528" y="1124681"/>
            <a:ext cx="8496944" cy="2664683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6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2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1123952"/>
            <a:ext cx="8496622" cy="2665413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 hasCustomPrompt="1"/>
          </p:nvPr>
        </p:nvSpPr>
        <p:spPr bwMode="gray">
          <a:xfrm>
            <a:off x="323850" y="1123952"/>
            <a:ext cx="8496622" cy="2665413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3284537"/>
            <a:ext cx="1296144" cy="201672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3284537"/>
            <a:ext cx="1296144" cy="201672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3" y="465318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422114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3284538"/>
            <a:ext cx="2736304" cy="93660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86921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5085238"/>
            <a:ext cx="2736226" cy="21501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4653191"/>
            <a:ext cx="2736304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422114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3284538"/>
            <a:ext cx="2736304" cy="93660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486921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508523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2205037"/>
            <a:ext cx="1295400" cy="201605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2205037"/>
            <a:ext cx="1295400" cy="201605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11" y="3573019"/>
            <a:ext cx="2736953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 smtClean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3140968"/>
            <a:ext cx="273687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763688" y="2205040"/>
            <a:ext cx="2736304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9" y="3789040"/>
            <a:ext cx="273687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4005064"/>
            <a:ext cx="2736226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357301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3140968"/>
            <a:ext cx="2736304" cy="21676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4168" y="2205040"/>
            <a:ext cx="2736304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3789040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4005064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4365627"/>
            <a:ext cx="12954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4365627"/>
            <a:ext cx="12954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5733735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5301209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763688" y="4365625"/>
            <a:ext cx="2736304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5949239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6164742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5733746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5301209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168" y="4365625"/>
            <a:ext cx="2736304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5949249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6164751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1123952"/>
            <a:ext cx="8496944" cy="2665413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23731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6021288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 userDrawn="1"/>
        </p:nvCxnSpPr>
        <p:spPr>
          <a:xfrm>
            <a:off x="323850" y="1052513"/>
            <a:ext cx="8496300" cy="0"/>
          </a:xfrm>
          <a:prstGeom prst="line">
            <a:avLst/>
          </a:prstGeom>
          <a:ln w="254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23528" y="1124744"/>
            <a:ext cx="8496944" cy="52565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49965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2372855"/>
            <a:ext cx="8533279" cy="37350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05413"/>
            <a:ext cx="8496300" cy="192616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3850" y="1316567"/>
            <a:ext cx="8496300" cy="6731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804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57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05033"/>
            <a:ext cx="8496300" cy="192616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673029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1123949"/>
            <a:ext cx="8496944" cy="5473403"/>
          </a:xfr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2420888"/>
            <a:ext cx="8208912" cy="1368152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5" y="3861048"/>
            <a:ext cx="8208913" cy="1512168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endParaRPr lang="en-US" dirty="0" smtClean="0"/>
          </a:p>
        </p:txBody>
      </p:sp>
      <p:grpSp>
        <p:nvGrpSpPr>
          <p:cNvPr id="10" name="Gruppieren 9"/>
          <p:cNvGrpSpPr/>
          <p:nvPr userDrawn="1"/>
        </p:nvGrpSpPr>
        <p:grpSpPr bwMode="gray">
          <a:xfrm>
            <a:off x="-324550" y="908651"/>
            <a:ext cx="216030" cy="5688791"/>
            <a:chOff x="-540710" y="908650"/>
            <a:chExt cx="432060" cy="5688790"/>
          </a:xfrm>
        </p:grpSpPr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/>
          <p:cNvGrpSpPr/>
          <p:nvPr userDrawn="1"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/>
          <p:cNvGrpSpPr/>
          <p:nvPr userDrawn="1"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/>
          <p:cNvGrpSpPr/>
          <p:nvPr userDrawn="1"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hteck 55"/>
          <p:cNvSpPr/>
          <p:nvPr userDrawn="1"/>
        </p:nvSpPr>
        <p:spPr bwMode="gray">
          <a:xfrm>
            <a:off x="0" y="6597651"/>
            <a:ext cx="9144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6237312"/>
            <a:ext cx="8209140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05413"/>
            <a:ext cx="8496300" cy="192616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107064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05033"/>
            <a:ext cx="8496300" cy="192616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012520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05033"/>
            <a:ext cx="8496300" cy="192616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539652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05033"/>
            <a:ext cx="8496300" cy="192616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097881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05033"/>
            <a:ext cx="8496300" cy="192616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162191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05033"/>
            <a:ext cx="8496300" cy="192616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1462383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/>
              <a:t>22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642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12149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G:\contracts\125_it_telecom\125.384_mob_inet_CAWI\report\42-35223514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530" y="2205037"/>
            <a:ext cx="8496943" cy="1584003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529" y="3861051"/>
            <a:ext cx="8496944" cy="1439615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237312"/>
            <a:ext cx="849694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70867" y="260560"/>
            <a:ext cx="649287" cy="6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3314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1123949"/>
            <a:ext cx="8496944" cy="5473403"/>
          </a:xfr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2420888"/>
            <a:ext cx="8208912" cy="1368152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5" y="3861048"/>
            <a:ext cx="8208913" cy="1512168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endParaRPr lang="en-US" dirty="0" smtClean="0"/>
          </a:p>
        </p:txBody>
      </p:sp>
      <p:grpSp>
        <p:nvGrpSpPr>
          <p:cNvPr id="10" name="Gruppieren 9"/>
          <p:cNvGrpSpPr/>
          <p:nvPr/>
        </p:nvGrpSpPr>
        <p:grpSpPr bwMode="gray">
          <a:xfrm>
            <a:off x="-324550" y="908651"/>
            <a:ext cx="216030" cy="5688791"/>
            <a:chOff x="-540710" y="908650"/>
            <a:chExt cx="432060" cy="5688790"/>
          </a:xfrm>
        </p:grpSpPr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/>
          <p:cNvGrpSpPr/>
          <p:nvPr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/>
          <p:cNvGrpSpPr/>
          <p:nvPr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hteck 55"/>
          <p:cNvSpPr/>
          <p:nvPr/>
        </p:nvSpPr>
        <p:spPr bwMode="gray">
          <a:xfrm>
            <a:off x="0" y="6597651"/>
            <a:ext cx="9144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6237312"/>
            <a:ext cx="8209140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95890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1052736"/>
            <a:ext cx="8496944" cy="5328592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>
                <a:latin typeface="Arial" pitchFamily="34" charset="0"/>
                <a:cs typeface="Arial" pitchFamily="34" charset="0"/>
              </a:defRPr>
            </a:lvl1pPr>
            <a:lvl2pPr marL="360000" indent="0">
              <a:spcBef>
                <a:spcPts val="300"/>
              </a:spcBef>
              <a:spcAft>
                <a:spcPts val="12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22024" y="6597352"/>
            <a:ext cx="1298448" cy="1463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1052736"/>
            <a:ext cx="8496944" cy="5328592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>
                <a:latin typeface="Arial" pitchFamily="34" charset="0"/>
                <a:cs typeface="Arial" pitchFamily="34" charset="0"/>
              </a:defRPr>
            </a:lvl1pPr>
            <a:lvl2pPr marL="360000" indent="0">
              <a:spcBef>
                <a:spcPts val="300"/>
              </a:spcBef>
              <a:spcAft>
                <a:spcPts val="12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22024" y="6597352"/>
            <a:ext cx="1298448" cy="1463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>
                <a:solidFill>
                  <a:srgbClr val="928580"/>
                </a:solidFill>
              </a:rPr>
              <a:pPr algn="r"/>
              <a:t>‹#›</a:t>
            </a:fld>
            <a:endParaRPr lang="en-US" dirty="0">
              <a:solidFill>
                <a:srgbClr val="9285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207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2205039"/>
            <a:ext cx="9144000" cy="2447924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/>
        </p:nvGrpSpPr>
        <p:grpSpPr bwMode="gray">
          <a:xfrm>
            <a:off x="-324680" y="908651"/>
            <a:ext cx="216030" cy="5688791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62299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/>
        </p:nvSpPr>
        <p:spPr bwMode="gray">
          <a:xfrm>
            <a:off x="0" y="2636912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708920"/>
            <a:ext cx="9144000" cy="144016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/>
        </p:nvGrpSpPr>
        <p:grpSpPr bwMode="gray">
          <a:xfrm>
            <a:off x="-324680" y="908651"/>
            <a:ext cx="216030" cy="5688791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/>
        </p:nvSpPr>
        <p:spPr bwMode="gray">
          <a:xfrm>
            <a:off x="0" y="4149080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55" name="Rechteck 54"/>
          <p:cNvSpPr/>
          <p:nvPr/>
        </p:nvSpPr>
        <p:spPr bwMode="gray">
          <a:xfrm>
            <a:off x="0" y="0"/>
            <a:ext cx="9144000" cy="26369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858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90"/>
            <a:ext cx="8496300" cy="144463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2384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o add text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1052736"/>
            <a:ext cx="417703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4" y="1052736"/>
            <a:ext cx="417703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44471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9" y="1052736"/>
            <a:ext cx="273558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1052671"/>
            <a:ext cx="273558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3" y="1052604"/>
            <a:ext cx="273558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886599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 bwMode="gray">
          <a:xfrm>
            <a:off x="-324680" y="908651"/>
            <a:ext cx="216030" cy="5688791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/>
          <p:cNvGrpSpPr/>
          <p:nvPr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528" y="1124681"/>
            <a:ext cx="8496944" cy="2664683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6450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 smtClean="0">
              <a:solidFill>
                <a:srgbClr val="000000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6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2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1123952"/>
            <a:ext cx="8496622" cy="2665413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7404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uppieren 5"/>
          <p:cNvGrpSpPr/>
          <p:nvPr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 hasCustomPrompt="1"/>
          </p:nvPr>
        </p:nvSpPr>
        <p:spPr bwMode="gray">
          <a:xfrm>
            <a:off x="323850" y="1123952"/>
            <a:ext cx="8496622" cy="2665413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3843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3284537"/>
            <a:ext cx="1296144" cy="201672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3284537"/>
            <a:ext cx="1296144" cy="201672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3" y="465318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422114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3284538"/>
            <a:ext cx="2736304" cy="93660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86921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5085238"/>
            <a:ext cx="2736226" cy="21501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4653191"/>
            <a:ext cx="2736304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422114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3284538"/>
            <a:ext cx="2736304" cy="93660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486921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508523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7920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2205039"/>
            <a:ext cx="9144000" cy="2447924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908651"/>
            <a:ext cx="216030" cy="5688791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21328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605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2205037"/>
            <a:ext cx="1295400" cy="201605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2205037"/>
            <a:ext cx="1295400" cy="201605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11" y="3573019"/>
            <a:ext cx="2736953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 smtClean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3140968"/>
            <a:ext cx="273687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763688" y="2205040"/>
            <a:ext cx="2736304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9" y="3789040"/>
            <a:ext cx="273687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4005064"/>
            <a:ext cx="2736226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357301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3140968"/>
            <a:ext cx="2736304" cy="21676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4168" y="2205040"/>
            <a:ext cx="2736304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3789040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4005064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4365627"/>
            <a:ext cx="12954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4365627"/>
            <a:ext cx="12954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5733735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5301209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763688" y="4365625"/>
            <a:ext cx="2736304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5949239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6164742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5733746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5301209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168" y="4365625"/>
            <a:ext cx="2736304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5949249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6164751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6268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1123952"/>
            <a:ext cx="8496944" cy="2665413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23731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grpSp>
        <p:nvGrpSpPr>
          <p:cNvPr id="5" name="Gruppieren 4"/>
          <p:cNvGrpSpPr/>
          <p:nvPr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6021288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62665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530" y="2205037"/>
            <a:ext cx="8496943" cy="1584003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529" y="3861050"/>
            <a:ext cx="8496944" cy="1439615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237312"/>
            <a:ext cx="849694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6597650"/>
            <a:ext cx="9144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4209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1123949"/>
            <a:ext cx="8496944" cy="5473403"/>
          </a:xfr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2420888"/>
            <a:ext cx="8208912" cy="1368152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5" y="3861048"/>
            <a:ext cx="8208913" cy="1512168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endParaRPr lang="en-US" dirty="0" smtClean="0"/>
          </a:p>
        </p:txBody>
      </p:sp>
      <p:grpSp>
        <p:nvGrpSpPr>
          <p:cNvPr id="10" name="Gruppieren 9"/>
          <p:cNvGrpSpPr/>
          <p:nvPr/>
        </p:nvGrpSpPr>
        <p:grpSpPr bwMode="gray">
          <a:xfrm>
            <a:off x="-324550" y="908650"/>
            <a:ext cx="216030" cy="5688791"/>
            <a:chOff x="-540710" y="908650"/>
            <a:chExt cx="432060" cy="5688790"/>
          </a:xfrm>
        </p:grpSpPr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/>
          <p:cNvGrpSpPr/>
          <p:nvPr/>
        </p:nvGrpSpPr>
        <p:grpSpPr bwMode="gray">
          <a:xfrm>
            <a:off x="323410" y="6957490"/>
            <a:ext cx="8496740" cy="216031"/>
            <a:chOff x="323850" y="-531550"/>
            <a:chExt cx="8496740" cy="432060"/>
          </a:xfrm>
        </p:grpSpPr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/>
          <p:cNvGrpSpPr/>
          <p:nvPr/>
        </p:nvGrpSpPr>
        <p:grpSpPr bwMode="gray">
          <a:xfrm>
            <a:off x="9252650" y="908650"/>
            <a:ext cx="216030" cy="5688791"/>
            <a:chOff x="-540710" y="908650"/>
            <a:chExt cx="432060" cy="568879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hteck 55"/>
          <p:cNvSpPr/>
          <p:nvPr/>
        </p:nvSpPr>
        <p:spPr bwMode="gray">
          <a:xfrm>
            <a:off x="0" y="6597650"/>
            <a:ext cx="9144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6237312"/>
            <a:ext cx="8209140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7" name="Gruppieren 9"/>
          <p:cNvGrpSpPr/>
          <p:nvPr userDrawn="1"/>
        </p:nvGrpSpPr>
        <p:grpSpPr bwMode="gray">
          <a:xfrm>
            <a:off x="-324550" y="908651"/>
            <a:ext cx="216030" cy="5688791"/>
            <a:chOff x="-540710" y="908650"/>
            <a:chExt cx="432060" cy="5688790"/>
          </a:xfrm>
        </p:grpSpPr>
        <p:cxnSp>
          <p:nvCxnSpPr>
            <p:cNvPr id="59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15"/>
          <p:cNvGrpSpPr/>
          <p:nvPr userDrawn="1"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65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uppieren 28"/>
          <p:cNvGrpSpPr/>
          <p:nvPr userDrawn="1"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79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uppieren 41"/>
          <p:cNvGrpSpPr/>
          <p:nvPr userDrawn="1"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92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" name="Rechteck 55"/>
          <p:cNvSpPr/>
          <p:nvPr userDrawn="1"/>
        </p:nvSpPr>
        <p:spPr bwMode="gray">
          <a:xfrm>
            <a:off x="0" y="6597651"/>
            <a:ext cx="9144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292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1052736"/>
            <a:ext cx="8496944" cy="5328592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>
                <a:latin typeface="Arial" pitchFamily="34" charset="0"/>
                <a:cs typeface="Arial" pitchFamily="34" charset="0"/>
              </a:defRPr>
            </a:lvl1pPr>
            <a:lvl2pPr marL="360000" indent="0">
              <a:spcBef>
                <a:spcPts val="300"/>
              </a:spcBef>
              <a:spcAft>
                <a:spcPts val="12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22024" y="6597352"/>
            <a:ext cx="1298448" cy="1463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250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2205039"/>
            <a:ext cx="9144000" cy="2447924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/>
        </p:nvGrpSpPr>
        <p:grpSpPr bwMode="gray">
          <a:xfrm>
            <a:off x="-324680" y="908650"/>
            <a:ext cx="216030" cy="5688791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/>
        </p:nvGrpSpPr>
        <p:grpSpPr bwMode="gray">
          <a:xfrm>
            <a:off x="323410" y="6957490"/>
            <a:ext cx="8496740" cy="216031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9252650" y="908650"/>
            <a:ext cx="216030" cy="5688791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/>
        </p:nvSpPr>
        <p:spPr bwMode="gray">
          <a:xfrm>
            <a:off x="0" y="0"/>
            <a:ext cx="9144000" cy="21328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52" name="Gruppieren 4"/>
          <p:cNvGrpSpPr/>
          <p:nvPr userDrawn="1"/>
        </p:nvGrpSpPr>
        <p:grpSpPr bwMode="gray">
          <a:xfrm>
            <a:off x="-324680" y="908651"/>
            <a:ext cx="216030" cy="5688791"/>
            <a:chOff x="-540710" y="908650"/>
            <a:chExt cx="432060" cy="5688790"/>
          </a:xfrm>
        </p:grpSpPr>
        <p:cxnSp>
          <p:nvCxnSpPr>
            <p:cNvPr id="53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11"/>
          <p:cNvGrpSpPr/>
          <p:nvPr userDrawn="1"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59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Gruppieren 24"/>
          <p:cNvGrpSpPr/>
          <p:nvPr userDrawn="1"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72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uppieren 37"/>
          <p:cNvGrpSpPr/>
          <p:nvPr userDrawn="1"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85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Rechteck 2"/>
          <p:cNvSpPr/>
          <p:nvPr userDrawn="1"/>
        </p:nvSpPr>
        <p:spPr bwMode="gray">
          <a:xfrm>
            <a:off x="0" y="0"/>
            <a:ext cx="9144000" cy="21328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356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/>
        </p:nvSpPr>
        <p:spPr bwMode="gray">
          <a:xfrm>
            <a:off x="0" y="2636912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708920"/>
            <a:ext cx="9144000" cy="144016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/>
        </p:nvGrpSpPr>
        <p:grpSpPr bwMode="gray">
          <a:xfrm>
            <a:off x="-324680" y="908650"/>
            <a:ext cx="216030" cy="5688791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/>
        </p:nvGrpSpPr>
        <p:grpSpPr bwMode="gray">
          <a:xfrm>
            <a:off x="323410" y="6957490"/>
            <a:ext cx="8496740" cy="216031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9252650" y="908650"/>
            <a:ext cx="216030" cy="5688791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/>
        </p:nvSpPr>
        <p:spPr bwMode="gray">
          <a:xfrm>
            <a:off x="0" y="4149080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5" name="Rechteck 54"/>
          <p:cNvSpPr/>
          <p:nvPr/>
        </p:nvSpPr>
        <p:spPr bwMode="gray">
          <a:xfrm>
            <a:off x="0" y="0"/>
            <a:ext cx="9144000" cy="26369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2" name="Rechteck 63"/>
          <p:cNvSpPr/>
          <p:nvPr userDrawn="1"/>
        </p:nvSpPr>
        <p:spPr bwMode="gray">
          <a:xfrm>
            <a:off x="0" y="2636912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53" name="Gruppieren 4"/>
          <p:cNvGrpSpPr/>
          <p:nvPr userDrawn="1"/>
        </p:nvGrpSpPr>
        <p:grpSpPr bwMode="gray">
          <a:xfrm>
            <a:off x="-324680" y="908651"/>
            <a:ext cx="216030" cy="5688791"/>
            <a:chOff x="-540710" y="908650"/>
            <a:chExt cx="432060" cy="5688790"/>
          </a:xfrm>
        </p:grpSpPr>
        <p:cxnSp>
          <p:nvCxnSpPr>
            <p:cNvPr id="54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pieren 11"/>
          <p:cNvGrpSpPr/>
          <p:nvPr userDrawn="1"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61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Gruppieren 24"/>
          <p:cNvGrpSpPr/>
          <p:nvPr userDrawn="1"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7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Gruppieren 37"/>
          <p:cNvGrpSpPr/>
          <p:nvPr userDrawn="1"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8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Rechteck 66"/>
          <p:cNvSpPr/>
          <p:nvPr userDrawn="1"/>
        </p:nvSpPr>
        <p:spPr bwMode="gray">
          <a:xfrm>
            <a:off x="0" y="4149080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03" name="Rechteck 54"/>
          <p:cNvSpPr/>
          <p:nvPr userDrawn="1"/>
        </p:nvSpPr>
        <p:spPr bwMode="gray">
          <a:xfrm>
            <a:off x="0" y="0"/>
            <a:ext cx="9144000" cy="26369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928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9"/>
            <a:ext cx="8496300" cy="144463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187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0669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9"/>
            <a:ext cx="84963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1052736"/>
            <a:ext cx="417703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2" y="1052736"/>
            <a:ext cx="417703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132310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2636912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708920"/>
            <a:ext cx="9144000" cy="144016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908651"/>
            <a:ext cx="216030" cy="5688791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908651"/>
            <a:ext cx="216030" cy="5688791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 userDrawn="1"/>
        </p:nvSpPr>
        <p:spPr bwMode="gray">
          <a:xfrm>
            <a:off x="0" y="4149080"/>
            <a:ext cx="9144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26369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137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9"/>
            <a:ext cx="84963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9" y="1052736"/>
            <a:ext cx="273558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1052671"/>
            <a:ext cx="273558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2" y="1052604"/>
            <a:ext cx="273558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62642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" name="Gruppieren 5"/>
          <p:cNvGrpSpPr/>
          <p:nvPr/>
        </p:nvGrpSpPr>
        <p:grpSpPr bwMode="gray">
          <a:xfrm>
            <a:off x="-324680" y="908650"/>
            <a:ext cx="216030" cy="5688791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323410" y="6957490"/>
            <a:ext cx="8496740" cy="216031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/>
          <p:cNvGrpSpPr/>
          <p:nvPr/>
        </p:nvGrpSpPr>
        <p:grpSpPr bwMode="gray">
          <a:xfrm>
            <a:off x="9252650" y="908650"/>
            <a:ext cx="216030" cy="5688791"/>
            <a:chOff x="-540710" y="908650"/>
            <a:chExt cx="432060" cy="5688790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528" y="1124681"/>
            <a:ext cx="8496944" cy="2664683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64" name="Rechteck 2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528" y="1124681"/>
            <a:ext cx="8496944" cy="2664683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422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6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2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1123951"/>
            <a:ext cx="8496622" cy="2665413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65" name="Rechteck 6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6" name="Gruppieren 3"/>
          <p:cNvGrpSpPr/>
          <p:nvPr userDrawn="1"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67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108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96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84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71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626217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uppieren 5"/>
          <p:cNvGrpSpPr/>
          <p:nvPr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 hasCustomPrompt="1"/>
          </p:nvPr>
        </p:nvSpPr>
        <p:spPr bwMode="gray">
          <a:xfrm>
            <a:off x="323850" y="1123951"/>
            <a:ext cx="8496622" cy="2665413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pic>
        <p:nvPicPr>
          <p:cNvPr id="66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7" name="Gruppieren 5"/>
          <p:cNvGrpSpPr/>
          <p:nvPr userDrawn="1"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68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109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9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97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85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72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04020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3284537"/>
            <a:ext cx="1296144" cy="201672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3284537"/>
            <a:ext cx="1296144" cy="201672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1" y="465318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422114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3284538"/>
            <a:ext cx="2736304" cy="93660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86921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5085237"/>
            <a:ext cx="2736226" cy="21501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4653190"/>
            <a:ext cx="2736304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4221141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3284538"/>
            <a:ext cx="2736304" cy="93660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486921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5085236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9009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2205037"/>
            <a:ext cx="1295400" cy="201605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2205037"/>
            <a:ext cx="1295400" cy="201605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11" y="3573018"/>
            <a:ext cx="2736953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 smtClean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3140968"/>
            <a:ext cx="273687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763688" y="2205039"/>
            <a:ext cx="2736304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9" y="3789040"/>
            <a:ext cx="273687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4005064"/>
            <a:ext cx="2736226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3573017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3140968"/>
            <a:ext cx="2736304" cy="21676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4168" y="2205039"/>
            <a:ext cx="2736304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3789040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4005064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4365626"/>
            <a:ext cx="12954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4365626"/>
            <a:ext cx="12954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5733734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5301209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763688" y="4365625"/>
            <a:ext cx="2736304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5949238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6164741"/>
            <a:ext cx="273687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5733745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5301209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168" y="4365625"/>
            <a:ext cx="2736304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5949247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6164750"/>
            <a:ext cx="2736304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  <a:cs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 smtClean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8026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1123951"/>
            <a:ext cx="8496944" cy="2665413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237312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grpSp>
        <p:nvGrpSpPr>
          <p:cNvPr id="5" name="Gruppieren 4"/>
          <p:cNvGrpSpPr/>
          <p:nvPr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6021288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add text</a:t>
            </a:r>
          </a:p>
        </p:txBody>
      </p:sp>
      <p:pic>
        <p:nvPicPr>
          <p:cNvPr id="6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8" name="Gruppieren 4"/>
          <p:cNvGrpSpPr/>
          <p:nvPr userDrawn="1"/>
        </p:nvGrpSpPr>
        <p:grpSpPr bwMode="gray">
          <a:xfrm>
            <a:off x="-324680" y="-315520"/>
            <a:ext cx="9793360" cy="7489040"/>
            <a:chOff x="-324680" y="-315520"/>
            <a:chExt cx="9793360" cy="7489040"/>
          </a:xfrm>
        </p:grpSpPr>
        <p:grpSp>
          <p:nvGrpSpPr>
            <p:cNvPr id="69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11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0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9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1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8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7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389655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F417930-4B74-4444-BAE6-6B0E7E5AAABF}" type="datetimeFigureOut">
              <a:rPr lang="de-DE" smtClean="0"/>
              <a:pPr/>
              <a:t>22.05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4878CF62-E591-4EEE-A603-E632D8941742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74390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58355" y="6323794"/>
            <a:ext cx="8496300" cy="144463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de-DE" noProof="0" smtClean="0"/>
              <a:t>[Source information]</a:t>
            </a:r>
            <a:endParaRPr lang="de-DE" noProof="0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 smtClean="0"/>
              <a:t>Click to add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94708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980728"/>
            <a:ext cx="4177035" cy="165618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6" y="980728"/>
            <a:ext cx="4177035" cy="165618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323528" y="2708920"/>
            <a:ext cx="4177035" cy="165618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4644016" y="2708920"/>
            <a:ext cx="4177035" cy="165618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323528" y="4437112"/>
            <a:ext cx="4177035" cy="165618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44016" y="4437112"/>
            <a:ext cx="4177035" cy="165618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26883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90"/>
            <a:ext cx="8496300" cy="144463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530" y="2205037"/>
            <a:ext cx="8496943" cy="1584003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529" y="3861050"/>
            <a:ext cx="8496944" cy="1439615"/>
          </a:xfr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 smtClean="0"/>
              <a:t>Click to add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237312"/>
            <a:ext cx="849694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6597650"/>
            <a:ext cx="9144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Rechteck 3"/>
          <p:cNvSpPr/>
          <p:nvPr userDrawn="1"/>
        </p:nvSpPr>
        <p:spPr bwMode="gray">
          <a:xfrm>
            <a:off x="0" y="6597653"/>
            <a:ext cx="9144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5784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90"/>
            <a:ext cx="84963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noProof="0" dirty="0" smtClean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90"/>
            <a:ext cx="84963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1052736"/>
            <a:ext cx="417703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4" y="1052736"/>
            <a:ext cx="417703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90"/>
            <a:ext cx="84963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9" y="1052736"/>
            <a:ext cx="273558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1052671"/>
            <a:ext cx="273558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3" y="1052604"/>
            <a:ext cx="2735585" cy="5328592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068451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image" Target="../media/image6.jpeg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70867" y="260560"/>
            <a:ext cx="649287" cy="6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4" y="260649"/>
            <a:ext cx="6335713" cy="647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 bwMode="gray">
          <a:xfrm>
            <a:off x="323528" y="1052736"/>
            <a:ext cx="8496944" cy="532859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30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/>
          <p:cNvGrpSpPr/>
          <p:nvPr/>
        </p:nvGrpSpPr>
        <p:grpSpPr bwMode="gray">
          <a:xfrm>
            <a:off x="9252650" y="908563"/>
            <a:ext cx="216030" cy="5688791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55"/>
          <p:cNvGrpSpPr/>
          <p:nvPr userDrawn="1"/>
        </p:nvGrpSpPr>
        <p:grpSpPr bwMode="gray">
          <a:xfrm>
            <a:off x="-324550" y="908651"/>
            <a:ext cx="216030" cy="5688791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hteck 13"/>
          <p:cNvSpPr/>
          <p:nvPr userDrawn="1"/>
        </p:nvSpPr>
        <p:spPr bwMode="gray">
          <a:xfrm>
            <a:off x="324390" y="659744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201</a:t>
            </a:r>
            <a:r>
              <a:rPr lang="ru-RU" sz="800" noProof="0" dirty="0" smtClean="0">
                <a:solidFill>
                  <a:schemeClr val="bg2"/>
                </a:solidFill>
                <a:latin typeface="Arial" pitchFamily="34" charset="0"/>
              </a:rPr>
              <a:t>5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 |</a:t>
            </a:r>
            <a:r>
              <a:rPr lang="ru-RU" sz="800" baseline="0" noProof="0" dirty="0" smtClean="0">
                <a:solidFill>
                  <a:schemeClr val="bg2"/>
                </a:solidFill>
                <a:latin typeface="Arial" pitchFamily="34" charset="0"/>
              </a:rPr>
              <a:t> Конференция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 </a:t>
            </a:r>
            <a:r>
              <a:rPr lang="ru-RU" sz="800" noProof="0" dirty="0" smtClean="0">
                <a:solidFill>
                  <a:schemeClr val="bg2"/>
                </a:solidFill>
                <a:latin typeface="Arial" pitchFamily="34" charset="0"/>
              </a:rPr>
              <a:t>«Интернет-магазины: стратегии роста»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| </a:t>
            </a:r>
            <a:r>
              <a:rPr lang="ru-RU" sz="800" noProof="0" dirty="0" smtClean="0">
                <a:solidFill>
                  <a:schemeClr val="bg2"/>
                </a:solidFill>
                <a:latin typeface="Arial" pitchFamily="34" charset="0"/>
              </a:rPr>
              <a:t>22 мая 2015</a:t>
            </a:r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5" name="Rechteck 74"/>
          <p:cNvSpPr/>
          <p:nvPr userDrawn="1"/>
        </p:nvSpPr>
        <p:spPr bwMode="gray">
          <a:xfrm>
            <a:off x="7523970" y="6597440"/>
            <a:ext cx="129662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C2ABCC37-C314-4D17-9583-6D754EDEC568}" type="slidenum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146" y="260560"/>
            <a:ext cx="894650" cy="64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76" r:id="rId4"/>
    <p:sldLayoutId id="2147483677" r:id="rId5"/>
    <p:sldLayoutId id="2147483654" r:id="rId6"/>
    <p:sldLayoutId id="2147483650" r:id="rId7"/>
    <p:sldLayoutId id="2147483652" r:id="rId8"/>
    <p:sldLayoutId id="2147483675" r:id="rId9"/>
    <p:sldLayoutId id="2147483664" r:id="rId10"/>
    <p:sldLayoutId id="2147483673" r:id="rId11"/>
    <p:sldLayoutId id="2147483665" r:id="rId12"/>
    <p:sldLayoutId id="2147483668" r:id="rId13"/>
    <p:sldLayoutId id="2147483670" r:id="rId14"/>
    <p:sldLayoutId id="2147483671" r:id="rId15"/>
    <p:sldLayoutId id="2147483695" r:id="rId16"/>
    <p:sldLayoutId id="2147483721" r:id="rId17"/>
    <p:sldLayoutId id="2147483722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70867" y="260560"/>
            <a:ext cx="649287" cy="6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4" y="260649"/>
            <a:ext cx="6335713" cy="647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323528" y="1052736"/>
            <a:ext cx="8496944" cy="532859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17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323410" y="6957491"/>
            <a:ext cx="8496740" cy="216031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/>
          <p:cNvGrpSpPr/>
          <p:nvPr/>
        </p:nvGrpSpPr>
        <p:grpSpPr bwMode="gray">
          <a:xfrm>
            <a:off x="9252650" y="908563"/>
            <a:ext cx="216030" cy="5688791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55"/>
          <p:cNvGrpSpPr/>
          <p:nvPr/>
        </p:nvGrpSpPr>
        <p:grpSpPr bwMode="gray">
          <a:xfrm>
            <a:off x="-324550" y="908651"/>
            <a:ext cx="216030" cy="5688791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Rechteck 74"/>
          <p:cNvSpPr/>
          <p:nvPr/>
        </p:nvSpPr>
        <p:spPr bwMode="gray">
          <a:xfrm>
            <a:off x="7523970" y="6597440"/>
            <a:ext cx="129662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C2ABCC37-C314-4D17-9583-6D754EDEC568}" type="slidenum">
              <a:rPr lang="en-US" sz="800" smtClean="0">
                <a:solidFill>
                  <a:srgbClr val="928580"/>
                </a:solidFill>
              </a:rPr>
              <a:pPr algn="r"/>
              <a:t>‹#›</a:t>
            </a:fld>
            <a:endParaRPr lang="en-US" sz="800" dirty="0" smtClean="0">
              <a:solidFill>
                <a:srgbClr val="9285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35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316417" y="260560"/>
            <a:ext cx="503735" cy="6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2" y="260648"/>
            <a:ext cx="6335713" cy="647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23528" y="1052736"/>
            <a:ext cx="8496944" cy="532859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22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323850" y="-315520"/>
            <a:ext cx="8496740" cy="216031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323410" y="6957490"/>
            <a:ext cx="8496740" cy="216031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/>
          <p:cNvGrpSpPr/>
          <p:nvPr/>
        </p:nvGrpSpPr>
        <p:grpSpPr bwMode="gray">
          <a:xfrm>
            <a:off x="9252650" y="908562"/>
            <a:ext cx="216030" cy="5688791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55"/>
          <p:cNvGrpSpPr/>
          <p:nvPr/>
        </p:nvGrpSpPr>
        <p:grpSpPr bwMode="gray">
          <a:xfrm>
            <a:off x="-324550" y="908650"/>
            <a:ext cx="216030" cy="5688791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Rechteck 74"/>
          <p:cNvSpPr/>
          <p:nvPr/>
        </p:nvSpPr>
        <p:spPr bwMode="gray">
          <a:xfrm>
            <a:off x="7523970" y="6597440"/>
            <a:ext cx="129662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C2ABCC37-C314-4D17-9583-6D754EDEC568}" type="slidenum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pPr lvl="0" algn="r"/>
              <a:t>‹#›</a:t>
            </a:fld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76" name="Picture 2"/>
          <p:cNvPicPr>
            <a:picLocks noChangeAspect="1" noChangeArrowheads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70867" y="260560"/>
            <a:ext cx="649287" cy="64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7" name="Gruppieren 55"/>
          <p:cNvGrpSpPr/>
          <p:nvPr userDrawn="1"/>
        </p:nvGrpSpPr>
        <p:grpSpPr bwMode="gray">
          <a:xfrm>
            <a:off x="-324550" y="908651"/>
            <a:ext cx="216030" cy="5688791"/>
            <a:chOff x="-540710" y="908650"/>
            <a:chExt cx="432060" cy="5688790"/>
          </a:xfrm>
        </p:grpSpPr>
        <p:cxnSp>
          <p:nvCxnSpPr>
            <p:cNvPr id="78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0" name="Rechteck 13"/>
          <p:cNvSpPr/>
          <p:nvPr userDrawn="1"/>
        </p:nvSpPr>
        <p:spPr bwMode="gray">
          <a:xfrm>
            <a:off x="324390" y="659744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© GfK 201</a:t>
            </a:r>
            <a:r>
              <a:rPr lang="ru-RU" sz="800" noProof="0" dirty="0" smtClean="0">
                <a:solidFill>
                  <a:schemeClr val="bg2"/>
                </a:solidFill>
                <a:latin typeface="Arial" pitchFamily="34" charset="0"/>
              </a:rPr>
              <a:t>5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 | </a:t>
            </a:r>
            <a:r>
              <a:rPr lang="ru-RU" sz="800" noProof="0" dirty="0" smtClean="0">
                <a:solidFill>
                  <a:schemeClr val="bg2"/>
                </a:solidFill>
                <a:latin typeface="Arial" pitchFamily="34" charset="0"/>
              </a:rPr>
              <a:t>Семинар «Формула сайта: как повысить прибыль интернет-магазина» </a:t>
            </a:r>
            <a:r>
              <a:rPr lang="en-US" sz="800" noProof="0" dirty="0" smtClean="0">
                <a:solidFill>
                  <a:schemeClr val="bg2"/>
                </a:solidFill>
                <a:latin typeface="Arial" pitchFamily="34" charset="0"/>
              </a:rPr>
              <a:t>| </a:t>
            </a:r>
            <a:r>
              <a:rPr lang="ru-RU" sz="800" noProof="0" dirty="0" smtClean="0">
                <a:solidFill>
                  <a:schemeClr val="bg2"/>
                </a:solidFill>
                <a:latin typeface="Arial" pitchFamily="34" charset="0"/>
              </a:rPr>
              <a:t>05 марта 2015</a:t>
            </a:r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101" name="Rechteck 74"/>
          <p:cNvSpPr/>
          <p:nvPr userDrawn="1"/>
        </p:nvSpPr>
        <p:spPr bwMode="gray">
          <a:xfrm>
            <a:off x="7523970" y="6597440"/>
            <a:ext cx="129662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C2ABCC37-C314-4D17-9583-6D754EDEC568}" type="slidenum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800" noProof="0" dirty="0" smtClean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2024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Relationship Id="rId4" Type="http://schemas.openxmlformats.org/officeDocument/2006/relationships/chart" Target="../charts/char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chart" Target="../charts/chart6.xml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jp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4.xml"/><Relationship Id="rId4" Type="http://schemas.openxmlformats.org/officeDocument/2006/relationships/image" Target="../media/image25.jp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13" Type="http://schemas.openxmlformats.org/officeDocument/2006/relationships/image" Target="../media/image34.jp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28.jpeg"/><Relationship Id="rId12" Type="http://schemas.openxmlformats.org/officeDocument/2006/relationships/image" Target="../media/image33.jp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5.xml"/><Relationship Id="rId6" Type="http://schemas.openxmlformats.org/officeDocument/2006/relationships/image" Target="../media/image27.png"/><Relationship Id="rId11" Type="http://schemas.openxmlformats.org/officeDocument/2006/relationships/image" Target="../media/image32.jpg"/><Relationship Id="rId5" Type="http://schemas.openxmlformats.org/officeDocument/2006/relationships/image" Target="../media/image26.png"/><Relationship Id="rId10" Type="http://schemas.openxmlformats.org/officeDocument/2006/relationships/image" Target="../media/image31.jpg"/><Relationship Id="rId4" Type="http://schemas.openxmlformats.org/officeDocument/2006/relationships/chart" Target="../charts/chart9.xml"/><Relationship Id="rId9" Type="http://schemas.openxmlformats.org/officeDocument/2006/relationships/image" Target="../media/image30.jp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6.png"/><Relationship Id="rId3" Type="http://schemas.openxmlformats.org/officeDocument/2006/relationships/notesSlide" Target="../notesSlides/notesSlide24.xml"/><Relationship Id="rId21" Type="http://schemas.openxmlformats.org/officeDocument/2006/relationships/image" Target="../media/image51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5" Type="http://schemas.openxmlformats.org/officeDocument/2006/relationships/image" Target="../media/image55.png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46.png"/><Relationship Id="rId20" Type="http://schemas.openxmlformats.org/officeDocument/2006/relationships/image" Target="../media/image50.png"/><Relationship Id="rId1" Type="http://schemas.openxmlformats.org/officeDocument/2006/relationships/tags" Target="../tags/tag66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24" Type="http://schemas.openxmlformats.org/officeDocument/2006/relationships/image" Target="../media/image54.png"/><Relationship Id="rId5" Type="http://schemas.openxmlformats.org/officeDocument/2006/relationships/image" Target="../media/image35.jpeg"/><Relationship Id="rId15" Type="http://schemas.openxmlformats.org/officeDocument/2006/relationships/image" Target="../media/image45.png"/><Relationship Id="rId23" Type="http://schemas.openxmlformats.org/officeDocument/2006/relationships/image" Target="../media/image53.png"/><Relationship Id="rId28" Type="http://schemas.openxmlformats.org/officeDocument/2006/relationships/image" Target="../media/image58.png"/><Relationship Id="rId10" Type="http://schemas.openxmlformats.org/officeDocument/2006/relationships/image" Target="../media/image40.png"/><Relationship Id="rId19" Type="http://schemas.openxmlformats.org/officeDocument/2006/relationships/image" Target="../media/image49.png"/><Relationship Id="rId4" Type="http://schemas.openxmlformats.org/officeDocument/2006/relationships/chart" Target="../charts/chart10.xml"/><Relationship Id="rId9" Type="http://schemas.openxmlformats.org/officeDocument/2006/relationships/image" Target="../media/image39.png"/><Relationship Id="rId14" Type="http://schemas.openxmlformats.org/officeDocument/2006/relationships/image" Target="../media/image44.png"/><Relationship Id="rId22" Type="http://schemas.openxmlformats.org/officeDocument/2006/relationships/image" Target="../media/image52.png"/><Relationship Id="rId27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67.xml"/><Relationship Id="rId6" Type="http://schemas.openxmlformats.org/officeDocument/2006/relationships/image" Target="../media/image26.png"/><Relationship Id="rId5" Type="http://schemas.openxmlformats.org/officeDocument/2006/relationships/image" Target="../media/image29.jpg"/><Relationship Id="rId4" Type="http://schemas.openxmlformats.org/officeDocument/2006/relationships/chart" Target="../charts/chart1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6.png"/><Relationship Id="rId3" Type="http://schemas.openxmlformats.org/officeDocument/2006/relationships/notesSlide" Target="../notesSlides/notesSlide26.xml"/><Relationship Id="rId21" Type="http://schemas.openxmlformats.org/officeDocument/2006/relationships/image" Target="../media/image51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5" Type="http://schemas.openxmlformats.org/officeDocument/2006/relationships/image" Target="../media/image55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46.png"/><Relationship Id="rId20" Type="http://schemas.openxmlformats.org/officeDocument/2006/relationships/image" Target="../media/image50.png"/><Relationship Id="rId1" Type="http://schemas.openxmlformats.org/officeDocument/2006/relationships/tags" Target="../tags/tag68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24" Type="http://schemas.openxmlformats.org/officeDocument/2006/relationships/image" Target="../media/image54.png"/><Relationship Id="rId5" Type="http://schemas.openxmlformats.org/officeDocument/2006/relationships/image" Target="../media/image30.jpg"/><Relationship Id="rId15" Type="http://schemas.openxmlformats.org/officeDocument/2006/relationships/image" Target="../media/image45.png"/><Relationship Id="rId23" Type="http://schemas.openxmlformats.org/officeDocument/2006/relationships/image" Target="../media/image53.png"/><Relationship Id="rId28" Type="http://schemas.openxmlformats.org/officeDocument/2006/relationships/image" Target="../media/image58.png"/><Relationship Id="rId10" Type="http://schemas.openxmlformats.org/officeDocument/2006/relationships/image" Target="../media/image40.png"/><Relationship Id="rId19" Type="http://schemas.openxmlformats.org/officeDocument/2006/relationships/image" Target="../media/image49.png"/><Relationship Id="rId4" Type="http://schemas.openxmlformats.org/officeDocument/2006/relationships/chart" Target="../charts/chart12.xml"/><Relationship Id="rId9" Type="http://schemas.openxmlformats.org/officeDocument/2006/relationships/image" Target="../media/image39.png"/><Relationship Id="rId14" Type="http://schemas.openxmlformats.org/officeDocument/2006/relationships/image" Target="../media/image44.png"/><Relationship Id="rId22" Type="http://schemas.openxmlformats.org/officeDocument/2006/relationships/image" Target="../media/image52.png"/><Relationship Id="rId27" Type="http://schemas.openxmlformats.org/officeDocument/2006/relationships/image" Target="../media/image5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9.xml"/><Relationship Id="rId6" Type="http://schemas.openxmlformats.org/officeDocument/2006/relationships/image" Target="../media/image26.png"/><Relationship Id="rId5" Type="http://schemas.openxmlformats.org/officeDocument/2006/relationships/image" Target="../media/image30.jpg"/><Relationship Id="rId4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4" Type="http://schemas.openxmlformats.org/officeDocument/2006/relationships/image" Target="../media/image59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image" Target="../media/image26.png"/><Relationship Id="rId5" Type="http://schemas.openxmlformats.org/officeDocument/2006/relationships/image" Target="../media/image28.jpeg"/><Relationship Id="rId4" Type="http://schemas.openxmlformats.org/officeDocument/2006/relationships/chart" Target="../charts/char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26" Type="http://schemas.openxmlformats.org/officeDocument/2006/relationships/image" Target="../media/image40.png"/><Relationship Id="rId3" Type="http://schemas.openxmlformats.org/officeDocument/2006/relationships/notesSlide" Target="../notesSlides/notesSlide30.xml"/><Relationship Id="rId21" Type="http://schemas.openxmlformats.org/officeDocument/2006/relationships/image" Target="../media/image54.png"/><Relationship Id="rId7" Type="http://schemas.openxmlformats.org/officeDocument/2006/relationships/image" Target="../media/image39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5.pn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49.png"/><Relationship Id="rId20" Type="http://schemas.openxmlformats.org/officeDocument/2006/relationships/image" Target="../media/image53.png"/><Relationship Id="rId1" Type="http://schemas.openxmlformats.org/officeDocument/2006/relationships/tags" Target="../tags/tag72.xml"/><Relationship Id="rId6" Type="http://schemas.openxmlformats.org/officeDocument/2006/relationships/image" Target="../media/image38.png"/><Relationship Id="rId11" Type="http://schemas.openxmlformats.org/officeDocument/2006/relationships/image" Target="../media/image44.png"/><Relationship Id="rId24" Type="http://schemas.openxmlformats.org/officeDocument/2006/relationships/image" Target="../media/image58.png"/><Relationship Id="rId5" Type="http://schemas.openxmlformats.org/officeDocument/2006/relationships/image" Target="../media/image32.jpg"/><Relationship Id="rId15" Type="http://schemas.openxmlformats.org/officeDocument/2006/relationships/image" Target="../media/image48.png"/><Relationship Id="rId23" Type="http://schemas.openxmlformats.org/officeDocument/2006/relationships/image" Target="../media/image57.png"/><Relationship Id="rId28" Type="http://schemas.openxmlformats.org/officeDocument/2006/relationships/image" Target="../media/image37.png"/><Relationship Id="rId10" Type="http://schemas.openxmlformats.org/officeDocument/2006/relationships/image" Target="../media/image43.png"/><Relationship Id="rId19" Type="http://schemas.openxmlformats.org/officeDocument/2006/relationships/image" Target="../media/image52.png"/><Relationship Id="rId4" Type="http://schemas.openxmlformats.org/officeDocument/2006/relationships/chart" Target="../charts/chart15.xml"/><Relationship Id="rId9" Type="http://schemas.openxmlformats.org/officeDocument/2006/relationships/image" Target="../media/image42.png"/><Relationship Id="rId14" Type="http://schemas.openxmlformats.org/officeDocument/2006/relationships/image" Target="../media/image47.png"/><Relationship Id="rId22" Type="http://schemas.openxmlformats.org/officeDocument/2006/relationships/image" Target="../media/image56.png"/><Relationship Id="rId27" Type="http://schemas.openxmlformats.org/officeDocument/2006/relationships/image" Target="../media/image3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5.emf"/><Relationship Id="rId4" Type="http://schemas.openxmlformats.org/officeDocument/2006/relationships/oleObject" Target="../embeddings/oleObject2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6.emf"/><Relationship Id="rId4" Type="http://schemas.openxmlformats.org/officeDocument/2006/relationships/oleObject" Target="../embeddings/oleObject3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tmp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tmp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tmp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tags" Target="../tags/tag44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tags" Target="../tags/tag47.xml"/><Relationship Id="rId47" Type="http://schemas.openxmlformats.org/officeDocument/2006/relationships/tags" Target="../tags/tag52.xml"/><Relationship Id="rId50" Type="http://schemas.openxmlformats.org/officeDocument/2006/relationships/tags" Target="../tags/tag55.xml"/><Relationship Id="rId55" Type="http://schemas.openxmlformats.org/officeDocument/2006/relationships/tags" Target="../tags/tag60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41" Type="http://schemas.openxmlformats.org/officeDocument/2006/relationships/tags" Target="../tags/tag46.xml"/><Relationship Id="rId54" Type="http://schemas.openxmlformats.org/officeDocument/2006/relationships/tags" Target="../tags/tag59.xml"/><Relationship Id="rId1" Type="http://schemas.openxmlformats.org/officeDocument/2006/relationships/vmlDrawing" Target="../drawings/vmlDrawing1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53" Type="http://schemas.openxmlformats.org/officeDocument/2006/relationships/tags" Target="../tags/tag58.xml"/><Relationship Id="rId58" Type="http://schemas.openxmlformats.org/officeDocument/2006/relationships/notesSlide" Target="../notesSlides/notesSlide4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tags" Target="../tags/tag54.xml"/><Relationship Id="rId57" Type="http://schemas.openxmlformats.org/officeDocument/2006/relationships/slideLayout" Target="../slideLayouts/slideLayout6.xml"/><Relationship Id="rId61" Type="http://schemas.openxmlformats.org/officeDocument/2006/relationships/image" Target="../media/image8.png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52" Type="http://schemas.openxmlformats.org/officeDocument/2006/relationships/tags" Target="../tags/tag57.xml"/><Relationship Id="rId60" Type="http://schemas.openxmlformats.org/officeDocument/2006/relationships/oleObject" Target="../embeddings/oleObject1.bin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tags" Target="../tags/tag48.xml"/><Relationship Id="rId48" Type="http://schemas.openxmlformats.org/officeDocument/2006/relationships/tags" Target="../tags/tag53.xml"/><Relationship Id="rId56" Type="http://schemas.openxmlformats.org/officeDocument/2006/relationships/tags" Target="../tags/tag61.xml"/><Relationship Id="rId8" Type="http://schemas.openxmlformats.org/officeDocument/2006/relationships/tags" Target="../tags/tag13.xml"/><Relationship Id="rId51" Type="http://schemas.openxmlformats.org/officeDocument/2006/relationships/tags" Target="../tags/tag56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tags" Target="../tags/tag51.xml"/><Relationship Id="rId59" Type="http://schemas.openxmlformats.org/officeDocument/2006/relationships/chart" Target="../charts/char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4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notesSlide" Target="../notesSlides/notesSlide4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" y="4005080"/>
            <a:ext cx="9144000" cy="2304320"/>
          </a:xfrm>
          <a:solidFill>
            <a:srgbClr val="FFFFFF">
              <a:alpha val="79000"/>
            </a:srgbClr>
          </a:solidFill>
        </p:spPr>
        <p:txBody>
          <a:bodyPr lIns="36000" bIns="144000"/>
          <a:lstStyle/>
          <a:p>
            <a:pPr marL="266700">
              <a:tabLst>
                <a:tab pos="8429625" algn="l"/>
              </a:tabLst>
            </a:pPr>
            <a:r>
              <a:rPr lang="ru-RU" b="1" cap="none" dirty="0">
                <a:solidFill>
                  <a:schemeClr val="tx2">
                    <a:lumMod val="75000"/>
                  </a:schemeClr>
                </a:solidFill>
              </a:rPr>
              <a:t>Что и как украинцы </a:t>
            </a:r>
            <a:r>
              <a:rPr lang="ru-RU" b="1" cap="none" dirty="0" smtClean="0">
                <a:solidFill>
                  <a:schemeClr val="tx2">
                    <a:lumMod val="75000"/>
                  </a:schemeClr>
                </a:solidFill>
              </a:rPr>
              <a:t>покупают </a:t>
            </a:r>
            <a:r>
              <a:rPr lang="ru-RU" b="1" cap="none" dirty="0">
                <a:solidFill>
                  <a:schemeClr val="tx2">
                    <a:lumMod val="75000"/>
                  </a:schemeClr>
                </a:solidFill>
              </a:rPr>
              <a:t>в </a:t>
            </a:r>
            <a:r>
              <a:rPr lang="ru-RU" b="1" cap="none" dirty="0" err="1">
                <a:solidFill>
                  <a:schemeClr val="tx2">
                    <a:lumMod val="75000"/>
                  </a:schemeClr>
                </a:solidFill>
              </a:rPr>
              <a:t>онлайне</a:t>
            </a:r>
            <a:r>
              <a:rPr lang="ru-RU" b="1" cap="none" dirty="0">
                <a:solidFill>
                  <a:schemeClr val="tx2">
                    <a:lumMod val="75000"/>
                  </a:schemeClr>
                </a:solidFill>
              </a:rPr>
              <a:t> и в </a:t>
            </a:r>
            <a:r>
              <a:rPr lang="ru-RU" b="1" cap="none" dirty="0" err="1" smtClean="0">
                <a:solidFill>
                  <a:schemeClr val="tx2">
                    <a:lumMod val="75000"/>
                  </a:schemeClr>
                </a:solidFill>
              </a:rPr>
              <a:t>оффлайне</a:t>
            </a:r>
            <a:r>
              <a:rPr lang="ru-RU" b="1" cap="none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ru-RU" b="1" cap="none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uk-UA" sz="3000" cap="none" dirty="0" err="1" smtClean="0">
                <a:solidFill>
                  <a:schemeClr val="tx2">
                    <a:lumMod val="75000"/>
                  </a:schemeClr>
                </a:solidFill>
              </a:rPr>
              <a:t>Дарья</a:t>
            </a:r>
            <a:r>
              <a:rPr lang="uk-UA" sz="3000" cap="none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uk-UA" sz="3000" cap="none" dirty="0" err="1" smtClean="0">
                <a:solidFill>
                  <a:schemeClr val="tx2">
                    <a:lumMod val="75000"/>
                  </a:schemeClr>
                </a:solidFill>
              </a:rPr>
              <a:t>Перекосова</a:t>
            </a:r>
            <a:r>
              <a:rPr lang="uk-UA" sz="3000" cap="none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en-US" sz="3000" cap="none" dirty="0" smtClean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US" sz="3000" cap="none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uk-UA" sz="3000" cap="none" dirty="0" smtClean="0">
                <a:solidFill>
                  <a:schemeClr val="tx2">
                    <a:lumMod val="75000"/>
                  </a:schemeClr>
                </a:solidFill>
              </a:rPr>
              <a:t>старший </a:t>
            </a:r>
            <a:r>
              <a:rPr lang="uk-UA" sz="3000" cap="none" dirty="0" err="1" smtClean="0">
                <a:solidFill>
                  <a:schemeClr val="tx2">
                    <a:lumMod val="75000"/>
                  </a:schemeClr>
                </a:solidFill>
              </a:rPr>
              <a:t>исследователь</a:t>
            </a:r>
            <a:r>
              <a:rPr lang="uk-UA" sz="3000" cap="none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3000" cap="none" dirty="0" err="1" smtClean="0">
                <a:solidFill>
                  <a:schemeClr val="tx2">
                    <a:lumMod val="75000"/>
                  </a:schemeClr>
                </a:solidFill>
              </a:rPr>
              <a:t>GfK</a:t>
            </a:r>
            <a:r>
              <a:rPr lang="en-US" sz="3000" cap="none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3000" cap="none" dirty="0" smtClean="0">
                <a:solidFill>
                  <a:schemeClr val="tx2">
                    <a:lumMod val="75000"/>
                  </a:schemeClr>
                </a:solidFill>
              </a:rPr>
              <a:t>Ukraine</a:t>
            </a:r>
            <a:endParaRPr lang="en-US" sz="3000" cap="none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126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23850" y="260649"/>
            <a:ext cx="7632620" cy="647403"/>
          </a:xfrm>
        </p:spPr>
        <p:txBody>
          <a:bodyPr/>
          <a:lstStyle/>
          <a:p>
            <a:r>
              <a:rPr lang="ru-RU" dirty="0" smtClean="0"/>
              <a:t>ТОП-5 товаров, которые приобретают в </a:t>
            </a:r>
            <a:br>
              <a:rPr lang="ru-RU" dirty="0" smtClean="0"/>
            </a:br>
            <a:r>
              <a:rPr lang="ru-RU" dirty="0" smtClean="0"/>
              <a:t>интернет-магазинах</a:t>
            </a:r>
            <a:endParaRPr lang="uk-UA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7921624"/>
              </p:ext>
            </p:extLst>
          </p:nvPr>
        </p:nvGraphicFramePr>
        <p:xfrm>
          <a:off x="323410" y="1325475"/>
          <a:ext cx="8425169" cy="498393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1013554"/>
                <a:gridCol w="1013554"/>
                <a:gridCol w="1013554"/>
                <a:gridCol w="5384507"/>
              </a:tblGrid>
              <a:tr h="789467">
                <a:tc>
                  <a:txBody>
                    <a:bodyPr/>
                    <a:lstStyle/>
                    <a:p>
                      <a:pPr algn="ctr"/>
                      <a:r>
                        <a:rPr lang="ru-RU" sz="1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нг</a:t>
                      </a:r>
                      <a:r>
                        <a:rPr lang="ru-RU" sz="19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</a:t>
                      </a:r>
                    </a:p>
                    <a:p>
                      <a:pPr algn="ctr"/>
                      <a:r>
                        <a:rPr lang="ru-RU" sz="1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uk-UA" sz="19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нг</a:t>
                      </a:r>
                      <a:r>
                        <a:rPr lang="ru-RU" sz="19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</a:t>
                      </a:r>
                    </a:p>
                    <a:p>
                      <a:pPr algn="ctr"/>
                      <a:r>
                        <a:rPr lang="ru-RU" sz="1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uk-UA" sz="1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нг</a:t>
                      </a:r>
                      <a:r>
                        <a:rPr lang="ru-RU" sz="1900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</a:t>
                      </a:r>
                      <a:endParaRPr lang="uk-UA" sz="19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2</a:t>
                      </a:r>
                      <a:endParaRPr lang="uk-UA" sz="1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9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е категории</a:t>
                      </a:r>
                      <a:endParaRPr lang="uk-UA" sz="1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  <a:tr h="913031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4400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Бытовая техника, компьютерная техника и электроника</a:t>
                      </a:r>
                    </a:p>
                    <a:p>
                      <a:pPr marL="1440000"/>
                      <a:endParaRPr lang="uk-UA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946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440000"/>
                      <a:r>
                        <a:rPr lang="ru-RU" sz="1600" b="1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дежда</a:t>
                      </a:r>
                    </a:p>
                    <a:p>
                      <a:pPr marL="1440000"/>
                      <a:endParaRPr lang="uk-UA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946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440000"/>
                      <a:r>
                        <a:rPr lang="uk-UA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сметика и </a:t>
                      </a:r>
                      <a:r>
                        <a:rPr lang="ru-RU" sz="1600" b="1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рфюмерия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946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4400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вары для детей (одежда и обувь, игрушки и т.д.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13031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4400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сессуары и подарки (ювелирные украшения бижутерия и т.д.)</a:t>
                      </a:r>
                    </a:p>
                    <a:p>
                      <a:pPr marL="1440000"/>
                      <a:endParaRPr lang="uk-UA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4" name="Стрелка вниз 33"/>
          <p:cNvSpPr/>
          <p:nvPr/>
        </p:nvSpPr>
        <p:spPr bwMode="gray">
          <a:xfrm rot="10800000">
            <a:off x="1619594" y="3941202"/>
            <a:ext cx="432061" cy="5679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Стрелка вниз 37"/>
          <p:cNvSpPr/>
          <p:nvPr/>
        </p:nvSpPr>
        <p:spPr bwMode="gray">
          <a:xfrm rot="10800000">
            <a:off x="1619599" y="5536568"/>
            <a:ext cx="432061" cy="56794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220" name="Picture 4" descr="G:\contracts\120_retail\GfK_seminar_purchase_journey\косметика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1011" y="3845809"/>
            <a:ext cx="1007903" cy="648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G:\contracts\120_retail\GfK_seminar_purchase_journey\подарки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9237" y="5520979"/>
            <a:ext cx="1065287" cy="700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3" name="Picture 7" descr="G:\contracts\120_retail\GfK_seminar_purchase_journey\товары для детей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089" y="4594299"/>
            <a:ext cx="1136825" cy="807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G:\contracts\120_retail\GfK_seminar_purchase_journey\pic\clothes_0013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1007" y="3083897"/>
            <a:ext cx="936130" cy="623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G:\contracts\120_retail\GfK_seminar_purchase_journey\pic\Reiskocher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3223" y="2134614"/>
            <a:ext cx="779894" cy="84707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1" name="Прямоугольник 10"/>
          <p:cNvSpPr/>
          <p:nvPr/>
        </p:nvSpPr>
        <p:spPr>
          <a:xfrm>
            <a:off x="323410" y="6366744"/>
            <a:ext cx="75969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 синдицированное регулярное исследование онлайн-торговли GfK Ukraine, вся Украина, 2012-2014</a:t>
            </a:r>
            <a:endParaRPr lang="ru-RU" sz="1100" i="1" cap="all" dirty="0"/>
          </a:p>
        </p:txBody>
      </p:sp>
      <p:sp>
        <p:nvSpPr>
          <p:cNvPr id="12" name="Стрелка вниз 11"/>
          <p:cNvSpPr/>
          <p:nvPr/>
        </p:nvSpPr>
        <p:spPr bwMode="gray">
          <a:xfrm rot="10800000">
            <a:off x="611454" y="4713903"/>
            <a:ext cx="432061" cy="56794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7839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CI_QVW_ID_002" hidden="1"/>
          <p:cNvSpPr txBox="1"/>
          <p:nvPr/>
        </p:nvSpPr>
        <p:spPr>
          <a:xfrm>
            <a:off x="0" y="0"/>
            <a:ext cx="413896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RG-1-30_OS Type by Regions (World)(2)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0" y="0"/>
            <a:ext cx="29848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5: 2 YTD / OS Type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0" y="0"/>
            <a:ext cx="29367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2014-01-29 13:29:46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0" y="0"/>
            <a:ext cx="25680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martphone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0" y="0"/>
            <a:ext cx="26161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ales Units %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0" y="0"/>
            <a:ext cx="26802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Last 4 Quarter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0" y="0"/>
            <a:ext cx="30489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anelmarket GLOBAL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400" y="116540"/>
            <a:ext cx="7848644" cy="768107"/>
          </a:xfrm>
        </p:spPr>
        <p:txBody>
          <a:bodyPr anchor="b"/>
          <a:lstStyle/>
          <a:p>
            <a:pPr eaLnBrk="0" hangingPunct="0"/>
            <a:r>
              <a:rPr lang="uk-UA" dirty="0" err="1" smtClean="0"/>
              <a:t>Категории</a:t>
            </a:r>
            <a:r>
              <a:rPr lang="uk-UA" dirty="0" smtClean="0"/>
              <a:t> </a:t>
            </a:r>
            <a:r>
              <a:rPr lang="uk-UA" dirty="0" err="1" smtClean="0"/>
              <a:t>товаров</a:t>
            </a:r>
            <a:r>
              <a:rPr lang="uk-UA" dirty="0" smtClean="0"/>
              <a:t>, </a:t>
            </a:r>
            <a:r>
              <a:rPr lang="uk-UA" dirty="0" err="1" smtClean="0"/>
              <a:t>которые</a:t>
            </a:r>
            <a:r>
              <a:rPr lang="uk-UA" dirty="0" smtClean="0"/>
              <a:t> </a:t>
            </a:r>
            <a:r>
              <a:rPr lang="uk-UA" dirty="0" err="1" smtClean="0"/>
              <a:t>украинцы</a:t>
            </a:r>
            <a:r>
              <a:rPr lang="uk-UA" dirty="0" smtClean="0"/>
              <a:t> покупали через </a:t>
            </a:r>
            <a:br>
              <a:rPr lang="uk-UA" dirty="0" smtClean="0"/>
            </a:br>
            <a:r>
              <a:rPr lang="uk-UA" dirty="0" err="1" smtClean="0"/>
              <a:t>интернет</a:t>
            </a:r>
            <a:r>
              <a:rPr lang="uk-UA" dirty="0" smtClean="0"/>
              <a:t>: </a:t>
            </a:r>
            <a:r>
              <a:rPr lang="uk-UA" dirty="0" err="1" smtClean="0"/>
              <a:t>динамика</a:t>
            </a:r>
            <a:r>
              <a:rPr lang="uk-UA" dirty="0" smtClean="0"/>
              <a:t> доли </a:t>
            </a:r>
            <a:r>
              <a:rPr lang="uk-UA" dirty="0" err="1" smtClean="0"/>
              <a:t>покупателей</a:t>
            </a:r>
            <a:r>
              <a:rPr lang="uk-UA" dirty="0" smtClean="0"/>
              <a:t> 2014 к 2013 </a:t>
            </a:r>
            <a:r>
              <a:rPr lang="uk-UA" dirty="0" err="1" smtClean="0"/>
              <a:t>году</a:t>
            </a:r>
            <a:endParaRPr lang="ru-RU" dirty="0"/>
          </a:p>
        </p:txBody>
      </p:sp>
      <p:graphicFrame>
        <p:nvGraphicFramePr>
          <p:cNvPr id="33" name="Диаграмма 32"/>
          <p:cNvGraphicFramePr/>
          <p:nvPr>
            <p:extLst>
              <p:ext uri="{D42A27DB-BD31-4B8C-83A1-F6EECF244321}">
                <p14:modId xmlns:p14="http://schemas.microsoft.com/office/powerpoint/2010/main" val="1816262747"/>
              </p:ext>
            </p:extLst>
          </p:nvPr>
        </p:nvGraphicFramePr>
        <p:xfrm>
          <a:off x="126752" y="1028667"/>
          <a:ext cx="8818486" cy="5376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4214393309"/>
              </p:ext>
            </p:extLst>
          </p:nvPr>
        </p:nvGraphicFramePr>
        <p:xfrm>
          <a:off x="381705" y="1235936"/>
          <a:ext cx="8065120" cy="496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Стрелка вниз 21"/>
          <p:cNvSpPr/>
          <p:nvPr/>
        </p:nvSpPr>
        <p:spPr bwMode="gray">
          <a:xfrm>
            <a:off x="4016273" y="3643271"/>
            <a:ext cx="180024" cy="136253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51400" y="6309400"/>
            <a:ext cx="75969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 синдицированное регулярное исследование онлайн-торговли GfK Ukraine, вся Украина, 2012-2014</a:t>
            </a:r>
            <a:endParaRPr lang="ru-RU" sz="1100" i="1" cap="all" dirty="0"/>
          </a:p>
        </p:txBody>
      </p:sp>
      <p:sp>
        <p:nvSpPr>
          <p:cNvPr id="24" name="Стрелка вниз 23"/>
          <p:cNvSpPr/>
          <p:nvPr/>
        </p:nvSpPr>
        <p:spPr bwMode="gray">
          <a:xfrm>
            <a:off x="4032778" y="5373270"/>
            <a:ext cx="180024" cy="136253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Стрелка вниз 24"/>
          <p:cNvSpPr/>
          <p:nvPr/>
        </p:nvSpPr>
        <p:spPr bwMode="gray">
          <a:xfrm>
            <a:off x="4016273" y="4509150"/>
            <a:ext cx="180024" cy="136253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Стрелка вниз 25"/>
          <p:cNvSpPr/>
          <p:nvPr/>
        </p:nvSpPr>
        <p:spPr bwMode="gray">
          <a:xfrm>
            <a:off x="4037065" y="5661310"/>
            <a:ext cx="180024" cy="136253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Стрелка вниз 26"/>
          <p:cNvSpPr/>
          <p:nvPr/>
        </p:nvSpPr>
        <p:spPr bwMode="gray">
          <a:xfrm>
            <a:off x="4032118" y="5909492"/>
            <a:ext cx="180024" cy="136253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Стрелка вниз 27"/>
          <p:cNvSpPr/>
          <p:nvPr/>
        </p:nvSpPr>
        <p:spPr bwMode="gray">
          <a:xfrm>
            <a:off x="4023544" y="5085230"/>
            <a:ext cx="180024" cy="136253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Стрелка вниз 28"/>
          <p:cNvSpPr/>
          <p:nvPr/>
        </p:nvSpPr>
        <p:spPr bwMode="gray">
          <a:xfrm>
            <a:off x="4014970" y="4221110"/>
            <a:ext cx="180024" cy="136253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Стрелка вниз 29"/>
          <p:cNvSpPr/>
          <p:nvPr/>
        </p:nvSpPr>
        <p:spPr bwMode="gray">
          <a:xfrm>
            <a:off x="4023544" y="4797190"/>
            <a:ext cx="180024" cy="136253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Ellipse 1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211950" y="1272584"/>
            <a:ext cx="3096430" cy="1580336"/>
          </a:xfrm>
          <a:prstGeom prst="ellipse">
            <a:avLst/>
          </a:prstGeom>
          <a:solidFill>
            <a:schemeClr val="tx2"/>
          </a:solidFill>
          <a:ln w="12700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spcBef>
                <a:spcPct val="50000"/>
              </a:spcBef>
              <a:buFont typeface="Wingdings" pitchFamily="2" charset="2"/>
              <a:buNone/>
            </a:pPr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</a:rPr>
              <a:t>в 2014 количество </a:t>
            </a:r>
            <a:r>
              <a:rPr lang="ru-RU" sz="1600" b="1" dirty="0">
                <a:solidFill>
                  <a:schemeClr val="bg1"/>
                </a:solidFill>
                <a:latin typeface="Arial" pitchFamily="34" charset="0"/>
              </a:rPr>
              <a:t>категорий, которые покупали в </a:t>
            </a:r>
            <a:r>
              <a:rPr lang="ru-RU" sz="1600" b="1" dirty="0" err="1">
                <a:solidFill>
                  <a:schemeClr val="bg1"/>
                </a:solidFill>
                <a:latin typeface="Arial" pitchFamily="34" charset="0"/>
              </a:rPr>
              <a:t>онлайне</a:t>
            </a:r>
            <a:r>
              <a:rPr lang="ru-RU" sz="1600" b="1" dirty="0">
                <a:solidFill>
                  <a:schemeClr val="bg1"/>
                </a:solidFill>
                <a:latin typeface="Arial" pitchFamily="34" charset="0"/>
              </a:rPr>
              <a:t>, несколько уменьшилось</a:t>
            </a:r>
          </a:p>
        </p:txBody>
      </p:sp>
    </p:spTree>
    <p:extLst>
      <p:ext uri="{BB962C8B-B14F-4D97-AF65-F5344CB8AC3E}">
        <p14:creationId xmlns:p14="http://schemas.microsoft.com/office/powerpoint/2010/main" val="76303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е товары не планируют покупать онлайн и почему</a:t>
            </a:r>
            <a:r>
              <a:rPr lang="ru-RU" dirty="0" smtClean="0"/>
              <a:t>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8047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6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23854" y="261247"/>
            <a:ext cx="7272566" cy="647403"/>
          </a:xfrm>
        </p:spPr>
        <p:txBody>
          <a:bodyPr/>
          <a:lstStyle/>
          <a:p>
            <a:r>
              <a:rPr lang="ru-RU" dirty="0"/>
              <a:t>Барьеров все меньше и </a:t>
            </a:r>
            <a:r>
              <a:rPr lang="ru-RU" dirty="0" smtClean="0"/>
              <a:t>меньше: продолжает </a:t>
            </a:r>
            <a:r>
              <a:rPr lang="ru-RU" dirty="0"/>
              <a:t>расти количество покупаемых категорий</a:t>
            </a: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3564998389"/>
              </p:ext>
            </p:extLst>
          </p:nvPr>
        </p:nvGraphicFramePr>
        <p:xfrm>
          <a:off x="2" y="1124683"/>
          <a:ext cx="5616575" cy="5272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270450" y="6328450"/>
            <a:ext cx="75969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 синдицированное регулярное исследование онлайн-торговли GfK Ukraine, вся Украина, 2012-2014 </a:t>
            </a:r>
            <a:endParaRPr lang="ru-RU" sz="1100" i="1" cap="all" dirty="0"/>
          </a:p>
        </p:txBody>
      </p:sp>
      <p:sp>
        <p:nvSpPr>
          <p:cNvPr id="17" name="AutoShap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5400000">
            <a:off x="4770055" y="3267006"/>
            <a:ext cx="576000" cy="468090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8" name="AutoShape 4"/>
          <p:cNvSpPr>
            <a:spLocks noChangeArrowheads="1"/>
          </p:cNvSpPr>
          <p:nvPr/>
        </p:nvSpPr>
        <p:spPr bwMode="gray">
          <a:xfrm rot="5400000">
            <a:off x="6817508" y="-112688"/>
            <a:ext cx="621120" cy="3383896"/>
          </a:xfrm>
          <a:prstGeom prst="homePlate">
            <a:avLst>
              <a:gd name="adj" fmla="val 17782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36000" tIns="36000" rIns="360000" bIns="108000" anchor="b" anchorCtr="0"/>
          <a:lstStyle/>
          <a:p>
            <a:pPr algn="ctr">
              <a:spcBef>
                <a:spcPts val="600"/>
              </a:spcBef>
              <a:buFont typeface="Arial" pitchFamily="34" charset="0"/>
              <a:buNone/>
            </a:pPr>
            <a:endParaRPr lang="en-US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gray">
          <a:xfrm rot="5400000">
            <a:off x="4885297" y="2377125"/>
            <a:ext cx="4483672" cy="3380881"/>
          </a:xfrm>
          <a:custGeom>
            <a:avLst/>
            <a:gdLst/>
            <a:ahLst/>
            <a:cxnLst/>
            <a:rect l="l" t="t" r="r" b="b"/>
            <a:pathLst>
              <a:path w="4465350" h="4174138">
                <a:moveTo>
                  <a:pt x="288769" y="2734769"/>
                </a:moveTo>
                <a:lnTo>
                  <a:pt x="576809" y="2734769"/>
                </a:lnTo>
                <a:lnTo>
                  <a:pt x="576809" y="1439369"/>
                </a:lnTo>
                <a:lnTo>
                  <a:pt x="288769" y="1439369"/>
                </a:lnTo>
                <a:close/>
                <a:moveTo>
                  <a:pt x="0" y="4160895"/>
                </a:moveTo>
                <a:lnTo>
                  <a:pt x="151115" y="2119668"/>
                </a:lnTo>
                <a:lnTo>
                  <a:pt x="0" y="0"/>
                </a:lnTo>
                <a:lnTo>
                  <a:pt x="4465350" y="2450"/>
                </a:lnTo>
                <a:cubicBezTo>
                  <a:pt x="4464345" y="2115664"/>
                  <a:pt x="4452602" y="1233510"/>
                  <a:pt x="4459643" y="1939735"/>
                </a:cubicBezTo>
                <a:cubicBezTo>
                  <a:pt x="4463332" y="2713619"/>
                  <a:pt x="4462202" y="3373288"/>
                  <a:pt x="4463204" y="4174138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0" tIns="36000" rIns="0" bIns="108000" anchor="ctr" anchorCtr="0"/>
          <a:lstStyle/>
          <a:p>
            <a:pPr algn="ctr">
              <a:spcBef>
                <a:spcPts val="600"/>
              </a:spcBef>
              <a:buFont typeface="Arial" pitchFamily="34" charset="0"/>
              <a:buNone/>
            </a:pPr>
            <a:endParaRPr lang="en-US" sz="34400" b="1" dirty="0">
              <a:solidFill>
                <a:schemeClr val="bg1">
                  <a:lumMod val="85000"/>
                </a:schemeClr>
              </a:solidFill>
              <a:latin typeface="Arial" pitchFamily="34" charset="0"/>
            </a:endParaRPr>
          </a:p>
        </p:txBody>
      </p:sp>
      <p:sp>
        <p:nvSpPr>
          <p:cNvPr id="20" name="Content Placeholder 4"/>
          <p:cNvSpPr txBox="1">
            <a:spLocks/>
          </p:cNvSpPr>
          <p:nvPr/>
        </p:nvSpPr>
        <p:spPr bwMode="gray">
          <a:xfrm>
            <a:off x="5436693" y="3140960"/>
            <a:ext cx="3383896" cy="3187490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ru-RU" dirty="0" smtClean="0"/>
              <a:t>Необходимо лично оценить товар</a:t>
            </a:r>
          </a:p>
          <a:p>
            <a:pPr lvl="1"/>
            <a:r>
              <a:rPr lang="ru-RU" dirty="0" smtClean="0"/>
              <a:t>Товар необходимо примерить/может не подойти размер</a:t>
            </a:r>
          </a:p>
          <a:p>
            <a:pPr lvl="1"/>
            <a:r>
              <a:rPr lang="ru-RU" dirty="0" smtClean="0"/>
              <a:t>Нет уверенности в качестве, свежести</a:t>
            </a:r>
          </a:p>
          <a:p>
            <a:pPr lvl="1"/>
            <a:r>
              <a:rPr lang="ru-RU" dirty="0" smtClean="0"/>
              <a:t>Боюсь подделок/мошенничества</a:t>
            </a:r>
          </a:p>
          <a:p>
            <a:pPr lvl="1"/>
            <a:r>
              <a:rPr lang="ru-RU" dirty="0" smtClean="0"/>
              <a:t>Доверяю обычным магазинам/не доверяю покупки этой категории товаров через интернет</a:t>
            </a:r>
          </a:p>
          <a:p>
            <a:pPr lvl="1"/>
            <a:r>
              <a:rPr lang="ru-RU" dirty="0" smtClean="0"/>
              <a:t>В обычном магазине дешевле/невыгодно за счет доставки</a:t>
            </a:r>
          </a:p>
        </p:txBody>
      </p:sp>
    </p:spTree>
    <p:extLst>
      <p:ext uri="{BB962C8B-B14F-4D97-AF65-F5344CB8AC3E}">
        <p14:creationId xmlns:p14="http://schemas.microsoft.com/office/powerpoint/2010/main" val="230829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то и почему покупают за </a:t>
            </a:r>
            <a:r>
              <a:rPr lang="ru-RU" dirty="0" smtClean="0"/>
              <a:t>границей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846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3352072"/>
              </p:ext>
            </p:extLst>
          </p:nvPr>
        </p:nvGraphicFramePr>
        <p:xfrm>
          <a:off x="21355" y="2262146"/>
          <a:ext cx="4681215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Прямоугольник 13"/>
          <p:cNvSpPr/>
          <p:nvPr/>
        </p:nvSpPr>
        <p:spPr bwMode="gray">
          <a:xfrm>
            <a:off x="4067930" y="1052670"/>
            <a:ext cx="4608512" cy="53654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ru-RU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gray">
          <a:xfrm>
            <a:off x="4772639" y="3325941"/>
            <a:ext cx="3528392" cy="504056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0">
              <a:spcBef>
                <a:spcPts val="300"/>
              </a:spcBef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Бытовая техника, компьютерная техника и электроник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39938" y="1124695"/>
            <a:ext cx="4464496" cy="5040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ОП ТОВАРОВ, КОТОРЫЕ ЗАКАЗЫВАЮТ ИЗ ИНОСТРАННЫХ ИНТЕРНЕТ-МАГАЗИНАХ</a:t>
            </a:r>
          </a:p>
        </p:txBody>
      </p:sp>
      <p:sp>
        <p:nvSpPr>
          <p:cNvPr id="20" name="Прямоугольник 19"/>
          <p:cNvSpPr/>
          <p:nvPr/>
        </p:nvSpPr>
        <p:spPr bwMode="gray">
          <a:xfrm>
            <a:off x="4860138" y="5625476"/>
            <a:ext cx="3528392" cy="504056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0">
              <a:spcBef>
                <a:spcPts val="300"/>
              </a:spcBef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осметика и парфюмерия</a:t>
            </a:r>
          </a:p>
        </p:txBody>
      </p:sp>
      <p:sp>
        <p:nvSpPr>
          <p:cNvPr id="21" name="Прямоугольник 20"/>
          <p:cNvSpPr/>
          <p:nvPr/>
        </p:nvSpPr>
        <p:spPr bwMode="gray">
          <a:xfrm>
            <a:off x="4788004" y="1689251"/>
            <a:ext cx="3528392" cy="504056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>
              <a:spcBef>
                <a:spcPts val="300"/>
              </a:spcBef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дежда</a:t>
            </a:r>
          </a:p>
        </p:txBody>
      </p:sp>
      <p:sp>
        <p:nvSpPr>
          <p:cNvPr id="22" name="Прямоугольник 21"/>
          <p:cNvSpPr/>
          <p:nvPr/>
        </p:nvSpPr>
        <p:spPr bwMode="gray">
          <a:xfrm>
            <a:off x="4841088" y="4818600"/>
            <a:ext cx="3528392" cy="576064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0">
              <a:spcBef>
                <a:spcPts val="300"/>
              </a:spcBef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Товары для детей (одежда и обувь, игрушки и т.д.)</a:t>
            </a: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-900000">
            <a:off x="3943022" y="3461575"/>
            <a:ext cx="680217" cy="46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rot="-900000">
            <a:off x="4392537" y="5448923"/>
            <a:ext cx="357386" cy="767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 rot="-900000">
            <a:off x="3986291" y="1760962"/>
            <a:ext cx="816297" cy="581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-900000">
            <a:off x="4297991" y="4811775"/>
            <a:ext cx="580294" cy="72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Прямоугольник 36"/>
          <p:cNvSpPr/>
          <p:nvPr/>
        </p:nvSpPr>
        <p:spPr bwMode="gray">
          <a:xfrm>
            <a:off x="4772639" y="2380133"/>
            <a:ext cx="3528392" cy="703419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0">
              <a:spcBef>
                <a:spcPts val="300"/>
              </a:spcBef>
            </a:pP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Аксессуары и подарки </a:t>
            </a: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ювелирные украшения бижутерия и 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т.д.)</a:t>
            </a:r>
            <a:endParaRPr lang="ru-RU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Стрелка вниз 40"/>
          <p:cNvSpPr/>
          <p:nvPr/>
        </p:nvSpPr>
        <p:spPr bwMode="gray">
          <a:xfrm rot="10800000">
            <a:off x="2627730" y="3266140"/>
            <a:ext cx="242316" cy="42392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94701">
            <a:off x="4192088" y="2470721"/>
            <a:ext cx="516905" cy="774979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 bwMode="gray">
          <a:xfrm>
            <a:off x="4823927" y="4077091"/>
            <a:ext cx="3528392" cy="504056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indent="0">
              <a:spcBef>
                <a:spcPts val="300"/>
              </a:spcBef>
            </a:pPr>
            <a:r>
              <a:rPr lang="ru-RU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бувь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438441">
            <a:off x="4154847" y="4060249"/>
            <a:ext cx="513363" cy="653185"/>
          </a:xfrm>
          <a:prstGeom prst="rect">
            <a:avLst/>
          </a:prstGeom>
        </p:spPr>
      </p:pic>
      <p:sp>
        <p:nvSpPr>
          <p:cNvPr id="46" name="Title 2"/>
          <p:cNvSpPr txBox="1">
            <a:spLocks/>
          </p:cNvSpPr>
          <p:nvPr/>
        </p:nvSpPr>
        <p:spPr bwMode="gray">
          <a:xfrm>
            <a:off x="107380" y="260560"/>
            <a:ext cx="7848650" cy="647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sz="1800" dirty="0" smtClean="0">
                <a:latin typeface="Arial" charset="0"/>
              </a:rPr>
              <a:t>Покупки за границей: доля онлайн-покупателей растет, но </a:t>
            </a:r>
          </a:p>
          <a:p>
            <a:r>
              <a:rPr lang="ru-RU" sz="1800" dirty="0" smtClean="0">
                <a:latin typeface="Arial" charset="0"/>
              </a:rPr>
              <a:t>медленно. По сравнению с 2013 годом ТОП товаров и количество «попробованных» категорий практически не изменились</a:t>
            </a:r>
            <a:endParaRPr lang="en-US" sz="1800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51400" y="6381410"/>
            <a:ext cx="75969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 синдицированное регулярное исследование онлайн-торговли GfK Ukraine, вся Украина, 2012-2014 </a:t>
            </a:r>
            <a:endParaRPr lang="ru-RU" sz="1100" i="1" cap="all" dirty="0"/>
          </a:p>
        </p:txBody>
      </p:sp>
      <p:sp>
        <p:nvSpPr>
          <p:cNvPr id="27" name="TextBox 26"/>
          <p:cNvSpPr txBox="1"/>
          <p:nvPr/>
        </p:nvSpPr>
        <p:spPr>
          <a:xfrm>
            <a:off x="-252670" y="1772770"/>
            <a:ext cx="4464496" cy="5040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ПОКУПКИ ЗА РУБЕЖОМ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221" y="5417081"/>
            <a:ext cx="2028825" cy="67627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-296105" y="5157254"/>
            <a:ext cx="4464496" cy="5040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ГДЕ ПОКУПАЛИ</a:t>
            </a:r>
          </a:p>
        </p:txBody>
      </p:sp>
    </p:spTree>
    <p:extLst>
      <p:ext uri="{BB962C8B-B14F-4D97-AF65-F5344CB8AC3E}">
        <p14:creationId xmlns:p14="http://schemas.microsoft.com/office/powerpoint/2010/main" val="4135650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2"/>
          <p:cNvSpPr txBox="1">
            <a:spLocks/>
          </p:cNvSpPr>
          <p:nvPr/>
        </p:nvSpPr>
        <p:spPr bwMode="gray">
          <a:xfrm>
            <a:off x="323410" y="405269"/>
            <a:ext cx="7848650" cy="647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dirty="0" smtClean="0">
                <a:latin typeface="Arial" charset="0"/>
              </a:rPr>
              <a:t>В 2014 году список причин практически не изменился: привлекательная цена остаётся основным драйвером для покупки за рубежом </a:t>
            </a:r>
            <a:endParaRPr lang="en-US" dirty="0"/>
          </a:p>
        </p:txBody>
      </p:sp>
      <p:graphicFrame>
        <p:nvGraphicFramePr>
          <p:cNvPr id="23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9787806"/>
              </p:ext>
            </p:extLst>
          </p:nvPr>
        </p:nvGraphicFramePr>
        <p:xfrm>
          <a:off x="664387" y="2071176"/>
          <a:ext cx="7453255" cy="4422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AutoShape 2"/>
          <p:cNvSpPr>
            <a:spLocks noChangeArrowheads="1"/>
          </p:cNvSpPr>
          <p:nvPr/>
        </p:nvSpPr>
        <p:spPr bwMode="auto">
          <a:xfrm>
            <a:off x="1403560" y="1196692"/>
            <a:ext cx="6552910" cy="724075"/>
          </a:xfrm>
          <a:prstGeom prst="wedgeRoundRectCallout">
            <a:avLst>
              <a:gd name="adj1" fmla="val 23147"/>
              <a:gd name="adj2" fmla="val -25313"/>
              <a:gd name="adj3" fmla="val 16667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000" algn="ctr">
              <a:spcBef>
                <a:spcPts val="300"/>
              </a:spcBef>
            </a:pPr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Arial" charset="0"/>
              </a:rPr>
              <a:t>Почему совершили покупку товара в иностранном (а не украинском) интернет-магазине?</a:t>
            </a:r>
            <a:endParaRPr lang="ru-RU" sz="1600" b="1" dirty="0">
              <a:solidFill>
                <a:schemeClr val="bg1"/>
              </a:solidFill>
              <a:latin typeface="Arial" pitchFamily="34" charset="0"/>
              <a:cs typeface="Arial" pitchFamily="34" charset="0"/>
              <a:sym typeface="Arial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23410" y="6407840"/>
            <a:ext cx="75969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 синдицированное регулярное исследование онлайн-торговли GfK Ukraine, вся Украина, </a:t>
            </a:r>
            <a:r>
              <a:rPr lang="ru-RU" sz="1100" i="1" dirty="0"/>
              <a:t>2012-2014 </a:t>
            </a:r>
            <a:endParaRPr lang="ru-RU" sz="1100" i="1" cap="all" dirty="0"/>
          </a:p>
        </p:txBody>
      </p:sp>
    </p:spTree>
    <p:extLst>
      <p:ext uri="{BB962C8B-B14F-4D97-AF65-F5344CB8AC3E}">
        <p14:creationId xmlns:p14="http://schemas.microsoft.com/office/powerpoint/2010/main" val="141185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украинцы получают товары, заказанные в </a:t>
            </a:r>
            <a:r>
              <a:rPr lang="ru-RU" dirty="0" smtClean="0"/>
              <a:t>интернете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846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2"/>
          <p:cNvSpPr txBox="1">
            <a:spLocks/>
          </p:cNvSpPr>
          <p:nvPr/>
        </p:nvSpPr>
        <p:spPr bwMode="gray">
          <a:xfrm>
            <a:off x="323410" y="332570"/>
            <a:ext cx="7848650" cy="647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dirty="0" smtClean="0">
                <a:latin typeface="Arial" charset="0"/>
              </a:rPr>
              <a:t>Заказ товара в офис курьерской службы остается самым популярным способом доставки товара. Украинцы также </a:t>
            </a:r>
          </a:p>
          <a:p>
            <a:r>
              <a:rPr lang="ru-RU" dirty="0" smtClean="0">
                <a:latin typeface="Arial" charset="0"/>
              </a:rPr>
              <a:t>пробуют новые способы доставки</a:t>
            </a:r>
            <a:endParaRPr lang="en-US" dirty="0"/>
          </a:p>
        </p:txBody>
      </p:sp>
      <p:graphicFrame>
        <p:nvGraphicFramePr>
          <p:cNvPr id="6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41083714"/>
              </p:ext>
            </p:extLst>
          </p:nvPr>
        </p:nvGraphicFramePr>
        <p:xfrm>
          <a:off x="395420" y="946749"/>
          <a:ext cx="4536631" cy="5733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23410" y="6407840"/>
            <a:ext cx="75969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 синдицированное исследование онлайн-торговли </a:t>
            </a:r>
            <a:r>
              <a:rPr lang="en-US" sz="1100" i="1" dirty="0" smtClean="0"/>
              <a:t>GfK Ukraine</a:t>
            </a:r>
            <a:r>
              <a:rPr lang="ru-RU" sz="1100" i="1" dirty="0" smtClean="0"/>
              <a:t>, вся Украина, 2012 </a:t>
            </a:r>
            <a:endParaRPr lang="ru-RU" sz="1100" i="1" cap="all" dirty="0"/>
          </a:p>
        </p:txBody>
      </p:sp>
      <p:sp>
        <p:nvSpPr>
          <p:cNvPr id="9" name="Стрелка вниз 8"/>
          <p:cNvSpPr/>
          <p:nvPr/>
        </p:nvSpPr>
        <p:spPr bwMode="gray">
          <a:xfrm rot="10800000">
            <a:off x="2672690" y="1573254"/>
            <a:ext cx="242316" cy="42392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Стрелка вниз 10"/>
          <p:cNvSpPr/>
          <p:nvPr/>
        </p:nvSpPr>
        <p:spPr bwMode="gray">
          <a:xfrm rot="10800000">
            <a:off x="1835620" y="3346282"/>
            <a:ext cx="242316" cy="42392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Стрелка вниз 11"/>
          <p:cNvSpPr/>
          <p:nvPr/>
        </p:nvSpPr>
        <p:spPr bwMode="gray">
          <a:xfrm rot="10800000">
            <a:off x="1475570" y="1851079"/>
            <a:ext cx="242316" cy="42392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Стрелка вниз 12"/>
          <p:cNvSpPr/>
          <p:nvPr/>
        </p:nvSpPr>
        <p:spPr bwMode="gray">
          <a:xfrm>
            <a:off x="2833882" y="2853393"/>
            <a:ext cx="248413" cy="360051"/>
          </a:xfrm>
          <a:prstGeom prst="downArrow">
            <a:avLst/>
          </a:prstGeom>
          <a:noFill/>
          <a:ln w="34925" cap="sq" algn="ctr">
            <a:solidFill>
              <a:schemeClr val="accent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Inhaltsplatzhalter 7"/>
          <p:cNvSpPr txBox="1">
            <a:spLocks/>
          </p:cNvSpPr>
          <p:nvPr/>
        </p:nvSpPr>
        <p:spPr bwMode="gray">
          <a:xfrm>
            <a:off x="5148080" y="1484730"/>
            <a:ext cx="3672510" cy="46806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437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/>
              <a:t>Проникаются преимуществом сервисов по доставке </a:t>
            </a:r>
            <a:r>
              <a:rPr lang="ru-RU" sz="1400" dirty="0" smtClean="0"/>
              <a:t>товаров</a:t>
            </a:r>
          </a:p>
          <a:p>
            <a:pPr lvl="1"/>
            <a:endParaRPr lang="ru-RU" sz="1400" dirty="0"/>
          </a:p>
          <a:p>
            <a:pPr lvl="1"/>
            <a:r>
              <a:rPr lang="ru-RU" sz="1400" dirty="0" smtClean="0"/>
              <a:t>Среди причин</a:t>
            </a:r>
            <a:r>
              <a:rPr lang="ru-RU" sz="1400" dirty="0"/>
              <a:t>, по которым отказывались от покупки онлайн, около трети респондентов продолжают называть платную доставку, делающую покупку </a:t>
            </a:r>
            <a:r>
              <a:rPr lang="ru-RU" sz="1400" dirty="0" smtClean="0"/>
              <a:t>невыгодной</a:t>
            </a:r>
          </a:p>
          <a:p>
            <a:pPr lvl="1"/>
            <a:endParaRPr lang="ru-RU" sz="1400" dirty="0" smtClean="0"/>
          </a:p>
          <a:p>
            <a:pPr lvl="1"/>
            <a:r>
              <a:rPr lang="ru-RU" sz="1400" dirty="0" smtClean="0"/>
              <a:t>Доставка </a:t>
            </a:r>
            <a:r>
              <a:rPr lang="ru-RU" sz="1400" dirty="0" err="1"/>
              <a:t>Укрпочтой</a:t>
            </a:r>
            <a:r>
              <a:rPr lang="ru-RU" sz="1400" dirty="0"/>
              <a:t> как еще один способ </a:t>
            </a:r>
            <a:r>
              <a:rPr lang="ru-RU" sz="1400" dirty="0" smtClean="0"/>
              <a:t>сэкономить</a:t>
            </a:r>
          </a:p>
          <a:p>
            <a:pPr lvl="1"/>
            <a:endParaRPr lang="ru-RU" sz="1400" dirty="0" smtClean="0"/>
          </a:p>
          <a:p>
            <a:pPr lvl="1"/>
            <a:r>
              <a:rPr lang="ru-RU" sz="1400" dirty="0" smtClean="0">
                <a:latin typeface="Arial" pitchFamily="34" charset="0"/>
              </a:rPr>
              <a:t>Срок </a:t>
            </a:r>
            <a:r>
              <a:rPr lang="ru-RU" sz="1400" dirty="0">
                <a:latin typeface="Arial" pitchFamily="34" charset="0"/>
              </a:rPr>
              <a:t>доставки товаров </a:t>
            </a:r>
            <a:r>
              <a:rPr lang="ru-RU" sz="1400" dirty="0" smtClean="0">
                <a:latin typeface="Arial" pitchFamily="34" charset="0"/>
              </a:rPr>
              <a:t>зависит </a:t>
            </a:r>
            <a:r>
              <a:rPr lang="ru-RU" sz="1400" dirty="0">
                <a:latin typeface="Arial" pitchFamily="34" charset="0"/>
              </a:rPr>
              <a:t>от категории товара (для бытовой техники – меньше четырех дней, для одежды и обуви – порядка десяти</a:t>
            </a:r>
            <a:r>
              <a:rPr lang="ru-RU" sz="1400" dirty="0" smtClean="0">
                <a:latin typeface="Arial" pitchFamily="34" charset="0"/>
              </a:rPr>
              <a:t>)</a:t>
            </a:r>
            <a:endParaRPr lang="en-US" sz="1400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1027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е устройства используют при выборе и покупке </a:t>
            </a:r>
            <a:r>
              <a:rPr lang="ru-RU" dirty="0" smtClean="0"/>
              <a:t>товаров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269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 bwMode="gray">
          <a:xfrm>
            <a:off x="323528" y="1268702"/>
            <a:ext cx="8496944" cy="5112628"/>
          </a:xfrm>
        </p:spPr>
        <p:txBody>
          <a:bodyPr/>
          <a:lstStyle/>
          <a:p>
            <a:pPr>
              <a:buClr>
                <a:schemeClr val="bg2"/>
              </a:buClr>
              <a:tabLst>
                <a:tab pos="5562600" algn="r"/>
              </a:tabLst>
            </a:pPr>
            <a:r>
              <a:rPr lang="ru-RU" dirty="0" smtClean="0">
                <a:solidFill>
                  <a:schemeClr val="bg2"/>
                </a:solidFill>
              </a:rPr>
              <a:t>Сколько </a:t>
            </a:r>
            <a:r>
              <a:rPr lang="ru-RU" dirty="0">
                <a:solidFill>
                  <a:schemeClr val="bg2"/>
                </a:solidFill>
              </a:rPr>
              <a:t>интернет-пользователей и интернет-покупателей в Украине?</a:t>
            </a:r>
            <a:endParaRPr lang="ru-RU" dirty="0" smtClean="0">
              <a:solidFill>
                <a:schemeClr val="bg2"/>
              </a:solidFill>
            </a:endParaRPr>
          </a:p>
          <a:p>
            <a:pPr>
              <a:buClr>
                <a:schemeClr val="bg2"/>
              </a:buClr>
              <a:tabLst>
                <a:tab pos="5562600" algn="r"/>
              </a:tabLst>
            </a:pPr>
            <a:r>
              <a:rPr lang="ru-RU" dirty="0" smtClean="0">
                <a:solidFill>
                  <a:schemeClr val="bg2"/>
                </a:solidFill>
              </a:rPr>
              <a:t>Какими </a:t>
            </a:r>
            <a:r>
              <a:rPr lang="ru-RU" dirty="0">
                <a:solidFill>
                  <a:schemeClr val="bg2"/>
                </a:solidFill>
              </a:rPr>
              <a:t>онлайн площадками пользуются интернет-пользователи?</a:t>
            </a:r>
          </a:p>
          <a:p>
            <a:pPr>
              <a:buClr>
                <a:schemeClr val="bg2"/>
              </a:buClr>
              <a:tabLst>
                <a:tab pos="5562600" algn="r"/>
              </a:tabLst>
            </a:pPr>
            <a:r>
              <a:rPr lang="ru-RU" dirty="0">
                <a:solidFill>
                  <a:schemeClr val="bg2"/>
                </a:solidFill>
              </a:rPr>
              <a:t>Какие товары наиболее активно покупают в сети</a:t>
            </a:r>
            <a:r>
              <a:rPr lang="ru-RU" dirty="0" smtClean="0">
                <a:solidFill>
                  <a:schemeClr val="bg2"/>
                </a:solidFill>
              </a:rPr>
              <a:t>?</a:t>
            </a:r>
          </a:p>
          <a:p>
            <a:pPr>
              <a:buClr>
                <a:schemeClr val="bg2"/>
              </a:buClr>
              <a:tabLst>
                <a:tab pos="5562600" algn="r"/>
              </a:tabLst>
            </a:pPr>
            <a:r>
              <a:rPr lang="ru-RU" dirty="0">
                <a:solidFill>
                  <a:schemeClr val="bg2"/>
                </a:solidFill>
              </a:rPr>
              <a:t>Какие товары не планируют покупать </a:t>
            </a:r>
            <a:r>
              <a:rPr lang="ru-RU" dirty="0" smtClean="0">
                <a:solidFill>
                  <a:schemeClr val="bg2"/>
                </a:solidFill>
              </a:rPr>
              <a:t>онлайн и почему?</a:t>
            </a:r>
            <a:endParaRPr lang="ru-RU" dirty="0">
              <a:solidFill>
                <a:schemeClr val="bg2"/>
              </a:solidFill>
            </a:endParaRPr>
          </a:p>
          <a:p>
            <a:pPr>
              <a:buClr>
                <a:schemeClr val="bg2"/>
              </a:buClr>
              <a:tabLst>
                <a:tab pos="5562600" algn="r"/>
              </a:tabLst>
            </a:pPr>
            <a:r>
              <a:rPr lang="ru-RU" dirty="0">
                <a:solidFill>
                  <a:schemeClr val="bg2"/>
                </a:solidFill>
              </a:rPr>
              <a:t>Что и почему покупают за границей</a:t>
            </a:r>
            <a:r>
              <a:rPr lang="ru-RU" dirty="0" smtClean="0">
                <a:solidFill>
                  <a:schemeClr val="bg2"/>
                </a:solidFill>
              </a:rPr>
              <a:t>?</a:t>
            </a:r>
          </a:p>
          <a:p>
            <a:pPr>
              <a:buClr>
                <a:schemeClr val="bg2"/>
              </a:buClr>
              <a:tabLst>
                <a:tab pos="5562600" algn="r"/>
              </a:tabLst>
            </a:pPr>
            <a:r>
              <a:rPr lang="ru-RU" dirty="0">
                <a:solidFill>
                  <a:schemeClr val="bg2"/>
                </a:solidFill>
              </a:rPr>
              <a:t>Как украинцы получают товары, заказанные в интернете</a:t>
            </a:r>
            <a:r>
              <a:rPr lang="ru-RU" dirty="0" smtClean="0">
                <a:solidFill>
                  <a:schemeClr val="bg2"/>
                </a:solidFill>
              </a:rPr>
              <a:t>?</a:t>
            </a:r>
          </a:p>
          <a:p>
            <a:pPr>
              <a:buClr>
                <a:schemeClr val="bg2"/>
              </a:buClr>
              <a:tabLst>
                <a:tab pos="5562600" algn="r"/>
              </a:tabLst>
            </a:pPr>
            <a:r>
              <a:rPr lang="ru-RU" dirty="0">
                <a:solidFill>
                  <a:schemeClr val="bg2"/>
                </a:solidFill>
              </a:rPr>
              <a:t>Какие устройства используют при выборе и покупке товаров</a:t>
            </a:r>
            <a:r>
              <a:rPr lang="ru-RU" dirty="0" smtClean="0">
                <a:solidFill>
                  <a:schemeClr val="bg2"/>
                </a:solidFill>
              </a:rPr>
              <a:t>?</a:t>
            </a:r>
          </a:p>
          <a:p>
            <a:pPr>
              <a:buClr>
                <a:schemeClr val="bg2"/>
              </a:buClr>
              <a:tabLst>
                <a:tab pos="5562600" algn="r"/>
              </a:tabLst>
            </a:pPr>
            <a:r>
              <a:rPr lang="ru-RU" dirty="0">
                <a:solidFill>
                  <a:schemeClr val="bg2"/>
                </a:solidFill>
              </a:rPr>
              <a:t>Как используют мобильный телефон/смартфон в магазинах?</a:t>
            </a:r>
          </a:p>
          <a:p>
            <a:pPr>
              <a:buClr>
                <a:schemeClr val="bg2"/>
              </a:buClr>
              <a:tabLst>
                <a:tab pos="5562600" algn="r"/>
              </a:tabLst>
            </a:pPr>
            <a:r>
              <a:rPr lang="ru-RU" dirty="0" smtClean="0">
                <a:solidFill>
                  <a:schemeClr val="bg2"/>
                </a:solidFill>
              </a:rPr>
              <a:t>Что происходит на рынке </a:t>
            </a:r>
            <a:r>
              <a:rPr lang="ru-RU" dirty="0" err="1" smtClean="0">
                <a:solidFill>
                  <a:schemeClr val="bg2"/>
                </a:solidFill>
              </a:rPr>
              <a:t>БТиЭ</a:t>
            </a:r>
            <a:r>
              <a:rPr lang="ru-RU" dirty="0" smtClean="0">
                <a:solidFill>
                  <a:schemeClr val="bg2"/>
                </a:solidFill>
              </a:rPr>
              <a:t>?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uk-UA" dirty="0" smtClean="0">
                <a:solidFill>
                  <a:srgbClr val="FF0000"/>
                </a:solidFill>
              </a:rPr>
              <a:t>План презентации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pPr algn="r"/>
            <a:fld id="{1BDBE1E8-50F2-49BA-A952-1CC1DEAA5FBD}" type="slidenum">
              <a:rPr lang="en-US" smtClean="0"/>
              <a:pPr algn="r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881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95860" y="260649"/>
            <a:ext cx="7848650" cy="647403"/>
          </a:xfrm>
        </p:spPr>
        <p:txBody>
          <a:bodyPr/>
          <a:lstStyle/>
          <a:p>
            <a:r>
              <a:rPr lang="ru-RU" dirty="0"/>
              <a:t>Какие устройства используют при выборе и покупке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товаров: р</a:t>
            </a:r>
            <a:r>
              <a:rPr lang="ru-RU" dirty="0" smtClean="0">
                <a:latin typeface="Arial" charset="0"/>
              </a:rPr>
              <a:t>астет доля </a:t>
            </a:r>
            <a:r>
              <a:rPr lang="ru-RU" i="1" dirty="0" smtClean="0">
                <a:latin typeface="Arial" charset="0"/>
              </a:rPr>
              <a:t>покупок</a:t>
            </a:r>
            <a:r>
              <a:rPr lang="ru-RU" dirty="0" smtClean="0">
                <a:latin typeface="Arial" charset="0"/>
              </a:rPr>
              <a:t> с мобильных девайсов</a:t>
            </a:r>
            <a:endParaRPr lang="en-US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067890"/>
              </p:ext>
            </p:extLst>
          </p:nvPr>
        </p:nvGraphicFramePr>
        <p:xfrm>
          <a:off x="395421" y="1347184"/>
          <a:ext cx="8209139" cy="4837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359"/>
                <a:gridCol w="936130"/>
                <a:gridCol w="936130"/>
                <a:gridCol w="936130"/>
                <a:gridCol w="936130"/>
                <a:gridCol w="936130"/>
                <a:gridCol w="936130"/>
              </a:tblGrid>
              <a:tr h="469637">
                <a:tc rowSpan="3">
                  <a:txBody>
                    <a:bodyPr/>
                    <a:lstStyle/>
                    <a:p>
                      <a:pPr algn="ctr"/>
                      <a:endParaRPr lang="uk-UA" sz="1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uk-UA" sz="190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лайн-покупатели</a:t>
                      </a:r>
                      <a:endParaRPr lang="uk-UA" sz="1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uk-UA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uk-UA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uk-UA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uk-UA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322473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ыбирают</a:t>
                      </a:r>
                      <a:endParaRPr lang="uk-UA" sz="15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uk-UA" sz="14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uk-UA" sz="14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упают</a:t>
                      </a:r>
                      <a:endParaRPr lang="uk-UA" sz="15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uk-UA" sz="14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uk-UA" sz="14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288040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uk-UA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uk-UA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4</a:t>
                      </a:r>
                      <a:endParaRPr lang="uk-UA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uk-UA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uk-UA" sz="12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4</a:t>
                      </a:r>
                      <a:endParaRPr lang="uk-UA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939275">
                <a:tc>
                  <a:txBody>
                    <a:bodyPr/>
                    <a:lstStyle/>
                    <a:p>
                      <a:pPr marL="0" indent="457200" algn="ctr" defTabSz="914400" rtl="0" eaLnBrk="1" fontAlgn="t" latinLnBrk="0" hangingPunct="1"/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2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%</a:t>
                      </a:r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9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%</a:t>
                      </a:r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939275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3%</a:t>
                      </a:r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%</a:t>
                      </a:r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939275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%</a:t>
                      </a:r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%</a:t>
                      </a:r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939275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%</a:t>
                      </a:r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uk-UA" sz="15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%</a:t>
                      </a:r>
                      <a:endParaRPr lang="uk-UA" sz="15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30" name="Стрелка вниз 29"/>
          <p:cNvSpPr/>
          <p:nvPr/>
        </p:nvSpPr>
        <p:spPr bwMode="gray">
          <a:xfrm rot="10800000">
            <a:off x="4572000" y="3620765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Стрелка вниз 30"/>
          <p:cNvSpPr/>
          <p:nvPr/>
        </p:nvSpPr>
        <p:spPr bwMode="gray">
          <a:xfrm>
            <a:off x="5508129" y="2682809"/>
            <a:ext cx="216030" cy="360051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трелка вниз 6"/>
          <p:cNvSpPr/>
          <p:nvPr/>
        </p:nvSpPr>
        <p:spPr bwMode="gray">
          <a:xfrm rot="10800000">
            <a:off x="4572001" y="4566420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Стрелка вниз 7"/>
          <p:cNvSpPr/>
          <p:nvPr/>
        </p:nvSpPr>
        <p:spPr bwMode="gray">
          <a:xfrm rot="10800000">
            <a:off x="4572001" y="5502549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Стрелка вниз 8"/>
          <p:cNvSpPr/>
          <p:nvPr/>
        </p:nvSpPr>
        <p:spPr bwMode="gray">
          <a:xfrm rot="10800000">
            <a:off x="7380389" y="3620765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Стрелка вниз 10"/>
          <p:cNvSpPr/>
          <p:nvPr/>
        </p:nvSpPr>
        <p:spPr bwMode="gray">
          <a:xfrm rot="10800000">
            <a:off x="7380390" y="5502549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463240" y="2600702"/>
            <a:ext cx="2452530" cy="3614303"/>
            <a:chOff x="452651" y="2725670"/>
            <a:chExt cx="2452530" cy="3614302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133729">
              <a:off x="497860" y="4480250"/>
              <a:ext cx="384843" cy="775995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2651" y="5522942"/>
              <a:ext cx="961498" cy="636783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52651" y="3575468"/>
              <a:ext cx="734879" cy="784773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27229">
              <a:off x="460655" y="2725670"/>
              <a:ext cx="921824" cy="614549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1475570" y="2738561"/>
              <a:ext cx="1429611" cy="6372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ru-RU" sz="1400" b="1" dirty="0" smtClean="0">
                  <a:latin typeface="Arial" pitchFamily="34" charset="0"/>
                  <a:cs typeface="Arial" pitchFamily="34" charset="0"/>
                </a:rPr>
                <a:t>Стационарный </a:t>
              </a:r>
              <a:endParaRPr lang="uk-UA" sz="1400" b="1" dirty="0" err="1">
                <a:latin typeface="Arial" pitchFamily="34" charset="0"/>
                <a:cs typeface="Arial" pitchFamily="34" charset="0"/>
              </a:endParaRPr>
            </a:p>
            <a:p>
              <a:pPr>
                <a:spcBef>
                  <a:spcPts val="300"/>
                </a:spcBef>
              </a:pPr>
              <a:r>
                <a:rPr lang="ru-RU" sz="1400" b="1" dirty="0" smtClean="0">
                  <a:latin typeface="Arial" pitchFamily="34" charset="0"/>
                  <a:cs typeface="Arial" pitchFamily="34" charset="0"/>
                </a:rPr>
                <a:t>компьютер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331550" y="3849051"/>
              <a:ext cx="1429611" cy="6372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ru-RU" sz="1400" b="1" dirty="0" smtClean="0">
                  <a:latin typeface="Arial" pitchFamily="34" charset="0"/>
                  <a:cs typeface="Arial" pitchFamily="34" charset="0"/>
                </a:rPr>
                <a:t>Ноутбук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982089" y="4641476"/>
              <a:ext cx="1429611" cy="6372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ru-RU" sz="1400" b="1" dirty="0" smtClean="0">
                  <a:latin typeface="Arial" pitchFamily="34" charset="0"/>
                  <a:cs typeface="Arial" pitchFamily="34" charset="0"/>
                </a:rPr>
                <a:t>Мобильный телефон, </a:t>
              </a:r>
            </a:p>
            <a:p>
              <a:pPr>
                <a:spcBef>
                  <a:spcPts val="300"/>
                </a:spcBef>
              </a:pPr>
              <a:r>
                <a:rPr lang="ru-RU" sz="1400" b="1" dirty="0" smtClean="0">
                  <a:latin typeface="Arial" pitchFamily="34" charset="0"/>
                  <a:cs typeface="Arial" pitchFamily="34" charset="0"/>
                </a:rPr>
                <a:t>смартфон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475569" y="5702747"/>
              <a:ext cx="1429611" cy="6372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300"/>
                </a:spcBef>
              </a:pPr>
              <a:r>
                <a:rPr lang="ru-RU" sz="1400" b="1" dirty="0" smtClean="0">
                  <a:latin typeface="Arial" pitchFamily="34" charset="0"/>
                  <a:cs typeface="Arial" pitchFamily="34" charset="0"/>
                </a:rPr>
                <a:t>Планшет</a:t>
              </a: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323410" y="6360862"/>
            <a:ext cx="75969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 синдицированное регулярное исследование онлайн-торговли GfK Ukraine, вся Украина, 2012-2014 </a:t>
            </a:r>
            <a:endParaRPr lang="ru-RU" sz="1100" i="1" cap="all" dirty="0"/>
          </a:p>
        </p:txBody>
      </p:sp>
      <p:sp>
        <p:nvSpPr>
          <p:cNvPr id="24" name="Стрелка вниз 23"/>
          <p:cNvSpPr/>
          <p:nvPr/>
        </p:nvSpPr>
        <p:spPr bwMode="gray">
          <a:xfrm rot="10800000">
            <a:off x="5508130" y="3620765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Стрелка вниз 24"/>
          <p:cNvSpPr/>
          <p:nvPr/>
        </p:nvSpPr>
        <p:spPr bwMode="gray">
          <a:xfrm rot="10800000">
            <a:off x="5508131" y="4566421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Стрелка вниз 25"/>
          <p:cNvSpPr/>
          <p:nvPr/>
        </p:nvSpPr>
        <p:spPr bwMode="gray">
          <a:xfrm rot="10800000">
            <a:off x="5508131" y="5502549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Стрелка вниз 26"/>
          <p:cNvSpPr/>
          <p:nvPr/>
        </p:nvSpPr>
        <p:spPr bwMode="gray">
          <a:xfrm>
            <a:off x="8316520" y="2682809"/>
            <a:ext cx="216030" cy="360051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Стрелка вниз 27"/>
          <p:cNvSpPr/>
          <p:nvPr/>
        </p:nvSpPr>
        <p:spPr bwMode="gray">
          <a:xfrm rot="10800000">
            <a:off x="8316521" y="3620765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Стрелка вниз 28"/>
          <p:cNvSpPr/>
          <p:nvPr/>
        </p:nvSpPr>
        <p:spPr bwMode="gray">
          <a:xfrm rot="10800000">
            <a:off x="8316522" y="4566421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Стрелка вниз 31"/>
          <p:cNvSpPr/>
          <p:nvPr/>
        </p:nvSpPr>
        <p:spPr bwMode="gray">
          <a:xfrm rot="10800000">
            <a:off x="8316522" y="5502549"/>
            <a:ext cx="216030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714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 </a:t>
            </a:r>
            <a:r>
              <a:rPr lang="ru-RU" dirty="0"/>
              <a:t>используют мобильный </a:t>
            </a:r>
            <a:r>
              <a:rPr lang="ru-RU" dirty="0" smtClean="0"/>
              <a:t>телефон/смартфон </a:t>
            </a:r>
            <a:r>
              <a:rPr lang="ru-RU" dirty="0"/>
              <a:t>в </a:t>
            </a:r>
            <a:r>
              <a:rPr lang="ru-RU" dirty="0" smtClean="0"/>
              <a:t>магазинах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6386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3"/>
          <p:cNvSpPr txBox="1">
            <a:spLocks noChangeArrowheads="1"/>
          </p:cNvSpPr>
          <p:nvPr/>
        </p:nvSpPr>
        <p:spPr bwMode="gray">
          <a:xfrm>
            <a:off x="305696" y="188550"/>
            <a:ext cx="7679368" cy="768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sz="1800" b="1" dirty="0" smtClean="0"/>
              <a:t>Мир: </a:t>
            </a:r>
            <a:r>
              <a:rPr lang="ru-RU" sz="1800" dirty="0" smtClean="0"/>
              <a:t>Что покупатели делают с помощью мобильного телефона, находясь в магазине</a:t>
            </a:r>
            <a:endParaRPr lang="en-US" sz="1800" b="1" dirty="0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12"/>
          </p:nvPr>
        </p:nvSpPr>
        <p:spPr>
          <a:xfrm>
            <a:off x="323410" y="6339075"/>
            <a:ext cx="8496300" cy="192616"/>
          </a:xfrm>
        </p:spPr>
        <p:txBody>
          <a:bodyPr/>
          <a:lstStyle/>
          <a:p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точник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следовани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GfK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среди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боле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2</a:t>
            </a:r>
            <a:r>
              <a:rPr lang="ru-RU" altLang="uk-UA" sz="1100" i="1" dirty="0">
                <a:solidFill>
                  <a:schemeClr val="tx1"/>
                </a:solidFill>
                <a:latin typeface="+mn-lt"/>
                <a:cs typeface="+mn-cs"/>
              </a:rPr>
              <a:t>5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000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пользователей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мобильных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телефонов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(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старше 15 лет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в 23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транах</a:t>
            </a:r>
            <a:endParaRPr lang="en-US" altLang="uk-UA" sz="11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42" b="5870"/>
          <a:stretch/>
        </p:blipFill>
        <p:spPr>
          <a:xfrm>
            <a:off x="0" y="1772770"/>
            <a:ext cx="9144000" cy="3886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1358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>
            <a:off x="395978" y="1316566"/>
            <a:ext cx="8496622" cy="499283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9645321"/>
              </p:ext>
            </p:extLst>
          </p:nvPr>
        </p:nvGraphicFramePr>
        <p:xfrm>
          <a:off x="546111" y="1365011"/>
          <a:ext cx="8496300" cy="48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Rechteck 5"/>
          <p:cNvSpPr/>
          <p:nvPr/>
        </p:nvSpPr>
        <p:spPr bwMode="gray">
          <a:xfrm>
            <a:off x="467431" y="1493197"/>
            <a:ext cx="4227184" cy="43925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3851" y="140510"/>
            <a:ext cx="6804433" cy="768140"/>
          </a:xfrm>
        </p:spPr>
        <p:txBody>
          <a:bodyPr/>
          <a:lstStyle/>
          <a:p>
            <a:r>
              <a:rPr lang="ru-RU" sz="1800" b="1" dirty="0" smtClean="0"/>
              <a:t>Украина </a:t>
            </a:r>
            <a:r>
              <a:rPr lang="en-US" sz="1800" b="1" dirty="0" smtClean="0"/>
              <a:t>vs. </a:t>
            </a:r>
            <a:r>
              <a:rPr lang="ru-RU" sz="1800" b="1" dirty="0" smtClean="0"/>
              <a:t>мир</a:t>
            </a:r>
            <a:r>
              <a:rPr lang="en-US" sz="1800" b="1" dirty="0" smtClean="0"/>
              <a:t>: </a:t>
            </a:r>
            <a:r>
              <a:rPr lang="ru-RU" sz="1800" dirty="0"/>
              <a:t>Когда Вы в магазине, что из следующего Вы обычно делаете с </a:t>
            </a:r>
            <a:r>
              <a:rPr lang="ru-RU" sz="1800" dirty="0" smtClean="0"/>
              <a:t>помощью</a:t>
            </a:r>
            <a:r>
              <a:rPr lang="en-US" sz="1800" dirty="0" smtClean="0"/>
              <a:t> </a:t>
            </a:r>
            <a:r>
              <a:rPr lang="ru-RU" sz="1800" dirty="0" smtClean="0"/>
              <a:t>мобильного телефона</a:t>
            </a:r>
            <a:r>
              <a:rPr lang="en-US" sz="1800" dirty="0" smtClean="0"/>
              <a:t>/</a:t>
            </a:r>
            <a:r>
              <a:rPr lang="ru-RU" sz="1800" dirty="0" smtClean="0"/>
              <a:t>смартфона?</a:t>
            </a:r>
            <a:r>
              <a:rPr lang="en-US" sz="1800" dirty="0" smtClean="0"/>
              <a:t> </a:t>
            </a:r>
            <a:endParaRPr lang="en-US" sz="1800" dirty="0"/>
          </a:p>
        </p:txBody>
      </p:sp>
      <p:sp>
        <p:nvSpPr>
          <p:cNvPr id="7" name="Rectangle 6"/>
          <p:cNvSpPr/>
          <p:nvPr/>
        </p:nvSpPr>
        <p:spPr>
          <a:xfrm>
            <a:off x="395978" y="5930200"/>
            <a:ext cx="84966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/>
              <a:t>% </a:t>
            </a:r>
            <a:r>
              <a:rPr lang="ru-RU" sz="1000" dirty="0" smtClean="0"/>
              <a:t>пользователей </a:t>
            </a:r>
            <a:r>
              <a:rPr lang="ru-RU" sz="1000" dirty="0"/>
              <a:t>мобильных телефонов, которые делают следующие виды деятельности с </a:t>
            </a:r>
            <a:r>
              <a:rPr lang="ru-RU" sz="1000" dirty="0" smtClean="0"/>
              <a:t>помощью мобильных </a:t>
            </a:r>
            <a:r>
              <a:rPr lang="ru-RU" sz="1000" dirty="0"/>
              <a:t>телефонов, находясь в </a:t>
            </a:r>
            <a:r>
              <a:rPr lang="ru-RU" sz="1000" dirty="0" smtClean="0"/>
              <a:t>магазине</a:t>
            </a:r>
          </a:p>
          <a:p>
            <a:r>
              <a:rPr lang="ru-RU" sz="800" i="1" dirty="0" smtClean="0"/>
              <a:t>* </a:t>
            </a:r>
            <a:r>
              <a:rPr lang="ru-RU" sz="800" i="1" dirty="0"/>
              <a:t>Демографическая разбивка не </a:t>
            </a:r>
            <a:r>
              <a:rPr lang="ru-RU" sz="800" i="1" dirty="0" smtClean="0"/>
              <a:t>показана </a:t>
            </a:r>
            <a:r>
              <a:rPr lang="ru-RU" sz="800" i="1" dirty="0"/>
              <a:t>из-за </a:t>
            </a:r>
            <a:r>
              <a:rPr lang="ru-RU" sz="800" i="1" dirty="0" smtClean="0"/>
              <a:t>размера выборки</a:t>
            </a:r>
            <a:endParaRPr lang="en-US" sz="800" i="1" dirty="0"/>
          </a:p>
        </p:txBody>
      </p:sp>
      <p:sp>
        <p:nvSpPr>
          <p:cNvPr id="3" name="Прямоугольник 2"/>
          <p:cNvSpPr/>
          <p:nvPr/>
        </p:nvSpPr>
        <p:spPr bwMode="gray">
          <a:xfrm>
            <a:off x="7928794" y="3336997"/>
            <a:ext cx="792088" cy="11481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uk-UA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7" descr="© INSCALE GmbH, 14.06.20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1396" y="4077150"/>
            <a:ext cx="512478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0946722"/>
              </p:ext>
            </p:extLst>
          </p:nvPr>
        </p:nvGraphicFramePr>
        <p:xfrm>
          <a:off x="577530" y="1501689"/>
          <a:ext cx="4105027" cy="44174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05027"/>
              </a:tblGrid>
              <a:tr h="555348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effectLst/>
                        </a:rPr>
                        <a:t>Контактирую с другом или родственником, чтобы посоветоваться, когда нахожусь в магазине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000" marR="72000" marT="0" marB="0" anchor="ctr"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9046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dirty="0" smtClean="0">
                          <a:effectLst/>
                        </a:rPr>
                        <a:t>Фотографирую товары, которые я мог бы купить</a:t>
                      </a:r>
                      <a:endParaRPr lang="en-US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000" marR="72000" marT="0" marB="0" anchor="ctr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9046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400" b="1" u="none" strike="noStrike" dirty="0" err="1" smtClean="0">
                          <a:effectLst/>
                        </a:rPr>
                        <a:t>Сравниваю</a:t>
                      </a:r>
                      <a:r>
                        <a:rPr lang="uk-UA" sz="1400" b="1" u="none" strike="noStrike" dirty="0" smtClean="0">
                          <a:effectLst/>
                        </a:rPr>
                        <a:t> </a:t>
                      </a:r>
                      <a:r>
                        <a:rPr lang="uk-UA" sz="1400" b="1" u="none" strike="noStrike" dirty="0" err="1" smtClean="0">
                          <a:effectLst/>
                        </a:rPr>
                        <a:t>цены</a:t>
                      </a:r>
                      <a:endParaRPr lang="en-US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000" marR="72000" marT="0" marB="0" anchor="ctr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90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u="none" strike="noStrike" dirty="0" smtClean="0">
                          <a:effectLst/>
                        </a:rPr>
                        <a:t>Фотографирую рекламу, описания и другую </a:t>
                      </a:r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r" fontAlgn="b"/>
                      <a:r>
                        <a:rPr lang="ru-RU" sz="1400" b="1" u="none" strike="noStrike" dirty="0" smtClean="0">
                          <a:effectLst/>
                        </a:rPr>
                        <a:t>информацию о товарах, которые я мог бы купить</a:t>
                      </a:r>
                      <a:r>
                        <a:rPr lang="en-US" sz="1400" b="1" u="none" strike="noStrike" dirty="0" smtClean="0">
                          <a:effectLst/>
                        </a:rPr>
                        <a:t>*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000" marR="72000" marT="0" marB="0" anchor="ctr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9046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dirty="0" smtClean="0">
                          <a:effectLst/>
                        </a:rPr>
                        <a:t>Покупаю товары через сайт магазина или </a:t>
                      </a:r>
                      <a:endParaRPr lang="en-US" sz="1400" b="1" u="none" strike="noStrike" dirty="0" smtClean="0">
                        <a:effectLst/>
                      </a:endParaRPr>
                    </a:p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dirty="0" smtClean="0">
                          <a:effectLst/>
                        </a:rPr>
                        <a:t>через другой сайт, когда нахожусь в магазине</a:t>
                      </a:r>
                      <a:r>
                        <a:rPr lang="en-US" sz="1400" b="1" u="none" strike="noStrike" dirty="0" smtClean="0">
                          <a:effectLst/>
                        </a:rPr>
                        <a:t>*</a:t>
                      </a:r>
                    </a:p>
                  </a:txBody>
                  <a:tcPr marL="72000" marR="72000" marT="0" marB="0" anchor="ctr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9046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dirty="0" smtClean="0">
                          <a:effectLst/>
                        </a:rPr>
                        <a:t>Сканирую штрих-коды или QR коды, чтобы получить </a:t>
                      </a:r>
                      <a:endParaRPr lang="en-US" sz="1400" b="1" u="none" strike="noStrike" dirty="0" smtClean="0">
                        <a:effectLst/>
                      </a:endParaRPr>
                    </a:p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dirty="0" smtClean="0">
                          <a:effectLst/>
                        </a:rPr>
                        <a:t>более подробную информацию о товарах</a:t>
                      </a:r>
                      <a:r>
                        <a:rPr lang="en-US" sz="1400" b="1" u="none" strike="noStrike" dirty="0" smtClean="0">
                          <a:effectLst/>
                        </a:rPr>
                        <a:t>*</a:t>
                      </a:r>
                      <a:endParaRPr lang="en-US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2000" marR="72000" marT="0" marB="0" anchor="ctr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9046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dirty="0" smtClean="0">
                          <a:effectLst/>
                        </a:rPr>
                        <a:t>Покупаю товары через </a:t>
                      </a:r>
                      <a:endParaRPr lang="en-US" sz="1400" b="1" u="none" strike="noStrike" dirty="0" smtClean="0">
                        <a:effectLst/>
                      </a:endParaRPr>
                    </a:p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dirty="0" smtClean="0">
                          <a:effectLst/>
                        </a:rPr>
                        <a:t>приложение на моем устройстве</a:t>
                      </a:r>
                      <a:r>
                        <a:rPr lang="en-US" sz="1400" b="1" u="none" strike="noStrike" dirty="0" smtClean="0">
                          <a:effectLst/>
                        </a:rPr>
                        <a:t>*</a:t>
                      </a:r>
                    </a:p>
                  </a:txBody>
                  <a:tcPr marL="72000" marR="72000" marT="0" marB="0" anchor="ctr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0419" y="3555863"/>
            <a:ext cx="524141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K:\GfK Group\05_Präsentationsgestaltung\2015\Gerhardt, Stefan\Global PR Mobil Study\02_Layout\Compare_prices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587" y="2878321"/>
            <a:ext cx="199557" cy="360000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Grafik 9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47" y="1654685"/>
            <a:ext cx="199557" cy="360000"/>
          </a:xfrm>
          <a:prstGeom prst="roundRect">
            <a:avLst/>
          </a:prstGeom>
        </p:spPr>
      </p:pic>
      <p:pic>
        <p:nvPicPr>
          <p:cNvPr id="23" name="Grafik 12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87" y="2287952"/>
            <a:ext cx="199557" cy="360000"/>
          </a:xfrm>
          <a:prstGeom prst="roundRect">
            <a:avLst/>
          </a:prstGeom>
        </p:spPr>
      </p:pic>
      <p:pic>
        <p:nvPicPr>
          <p:cNvPr id="24" name="Grafik 13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79" y="3509474"/>
            <a:ext cx="199557" cy="360000"/>
          </a:xfrm>
          <a:prstGeom prst="roundRect">
            <a:avLst/>
          </a:prstGeom>
        </p:spPr>
      </p:pic>
      <p:pic>
        <p:nvPicPr>
          <p:cNvPr id="25" name="Grafik 13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45" y="4797190"/>
            <a:ext cx="199557" cy="360000"/>
          </a:xfrm>
          <a:prstGeom prst="roundRect">
            <a:avLst/>
          </a:prstGeom>
        </p:spPr>
      </p:pic>
      <p:pic>
        <p:nvPicPr>
          <p:cNvPr id="26" name="Grafik 13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46" y="5394478"/>
            <a:ext cx="199557" cy="360000"/>
          </a:xfrm>
          <a:prstGeom prst="roundRect">
            <a:avLst/>
          </a:prstGeom>
        </p:spPr>
      </p:pic>
      <p:pic>
        <p:nvPicPr>
          <p:cNvPr id="27" name="Grafik 13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929" y="4149150"/>
            <a:ext cx="199557" cy="360000"/>
          </a:xfrm>
          <a:prstGeom prst="roundRect">
            <a:avLst/>
          </a:prstGeom>
        </p:spPr>
      </p:pic>
      <p:sp>
        <p:nvSpPr>
          <p:cNvPr id="30" name="Текст 8"/>
          <p:cNvSpPr txBox="1">
            <a:spLocks/>
          </p:cNvSpPr>
          <p:nvPr/>
        </p:nvSpPr>
        <p:spPr bwMode="gray">
          <a:xfrm>
            <a:off x="323410" y="6453420"/>
            <a:ext cx="8496300" cy="192616"/>
          </a:xfrm>
          <a:prstGeom prst="rect">
            <a:avLst/>
          </a:prstGeom>
        </p:spPr>
        <p:txBody>
          <a:bodyPr vert="horz" lIns="0" tIns="0" rIns="0" bIns="3600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Источник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исследование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GfK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реди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более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2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5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000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пользователей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мобильных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телефонов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(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старше 15 лет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в 23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транах</a:t>
            </a:r>
            <a:endParaRPr lang="en-US" altLang="uk-UA" sz="11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206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4152588500"/>
              </p:ext>
            </p:extLst>
          </p:nvPr>
        </p:nvGraphicFramePr>
        <p:xfrm>
          <a:off x="323850" y="1124680"/>
          <a:ext cx="8304290" cy="5280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2190" y="1412920"/>
            <a:ext cx="876274" cy="1440000"/>
          </a:xfrm>
          <a:prstGeom prst="roundRect">
            <a:avLst/>
          </a:prstGeom>
        </p:spPr>
      </p:pic>
      <p:grpSp>
        <p:nvGrpSpPr>
          <p:cNvPr id="702477" name="Gruppieren 702476"/>
          <p:cNvGrpSpPr/>
          <p:nvPr/>
        </p:nvGrpSpPr>
        <p:grpSpPr>
          <a:xfrm>
            <a:off x="3065644" y="5013176"/>
            <a:ext cx="252028" cy="336037"/>
            <a:chOff x="3078069" y="3615866"/>
            <a:chExt cx="252028" cy="252028"/>
          </a:xfrm>
        </p:grpSpPr>
        <p:sp>
          <p:nvSpPr>
            <p:cNvPr id="9" name="Ellipse 8"/>
            <p:cNvSpPr/>
            <p:nvPr/>
          </p:nvSpPr>
          <p:spPr bwMode="gray">
            <a:xfrm>
              <a:off x="3078069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3" name="Picture 2" descr="Flag of South Korea.sv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104260" y="3646606"/>
              <a:ext cx="198630" cy="190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Ellipse 33"/>
            <p:cNvSpPr/>
            <p:nvPr/>
          </p:nvSpPr>
          <p:spPr bwMode="gray">
            <a:xfrm>
              <a:off x="3078069" y="3615866"/>
              <a:ext cx="252028" cy="252028"/>
            </a:xfrm>
            <a:prstGeom prst="ellipse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02481" name="Gruppieren 702480"/>
          <p:cNvGrpSpPr/>
          <p:nvPr/>
        </p:nvGrpSpPr>
        <p:grpSpPr>
          <a:xfrm>
            <a:off x="1697492" y="5013176"/>
            <a:ext cx="252028" cy="336037"/>
            <a:chOff x="1709670" y="3615866"/>
            <a:chExt cx="252028" cy="252028"/>
          </a:xfrm>
        </p:grpSpPr>
        <p:sp>
          <p:nvSpPr>
            <p:cNvPr id="10" name="Ellipse 9"/>
            <p:cNvSpPr/>
            <p:nvPr/>
          </p:nvSpPr>
          <p:spPr bwMode="gray">
            <a:xfrm>
              <a:off x="170967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5" name="Picture 3" descr="C:\Users\pieniak\Desktop\wazne\flagi\koliste\Flag of China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768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82" name="Gruppieren 702481"/>
          <p:cNvGrpSpPr/>
          <p:nvPr/>
        </p:nvGrpSpPr>
        <p:grpSpPr>
          <a:xfrm>
            <a:off x="1355454" y="5013176"/>
            <a:ext cx="252028" cy="336037"/>
            <a:chOff x="1349630" y="3615866"/>
            <a:chExt cx="252028" cy="252028"/>
          </a:xfrm>
        </p:grpSpPr>
        <p:sp>
          <p:nvSpPr>
            <p:cNvPr id="11" name="Ellipse 10"/>
            <p:cNvSpPr/>
            <p:nvPr/>
          </p:nvSpPr>
          <p:spPr bwMode="gray">
            <a:xfrm>
              <a:off x="134963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6" name="Picture 4" descr="C:\Users\pieniak\Desktop\wazne\flagi\koliste\Flag of Turkey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764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79" name="Gruppieren 702478"/>
          <p:cNvGrpSpPr/>
          <p:nvPr/>
        </p:nvGrpSpPr>
        <p:grpSpPr>
          <a:xfrm>
            <a:off x="2381568" y="5013176"/>
            <a:ext cx="252028" cy="336037"/>
            <a:chOff x="2393746" y="3615866"/>
            <a:chExt cx="252028" cy="252028"/>
          </a:xfrm>
        </p:grpSpPr>
        <p:sp>
          <p:nvSpPr>
            <p:cNvPr id="13" name="Ellipse 12"/>
            <p:cNvSpPr/>
            <p:nvPr/>
          </p:nvSpPr>
          <p:spPr bwMode="gray">
            <a:xfrm>
              <a:off x="2393746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7" name="Picture 5" descr="C:\Users\pieniak\Desktop\wazne\flagi\koliste\Flag of Brazil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1760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84" name="Gruppieren 702483"/>
          <p:cNvGrpSpPr/>
          <p:nvPr/>
        </p:nvGrpSpPr>
        <p:grpSpPr>
          <a:xfrm>
            <a:off x="671378" y="5013176"/>
            <a:ext cx="252028" cy="336037"/>
            <a:chOff x="665554" y="3615866"/>
            <a:chExt cx="252028" cy="252028"/>
          </a:xfrm>
        </p:grpSpPr>
        <p:sp>
          <p:nvSpPr>
            <p:cNvPr id="14" name="Ellipse 13"/>
            <p:cNvSpPr/>
            <p:nvPr/>
          </p:nvSpPr>
          <p:spPr bwMode="gray">
            <a:xfrm>
              <a:off x="66555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8" name="Picture 6" descr="C:\Users\pieniak\Desktop\wazne\flagi\koliste\Flag of Mexico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78" name="Gruppieren 702477"/>
          <p:cNvGrpSpPr/>
          <p:nvPr/>
        </p:nvGrpSpPr>
        <p:grpSpPr>
          <a:xfrm>
            <a:off x="2723606" y="5013176"/>
            <a:ext cx="252028" cy="336037"/>
            <a:chOff x="2717782" y="3615866"/>
            <a:chExt cx="252028" cy="252028"/>
          </a:xfrm>
        </p:grpSpPr>
        <p:sp>
          <p:nvSpPr>
            <p:cNvPr id="15" name="Ellipse 14"/>
            <p:cNvSpPr/>
            <p:nvPr/>
          </p:nvSpPr>
          <p:spPr bwMode="gray">
            <a:xfrm>
              <a:off x="2717782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9" name="Picture 7" descr="C:\Users\pieniak\Desktop\wazne\flagi\koliste\Flag of Argentina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5796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73" name="Gruppieren 702472"/>
          <p:cNvGrpSpPr/>
          <p:nvPr/>
        </p:nvGrpSpPr>
        <p:grpSpPr>
          <a:xfrm>
            <a:off x="4433796" y="5013176"/>
            <a:ext cx="252028" cy="336037"/>
            <a:chOff x="4404464" y="3615866"/>
            <a:chExt cx="252028" cy="252028"/>
          </a:xfrm>
        </p:grpSpPr>
        <p:sp>
          <p:nvSpPr>
            <p:cNvPr id="16" name="Ellipse 15"/>
            <p:cNvSpPr/>
            <p:nvPr/>
          </p:nvSpPr>
          <p:spPr bwMode="gray">
            <a:xfrm>
              <a:off x="440446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0" name="Picture 8" descr="C:\Users\pieniak\Desktop\wazne\flagi\koliste\Flag of Italy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247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76" name="Gruppieren 702475"/>
          <p:cNvGrpSpPr/>
          <p:nvPr/>
        </p:nvGrpSpPr>
        <p:grpSpPr>
          <a:xfrm>
            <a:off x="3407682" y="5013176"/>
            <a:ext cx="252028" cy="336037"/>
            <a:chOff x="3401858" y="3615866"/>
            <a:chExt cx="252028" cy="252028"/>
          </a:xfrm>
        </p:grpSpPr>
        <p:sp>
          <p:nvSpPr>
            <p:cNvPr id="17" name="Ellipse 16"/>
            <p:cNvSpPr/>
            <p:nvPr/>
          </p:nvSpPr>
          <p:spPr bwMode="gray">
            <a:xfrm>
              <a:off x="340185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1" name="Picture 9" descr="C:\Users\pieniak\Desktop\wazne\flagi\koliste\Flag of United States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987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75" name="Gruppieren 702474"/>
          <p:cNvGrpSpPr/>
          <p:nvPr/>
        </p:nvGrpSpPr>
        <p:grpSpPr>
          <a:xfrm>
            <a:off x="3749720" y="5013176"/>
            <a:ext cx="252028" cy="336037"/>
            <a:chOff x="3761898" y="3615866"/>
            <a:chExt cx="252028" cy="252028"/>
          </a:xfrm>
        </p:grpSpPr>
        <p:sp>
          <p:nvSpPr>
            <p:cNvPr id="18" name="Ellipse 17"/>
            <p:cNvSpPr/>
            <p:nvPr/>
          </p:nvSpPr>
          <p:spPr bwMode="gray">
            <a:xfrm>
              <a:off x="376189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2" name="Picture 10" descr="C:\Users\pieniak\Desktop\wazne\flagi\koliste\Flag of Spain.pn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991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80" name="Gruppieren 702479"/>
          <p:cNvGrpSpPr/>
          <p:nvPr/>
        </p:nvGrpSpPr>
        <p:grpSpPr>
          <a:xfrm>
            <a:off x="2039530" y="5013176"/>
            <a:ext cx="252028" cy="336037"/>
            <a:chOff x="2069710" y="3615866"/>
            <a:chExt cx="252028" cy="252028"/>
          </a:xfrm>
        </p:grpSpPr>
        <p:sp>
          <p:nvSpPr>
            <p:cNvPr id="19" name="Ellipse 18"/>
            <p:cNvSpPr/>
            <p:nvPr/>
          </p:nvSpPr>
          <p:spPr bwMode="gray">
            <a:xfrm>
              <a:off x="206971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3" name="Picture 11" descr="C:\Users\pieniak\Desktop\wazne\flagi\koliste\Flag of Russia.pn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772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74" name="Gruppieren 702473"/>
          <p:cNvGrpSpPr/>
          <p:nvPr/>
        </p:nvGrpSpPr>
        <p:grpSpPr>
          <a:xfrm>
            <a:off x="4091758" y="5013176"/>
            <a:ext cx="252028" cy="336037"/>
            <a:chOff x="4085934" y="3615866"/>
            <a:chExt cx="252028" cy="252028"/>
          </a:xfrm>
        </p:grpSpPr>
        <p:sp>
          <p:nvSpPr>
            <p:cNvPr id="20" name="Ellipse 19"/>
            <p:cNvSpPr/>
            <p:nvPr/>
          </p:nvSpPr>
          <p:spPr bwMode="gray">
            <a:xfrm>
              <a:off x="408593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4" name="Picture 12" descr="C:\Users\pieniak\Desktop\wazne\flagi\koliste\Flag of Australia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394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64" name="Gruppieren 702463"/>
          <p:cNvGrpSpPr/>
          <p:nvPr/>
        </p:nvGrpSpPr>
        <p:grpSpPr>
          <a:xfrm>
            <a:off x="7170100" y="5013176"/>
            <a:ext cx="252028" cy="336037"/>
            <a:chOff x="7146274" y="3615866"/>
            <a:chExt cx="252028" cy="252028"/>
          </a:xfrm>
        </p:grpSpPr>
        <p:sp>
          <p:nvSpPr>
            <p:cNvPr id="21" name="Ellipse 20"/>
            <p:cNvSpPr/>
            <p:nvPr/>
          </p:nvSpPr>
          <p:spPr bwMode="gray">
            <a:xfrm>
              <a:off x="714627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5" name="Picture 13" descr="C:\Users\pieniak\Desktop\wazne\flagi\koliste\Flag of Sweden.png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28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uppieren 1"/>
          <p:cNvGrpSpPr/>
          <p:nvPr/>
        </p:nvGrpSpPr>
        <p:grpSpPr>
          <a:xfrm>
            <a:off x="8196214" y="5013176"/>
            <a:ext cx="252028" cy="336037"/>
            <a:chOff x="8190390" y="3615866"/>
            <a:chExt cx="252028" cy="252028"/>
          </a:xfrm>
        </p:grpSpPr>
        <p:sp>
          <p:nvSpPr>
            <p:cNvPr id="22" name="Ellipse 21"/>
            <p:cNvSpPr/>
            <p:nvPr/>
          </p:nvSpPr>
          <p:spPr bwMode="gray">
            <a:xfrm>
              <a:off x="819039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6" name="Picture 14" descr="C:\Users\pieniak\Desktop\wazne\flagi\koliste\Flag of Japan.png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840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83" name="Gruppieren 702482"/>
          <p:cNvGrpSpPr/>
          <p:nvPr/>
        </p:nvGrpSpPr>
        <p:grpSpPr>
          <a:xfrm>
            <a:off x="1013416" y="5013176"/>
            <a:ext cx="252028" cy="336037"/>
            <a:chOff x="1025594" y="3615866"/>
            <a:chExt cx="252028" cy="252028"/>
          </a:xfrm>
        </p:grpSpPr>
        <p:sp>
          <p:nvSpPr>
            <p:cNvPr id="23" name="Ellipse 22"/>
            <p:cNvSpPr/>
            <p:nvPr/>
          </p:nvSpPr>
          <p:spPr bwMode="gray">
            <a:xfrm>
              <a:off x="102559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7" name="Picture 15" descr="C:\Users\pieniak\Desktop\wazne\flagi\koliste\Flag of Poland.png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0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65" name="Gruppieren 702464"/>
          <p:cNvGrpSpPr/>
          <p:nvPr/>
        </p:nvGrpSpPr>
        <p:grpSpPr>
          <a:xfrm>
            <a:off x="6828062" y="5013176"/>
            <a:ext cx="252028" cy="336037"/>
            <a:chOff x="6822238" y="3615866"/>
            <a:chExt cx="252028" cy="252028"/>
          </a:xfrm>
        </p:grpSpPr>
        <p:sp>
          <p:nvSpPr>
            <p:cNvPr id="24" name="Ellipse 23"/>
            <p:cNvSpPr/>
            <p:nvPr/>
          </p:nvSpPr>
          <p:spPr bwMode="gray">
            <a:xfrm>
              <a:off x="682223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8" name="Picture 16" descr="C:\Users\pieniak\Desktop\wazne\flagi\koliste\Flag of United Kingdom.png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025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uppieren 4"/>
          <p:cNvGrpSpPr/>
          <p:nvPr/>
        </p:nvGrpSpPr>
        <p:grpSpPr>
          <a:xfrm>
            <a:off x="7512138" y="5013176"/>
            <a:ext cx="252028" cy="336037"/>
            <a:chOff x="7541661" y="3615866"/>
            <a:chExt cx="252028" cy="252028"/>
          </a:xfrm>
        </p:grpSpPr>
        <p:sp>
          <p:nvSpPr>
            <p:cNvPr id="25" name="Ellipse 24"/>
            <p:cNvSpPr/>
            <p:nvPr/>
          </p:nvSpPr>
          <p:spPr bwMode="gray">
            <a:xfrm>
              <a:off x="7541661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9" name="Picture 17" descr="C:\Users\pieniak\Desktop\wazne\flagi\koliste\Flag of Germany.png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9675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72" name="Gruppieren 702471"/>
          <p:cNvGrpSpPr/>
          <p:nvPr/>
        </p:nvGrpSpPr>
        <p:grpSpPr>
          <a:xfrm>
            <a:off x="4775834" y="5013176"/>
            <a:ext cx="252028" cy="336037"/>
            <a:chOff x="4770010" y="3615866"/>
            <a:chExt cx="252028" cy="252028"/>
          </a:xfrm>
        </p:grpSpPr>
        <p:sp>
          <p:nvSpPr>
            <p:cNvPr id="26" name="Ellipse 25"/>
            <p:cNvSpPr/>
            <p:nvPr/>
          </p:nvSpPr>
          <p:spPr bwMode="gray">
            <a:xfrm>
              <a:off x="477001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0" name="Picture 18" descr="C:\Users\pieniak\Desktop\wazne\flagi\koliste\Flag of France.png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802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uppieren 2"/>
          <p:cNvGrpSpPr/>
          <p:nvPr/>
        </p:nvGrpSpPr>
        <p:grpSpPr>
          <a:xfrm>
            <a:off x="7854176" y="5013176"/>
            <a:ext cx="252028" cy="336037"/>
            <a:chOff x="7866354" y="3615866"/>
            <a:chExt cx="252028" cy="252028"/>
          </a:xfrm>
        </p:grpSpPr>
        <p:sp>
          <p:nvSpPr>
            <p:cNvPr id="27" name="Ellipse 26"/>
            <p:cNvSpPr/>
            <p:nvPr/>
          </p:nvSpPr>
          <p:spPr bwMode="gray">
            <a:xfrm>
              <a:off x="786635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1" name="Picture 19" descr="C:\Users\pieniak\Desktop\wazne\flagi\koliste\Flag of Indonesia.png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436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71" name="Gruppieren 702470"/>
          <p:cNvGrpSpPr/>
          <p:nvPr/>
        </p:nvGrpSpPr>
        <p:grpSpPr>
          <a:xfrm>
            <a:off x="5117872" y="5013176"/>
            <a:ext cx="252028" cy="336037"/>
            <a:chOff x="5130050" y="3615866"/>
            <a:chExt cx="252028" cy="252028"/>
          </a:xfrm>
        </p:grpSpPr>
        <p:sp>
          <p:nvSpPr>
            <p:cNvPr id="28" name="Ellipse 27"/>
            <p:cNvSpPr/>
            <p:nvPr/>
          </p:nvSpPr>
          <p:spPr bwMode="gray">
            <a:xfrm>
              <a:off x="513005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2" name="Picture 20" descr="C:\Users\pieniak\Desktop\wazne\flagi\koliste\Flag of Canada.png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806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70" name="Gruppieren 702469"/>
          <p:cNvGrpSpPr/>
          <p:nvPr/>
        </p:nvGrpSpPr>
        <p:grpSpPr>
          <a:xfrm>
            <a:off x="5459910" y="5013176"/>
            <a:ext cx="252028" cy="336037"/>
            <a:chOff x="5454086" y="3615866"/>
            <a:chExt cx="252028" cy="252028"/>
          </a:xfrm>
        </p:grpSpPr>
        <p:sp>
          <p:nvSpPr>
            <p:cNvPr id="29" name="Ellipse 28"/>
            <p:cNvSpPr/>
            <p:nvPr/>
          </p:nvSpPr>
          <p:spPr bwMode="gray">
            <a:xfrm>
              <a:off x="5454086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3" name="Picture 21" descr="C:\Users\pieniak\Desktop\wazne\flagi\koliste\Flag of Belgium.png"/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2100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69" name="Gruppieren 702468"/>
          <p:cNvGrpSpPr/>
          <p:nvPr/>
        </p:nvGrpSpPr>
        <p:grpSpPr>
          <a:xfrm>
            <a:off x="5801948" y="5013176"/>
            <a:ext cx="252028" cy="336037"/>
            <a:chOff x="5814411" y="3615866"/>
            <a:chExt cx="252028" cy="252028"/>
          </a:xfrm>
        </p:grpSpPr>
        <p:sp>
          <p:nvSpPr>
            <p:cNvPr id="30" name="Ellipse 29"/>
            <p:cNvSpPr/>
            <p:nvPr/>
          </p:nvSpPr>
          <p:spPr bwMode="gray">
            <a:xfrm>
              <a:off x="5814411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4" name="Picture 22" descr="C:\Users\pieniak\Desktop\wazne\flagi\koliste\Flag of India.png"/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2425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66" name="Gruppieren 702465"/>
          <p:cNvGrpSpPr/>
          <p:nvPr/>
        </p:nvGrpSpPr>
        <p:grpSpPr>
          <a:xfrm>
            <a:off x="6486024" y="5013176"/>
            <a:ext cx="252028" cy="336037"/>
            <a:chOff x="6462198" y="3615866"/>
            <a:chExt cx="252028" cy="252028"/>
          </a:xfrm>
        </p:grpSpPr>
        <p:sp>
          <p:nvSpPr>
            <p:cNvPr id="31" name="Ellipse 30"/>
            <p:cNvSpPr/>
            <p:nvPr/>
          </p:nvSpPr>
          <p:spPr bwMode="gray">
            <a:xfrm>
              <a:off x="646219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5" name="Picture 23" descr="C:\Users\pieniak\Desktop\wazne\flagi\koliste\Flag of South Africa.png"/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021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02468" name="Gruppieren 702467"/>
          <p:cNvGrpSpPr/>
          <p:nvPr/>
        </p:nvGrpSpPr>
        <p:grpSpPr>
          <a:xfrm>
            <a:off x="6143986" y="5013176"/>
            <a:ext cx="252028" cy="336037"/>
            <a:chOff x="6138162" y="3615866"/>
            <a:chExt cx="252028" cy="252028"/>
          </a:xfrm>
        </p:grpSpPr>
        <p:sp>
          <p:nvSpPr>
            <p:cNvPr id="32" name="Ellipse 31"/>
            <p:cNvSpPr/>
            <p:nvPr/>
          </p:nvSpPr>
          <p:spPr bwMode="gray">
            <a:xfrm>
              <a:off x="6138162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6" name="Picture 24" descr="C:\Users\pieniak\Desktop\wazne\flagi\koliste\Flag of Ukraine.png"/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9" name="Rechteck 78"/>
          <p:cNvSpPr/>
          <p:nvPr/>
        </p:nvSpPr>
        <p:spPr bwMode="gray">
          <a:xfrm>
            <a:off x="251400" y="1316488"/>
            <a:ext cx="8568750" cy="5064922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8" name="Rectangle 3"/>
          <p:cNvSpPr txBox="1">
            <a:spLocks noChangeArrowheads="1"/>
          </p:cNvSpPr>
          <p:nvPr/>
        </p:nvSpPr>
        <p:spPr bwMode="gray">
          <a:xfrm>
            <a:off x="305696" y="476590"/>
            <a:ext cx="7679368" cy="768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sz="1800" b="1" dirty="0" smtClean="0"/>
              <a:t>Мир: </a:t>
            </a:r>
            <a:r>
              <a:rPr lang="ru-RU" sz="1800" dirty="0" smtClean="0"/>
              <a:t>Что обычно делают с помощью мобильного телефона в </a:t>
            </a:r>
          </a:p>
          <a:p>
            <a:r>
              <a:rPr lang="ru-RU" sz="1800" dirty="0" smtClean="0"/>
              <a:t>магазине</a:t>
            </a:r>
          </a:p>
          <a:p>
            <a:r>
              <a:rPr lang="ru-RU" sz="1800" b="1" dirty="0"/>
              <a:t>Контактируют с другом или родственником, чтобы посоветоваться</a:t>
            </a:r>
            <a:endParaRPr lang="en-US" sz="1800" b="1" dirty="0"/>
          </a:p>
        </p:txBody>
      </p:sp>
      <p:sp>
        <p:nvSpPr>
          <p:cNvPr id="81" name="Текст 8"/>
          <p:cNvSpPr>
            <a:spLocks noGrp="1"/>
          </p:cNvSpPr>
          <p:nvPr>
            <p:ph type="body" sz="quarter" idx="12"/>
          </p:nvPr>
        </p:nvSpPr>
        <p:spPr>
          <a:xfrm>
            <a:off x="323410" y="6407786"/>
            <a:ext cx="8496300" cy="192616"/>
          </a:xfrm>
        </p:spPr>
        <p:txBody>
          <a:bodyPr/>
          <a:lstStyle/>
          <a:p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точник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следовани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GfK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среди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боле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2</a:t>
            </a:r>
            <a:r>
              <a:rPr lang="ru-RU" altLang="uk-UA" sz="1100" i="1" dirty="0">
                <a:solidFill>
                  <a:schemeClr val="tx1"/>
                </a:solidFill>
                <a:latin typeface="+mn-lt"/>
                <a:cs typeface="+mn-cs"/>
              </a:rPr>
              <a:t>5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000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пользователей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мобильных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телефонов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(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старше 15 лет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в 23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транах</a:t>
            </a:r>
            <a:endParaRPr lang="en-US" altLang="uk-UA" sz="11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475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Textfeld 630"/>
          <p:cNvSpPr txBox="1"/>
          <p:nvPr/>
        </p:nvSpPr>
        <p:spPr bwMode="gray">
          <a:xfrm>
            <a:off x="7074460" y="1340710"/>
            <a:ext cx="1547990" cy="1416215"/>
          </a:xfrm>
          <a:prstGeom prst="rect">
            <a:avLst/>
          </a:prstGeom>
          <a:solidFill>
            <a:schemeClr val="bg1"/>
          </a:solidFill>
        </p:spPr>
        <p:txBody>
          <a:bodyPr wrap="square" lIns="144000" tIns="72000" rIns="72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ru-RU" sz="1000" dirty="0">
                <a:solidFill>
                  <a:schemeClr val="tx1"/>
                </a:solidFill>
              </a:rPr>
              <a:t>у</a:t>
            </a:r>
            <a:r>
              <a:rPr lang="ru-RU" sz="1000" dirty="0" smtClean="0">
                <a:solidFill>
                  <a:schemeClr val="tx1"/>
                </a:solidFill>
              </a:rPr>
              <a:t>краинских пользователей мобильных телефонов контактируют </a:t>
            </a:r>
            <a:r>
              <a:rPr lang="ru-RU" sz="1000" dirty="0">
                <a:solidFill>
                  <a:schemeClr val="tx1"/>
                </a:solidFill>
              </a:rPr>
              <a:t>с другом или родственником, чтобы посоветоваться, </a:t>
            </a:r>
            <a:r>
              <a:rPr lang="ru-RU" sz="1000" dirty="0" smtClean="0">
                <a:solidFill>
                  <a:schemeClr val="tx1"/>
                </a:solidFill>
              </a:rPr>
              <a:t>находясь в магазине</a:t>
            </a:r>
            <a:endParaRPr lang="en-US" sz="1000" dirty="0">
              <a:solidFill>
                <a:schemeClr val="tx1"/>
              </a:solidFill>
            </a:endParaRP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296292894"/>
              </p:ext>
            </p:extLst>
          </p:nvPr>
        </p:nvGraphicFramePr>
        <p:xfrm>
          <a:off x="179513" y="1124680"/>
          <a:ext cx="5616575" cy="5184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Rechteck 17"/>
          <p:cNvSpPr/>
          <p:nvPr/>
        </p:nvSpPr>
        <p:spPr bwMode="gray">
          <a:xfrm>
            <a:off x="5508104" y="2824480"/>
            <a:ext cx="3312046" cy="651685"/>
          </a:xfrm>
          <a:prstGeom prst="rect">
            <a:avLst/>
          </a:prstGeom>
          <a:pattFill prst="wdDnDiag">
            <a:fgClr>
              <a:schemeClr val="accent1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hteck 18"/>
          <p:cNvSpPr/>
          <p:nvPr/>
        </p:nvSpPr>
        <p:spPr bwMode="gray">
          <a:xfrm>
            <a:off x="5508104" y="1316565"/>
            <a:ext cx="3312046" cy="2160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flipH="1" flipV="1">
            <a:off x="8748472" y="2180167"/>
            <a:ext cx="72000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 flipH="1" flipV="1">
            <a:off x="8748472" y="1988840"/>
            <a:ext cx="72000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 flipH="1" flipV="1">
            <a:off x="8748472" y="1796819"/>
            <a:ext cx="72000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 flipH="1" flipV="1">
            <a:off x="8748472" y="1604797"/>
            <a:ext cx="72000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flipH="1" flipV="1">
            <a:off x="8748472" y="3140273"/>
            <a:ext cx="72000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 flipH="1" flipV="1">
            <a:off x="8748472" y="2948947"/>
            <a:ext cx="72000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 flipH="1" flipV="1">
            <a:off x="8748472" y="2756925"/>
            <a:ext cx="72000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 flipH="1" flipV="1">
            <a:off x="8748472" y="2564904"/>
            <a:ext cx="72000" cy="0"/>
          </a:xfrm>
          <a:prstGeom prst="line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 bwMode="gray">
          <a:xfrm>
            <a:off x="8460432" y="1364771"/>
            <a:ext cx="324036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spcBef>
                <a:spcPts val="300"/>
              </a:spcBef>
              <a:buFont typeface="Courier New" pitchFamily="49" charset="0"/>
              <a:buNone/>
            </a:pPr>
            <a:r>
              <a:rPr lang="en-US" sz="7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100%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8460432" y="3284984"/>
            <a:ext cx="324036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spcBef>
                <a:spcPts val="300"/>
              </a:spcBef>
              <a:buFont typeface="Courier New" pitchFamily="49" charset="0"/>
              <a:buNone/>
            </a:pPr>
            <a:r>
              <a:rPr lang="en-US" sz="7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0%</a:t>
            </a:r>
          </a:p>
        </p:txBody>
      </p:sp>
      <p:sp>
        <p:nvSpPr>
          <p:cNvPr id="36" name="Rechteck 35"/>
          <p:cNvSpPr/>
          <p:nvPr/>
        </p:nvSpPr>
        <p:spPr bwMode="gray">
          <a:xfrm>
            <a:off x="8460432" y="2300776"/>
            <a:ext cx="324036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spcBef>
                <a:spcPts val="300"/>
              </a:spcBef>
              <a:buFont typeface="Courier New" pitchFamily="49" charset="0"/>
              <a:buNone/>
            </a:pPr>
            <a:r>
              <a:rPr lang="en-US" sz="700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50%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323528" y="1316567"/>
            <a:ext cx="5112568" cy="4992832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 bwMode="gray">
          <a:xfrm>
            <a:off x="323528" y="1316766"/>
            <a:ext cx="5112568" cy="4800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uk-UA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озрастные</a:t>
            </a:r>
            <a:r>
              <a:rPr lang="uk-UA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uk-UA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группы</a:t>
            </a:r>
            <a:endParaRPr lang="uk-UA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246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323850" y="428550"/>
            <a:ext cx="7920659" cy="768140"/>
          </a:xfrm>
        </p:spPr>
        <p:txBody>
          <a:bodyPr/>
          <a:lstStyle/>
          <a:p>
            <a:r>
              <a:rPr lang="ru-RU" sz="1800" b="1" dirty="0"/>
              <a:t>Украина: </a:t>
            </a:r>
            <a:r>
              <a:rPr lang="ru-RU" sz="1800" dirty="0" smtClean="0"/>
              <a:t>Что обычно делают </a:t>
            </a:r>
            <a:r>
              <a:rPr lang="ru-RU" sz="1800" dirty="0"/>
              <a:t>с помощью мобильного </a:t>
            </a:r>
            <a:r>
              <a:rPr lang="ru-RU" sz="1800" dirty="0" smtClean="0"/>
              <a:t>телефона </a:t>
            </a:r>
            <a:br>
              <a:rPr lang="ru-RU" sz="1800" dirty="0" smtClean="0"/>
            </a:br>
            <a:r>
              <a:rPr lang="ru-RU" sz="1800" dirty="0" smtClean="0"/>
              <a:t>в магазине</a:t>
            </a:r>
            <a:br>
              <a:rPr lang="ru-RU" sz="1800" dirty="0" smtClean="0"/>
            </a:br>
            <a:r>
              <a:rPr lang="ru-RU" sz="1800" b="1" dirty="0" smtClean="0"/>
              <a:t>Контактируют </a:t>
            </a:r>
            <a:r>
              <a:rPr lang="ru-RU" sz="1800" b="1" dirty="0"/>
              <a:t>с другом или родственником, чтобы </a:t>
            </a:r>
            <a:r>
              <a:rPr lang="ru-RU" sz="1800" b="1" dirty="0" smtClean="0"/>
              <a:t/>
            </a:r>
            <a:br>
              <a:rPr lang="ru-RU" sz="1800" b="1" dirty="0" smtClean="0"/>
            </a:br>
            <a:r>
              <a:rPr lang="ru-RU" sz="1800" b="1" dirty="0" smtClean="0"/>
              <a:t>посоветоваться</a:t>
            </a:r>
            <a:endParaRPr lang="en-US" sz="18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5508104" y="3573016"/>
            <a:ext cx="3312046" cy="273676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6" name="Oval 22"/>
          <p:cNvSpPr>
            <a:spLocks noChangeAspect="1" noChangeArrowheads="1"/>
          </p:cNvSpPr>
          <p:nvPr/>
        </p:nvSpPr>
        <p:spPr bwMode="gray">
          <a:xfrm>
            <a:off x="6550975" y="4561780"/>
            <a:ext cx="613151" cy="1296000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Oval 8"/>
          <p:cNvSpPr>
            <a:spLocks noChangeAspect="1" noChangeArrowheads="1"/>
          </p:cNvSpPr>
          <p:nvPr/>
        </p:nvSpPr>
        <p:spPr bwMode="gray">
          <a:xfrm>
            <a:off x="7331565" y="4513780"/>
            <a:ext cx="552895" cy="1344000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Textfeld 27"/>
          <p:cNvSpPr txBox="1"/>
          <p:nvPr/>
        </p:nvSpPr>
        <p:spPr bwMode="gray">
          <a:xfrm>
            <a:off x="7416460" y="5184982"/>
            <a:ext cx="1296000" cy="672799"/>
          </a:xfrm>
          <a:prstGeom prst="rect">
            <a:avLst/>
          </a:prstGeom>
          <a:noFill/>
        </p:spPr>
        <p:txBody>
          <a:bodyPr wrap="square" lIns="540000" tIns="108000" rIns="144000" bIns="0" rtlCol="0" anchor="b" anchorCtr="0">
            <a:noAutofit/>
          </a:bodyPr>
          <a:lstStyle/>
          <a:p>
            <a:pPr lvl="0">
              <a:lnSpc>
                <a:spcPct val="90000"/>
              </a:lnSpc>
              <a:spcAft>
                <a:spcPts val="300"/>
              </a:spcAft>
            </a:pPr>
            <a:r>
              <a:rPr lang="en-US" sz="2000" b="1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28%</a:t>
            </a:r>
            <a:endParaRPr lang="en-US" sz="100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Textfeld 28"/>
          <p:cNvSpPr txBox="1"/>
          <p:nvPr/>
        </p:nvSpPr>
        <p:spPr bwMode="gray">
          <a:xfrm>
            <a:off x="5669208" y="5184833"/>
            <a:ext cx="1296000" cy="672948"/>
          </a:xfrm>
          <a:prstGeom prst="rect">
            <a:avLst/>
          </a:prstGeom>
          <a:noFill/>
        </p:spPr>
        <p:txBody>
          <a:bodyPr wrap="square" lIns="144000" tIns="108000" rIns="468000" bIns="0" rtlCol="0" anchor="b" anchorCtr="0">
            <a:noAutofit/>
          </a:bodyPr>
          <a:lstStyle/>
          <a:p>
            <a:pPr lvl="0" algn="r">
              <a:lnSpc>
                <a:spcPct val="90000"/>
              </a:lnSpc>
              <a:spcAft>
                <a:spcPts val="300"/>
              </a:spcAft>
            </a:pPr>
            <a:r>
              <a:rPr lang="en-US" sz="2000" b="1" dirty="0" smtClean="0">
                <a:solidFill>
                  <a:schemeClr val="bg2"/>
                </a:solidFill>
              </a:rPr>
              <a:t>27%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36" name="Textfeld 631"/>
          <p:cNvSpPr txBox="1"/>
          <p:nvPr/>
        </p:nvSpPr>
        <p:spPr bwMode="gray">
          <a:xfrm>
            <a:off x="6192838" y="1460500"/>
            <a:ext cx="1187450" cy="719667"/>
          </a:xfrm>
          <a:prstGeom prst="rect">
            <a:avLst/>
          </a:prstGeom>
          <a:noFill/>
        </p:spPr>
        <p:txBody>
          <a:bodyPr wrap="square" lIns="144000" tIns="72000" rIns="14400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4000" dirty="0" smtClean="0">
                <a:solidFill>
                  <a:schemeClr val="accent1"/>
                </a:solidFill>
              </a:rPr>
              <a:t>28</a:t>
            </a:r>
            <a:r>
              <a:rPr lang="en-US" sz="2400" dirty="0" smtClean="0">
                <a:solidFill>
                  <a:schemeClr val="accent1"/>
                </a:solidFill>
              </a:rPr>
              <a:t>%</a:t>
            </a:r>
            <a:endParaRPr lang="en-US" sz="2400" dirty="0">
              <a:solidFill>
                <a:schemeClr val="accent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1345040"/>
            <a:ext cx="737096" cy="1440000"/>
          </a:xfrm>
          <a:prstGeom prst="roundRect">
            <a:avLst/>
          </a:prstGeom>
        </p:spPr>
      </p:pic>
      <p:pic>
        <p:nvPicPr>
          <p:cNvPr id="37" name="Picture 7" descr="© INSCALE GmbH, 14.06.20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667" y="1351961"/>
            <a:ext cx="512478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Текст 8"/>
          <p:cNvSpPr>
            <a:spLocks noGrp="1"/>
          </p:cNvSpPr>
          <p:nvPr>
            <p:ph type="body" sz="quarter" idx="12"/>
          </p:nvPr>
        </p:nvSpPr>
        <p:spPr>
          <a:xfrm>
            <a:off x="323410" y="6404824"/>
            <a:ext cx="8496300" cy="192616"/>
          </a:xfrm>
        </p:spPr>
        <p:txBody>
          <a:bodyPr/>
          <a:lstStyle/>
          <a:p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точник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следовани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GfK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среди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боле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2</a:t>
            </a:r>
            <a:r>
              <a:rPr lang="ru-RU" altLang="uk-UA" sz="1100" i="1" dirty="0">
                <a:solidFill>
                  <a:schemeClr val="tx1"/>
                </a:solidFill>
                <a:latin typeface="+mn-lt"/>
                <a:cs typeface="+mn-cs"/>
              </a:rPr>
              <a:t>5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000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пользователей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мобильных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телефонов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(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старше 15 лет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в 23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транах</a:t>
            </a:r>
            <a:endParaRPr lang="en-US" altLang="uk-UA" sz="11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0573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1112006665"/>
              </p:ext>
            </p:extLst>
          </p:nvPr>
        </p:nvGraphicFramePr>
        <p:xfrm>
          <a:off x="323850" y="1124680"/>
          <a:ext cx="8304290" cy="5280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259" y="1412920"/>
            <a:ext cx="762205" cy="1440000"/>
          </a:xfrm>
          <a:prstGeom prst="roundRect">
            <a:avLst/>
          </a:prstGeom>
        </p:spPr>
      </p:pic>
      <p:grpSp>
        <p:nvGrpSpPr>
          <p:cNvPr id="9" name="Gruppieren 8"/>
          <p:cNvGrpSpPr/>
          <p:nvPr/>
        </p:nvGrpSpPr>
        <p:grpSpPr>
          <a:xfrm>
            <a:off x="2454445" y="5013220"/>
            <a:ext cx="252028" cy="336037"/>
            <a:chOff x="3078069" y="3615866"/>
            <a:chExt cx="252028" cy="252028"/>
          </a:xfrm>
        </p:grpSpPr>
        <p:sp>
          <p:nvSpPr>
            <p:cNvPr id="10" name="Ellipse 9"/>
            <p:cNvSpPr/>
            <p:nvPr/>
          </p:nvSpPr>
          <p:spPr bwMode="gray">
            <a:xfrm>
              <a:off x="3078069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1" name="Picture 2" descr="Flag of South Korea.sv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104260" y="3646606"/>
              <a:ext cx="198630" cy="190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Ellipse 12"/>
            <p:cNvSpPr/>
            <p:nvPr/>
          </p:nvSpPr>
          <p:spPr bwMode="gray">
            <a:xfrm>
              <a:off x="3078069" y="3615866"/>
              <a:ext cx="252028" cy="252028"/>
            </a:xfrm>
            <a:prstGeom prst="ellipse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1085137" y="5013220"/>
            <a:ext cx="252028" cy="336037"/>
            <a:chOff x="1709670" y="3615866"/>
            <a:chExt cx="252028" cy="252028"/>
          </a:xfrm>
        </p:grpSpPr>
        <p:sp>
          <p:nvSpPr>
            <p:cNvPr id="15" name="Ellipse 14"/>
            <p:cNvSpPr/>
            <p:nvPr/>
          </p:nvSpPr>
          <p:spPr bwMode="gray">
            <a:xfrm>
              <a:off x="170967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6" name="Picture 3" descr="C:\Users\pieniak\Desktop\wazne\flagi\koliste\Flag of China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768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uppieren 16"/>
          <p:cNvGrpSpPr/>
          <p:nvPr/>
        </p:nvGrpSpPr>
        <p:grpSpPr>
          <a:xfrm>
            <a:off x="1427464" y="5013220"/>
            <a:ext cx="252028" cy="336037"/>
            <a:chOff x="1349630" y="3615866"/>
            <a:chExt cx="252028" cy="252028"/>
          </a:xfrm>
        </p:grpSpPr>
        <p:sp>
          <p:nvSpPr>
            <p:cNvPr id="18" name="Ellipse 17"/>
            <p:cNvSpPr/>
            <p:nvPr/>
          </p:nvSpPr>
          <p:spPr bwMode="gray">
            <a:xfrm>
              <a:off x="134963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9" name="Picture 4" descr="C:\Users\pieniak\Desktop\wazne\flagi\koliste\Flag of Turkey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764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uppieren 19"/>
          <p:cNvGrpSpPr/>
          <p:nvPr/>
        </p:nvGrpSpPr>
        <p:grpSpPr>
          <a:xfrm>
            <a:off x="2112118" y="5013220"/>
            <a:ext cx="252028" cy="336037"/>
            <a:chOff x="2393746" y="3615866"/>
            <a:chExt cx="252028" cy="252028"/>
          </a:xfrm>
        </p:grpSpPr>
        <p:sp>
          <p:nvSpPr>
            <p:cNvPr id="21" name="Ellipse 20"/>
            <p:cNvSpPr/>
            <p:nvPr/>
          </p:nvSpPr>
          <p:spPr bwMode="gray">
            <a:xfrm>
              <a:off x="2393746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2" name="Picture 5" descr="C:\Users\pieniak\Desktop\wazne\flagi\koliste\Flag of Brazil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1760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uppieren 22"/>
          <p:cNvGrpSpPr/>
          <p:nvPr/>
        </p:nvGrpSpPr>
        <p:grpSpPr>
          <a:xfrm>
            <a:off x="742810" y="5013220"/>
            <a:ext cx="252028" cy="336037"/>
            <a:chOff x="665554" y="3615866"/>
            <a:chExt cx="252028" cy="252028"/>
          </a:xfrm>
        </p:grpSpPr>
        <p:sp>
          <p:nvSpPr>
            <p:cNvPr id="24" name="Ellipse 23"/>
            <p:cNvSpPr/>
            <p:nvPr/>
          </p:nvSpPr>
          <p:spPr bwMode="gray">
            <a:xfrm>
              <a:off x="66555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5" name="Picture 6" descr="C:\Users\pieniak\Desktop\wazne\flagi\koliste\Flag of Mexico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uppieren 25"/>
          <p:cNvGrpSpPr/>
          <p:nvPr/>
        </p:nvGrpSpPr>
        <p:grpSpPr>
          <a:xfrm>
            <a:off x="2796772" y="5013220"/>
            <a:ext cx="252028" cy="336037"/>
            <a:chOff x="2717782" y="3615866"/>
            <a:chExt cx="252028" cy="252028"/>
          </a:xfrm>
        </p:grpSpPr>
        <p:sp>
          <p:nvSpPr>
            <p:cNvPr id="27" name="Ellipse 26"/>
            <p:cNvSpPr/>
            <p:nvPr/>
          </p:nvSpPr>
          <p:spPr bwMode="gray">
            <a:xfrm>
              <a:off x="2717782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8" name="Picture 7" descr="C:\Users\pieniak\Desktop\wazne\flagi\koliste\Flag of Argentina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5796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Gruppieren 28"/>
          <p:cNvGrpSpPr/>
          <p:nvPr/>
        </p:nvGrpSpPr>
        <p:grpSpPr>
          <a:xfrm>
            <a:off x="5209995" y="5013220"/>
            <a:ext cx="252028" cy="336037"/>
            <a:chOff x="4404464" y="3615866"/>
            <a:chExt cx="252028" cy="252028"/>
          </a:xfrm>
        </p:grpSpPr>
        <p:sp>
          <p:nvSpPr>
            <p:cNvPr id="30" name="Ellipse 29"/>
            <p:cNvSpPr/>
            <p:nvPr/>
          </p:nvSpPr>
          <p:spPr bwMode="gray">
            <a:xfrm>
              <a:off x="440446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1" name="Picture 8" descr="C:\Users\pieniak\Desktop\wazne\flagi\koliste\Flag of Italy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247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uppieren 31"/>
          <p:cNvGrpSpPr/>
          <p:nvPr/>
        </p:nvGrpSpPr>
        <p:grpSpPr>
          <a:xfrm>
            <a:off x="3139099" y="5013220"/>
            <a:ext cx="252028" cy="336037"/>
            <a:chOff x="3401858" y="3615866"/>
            <a:chExt cx="252028" cy="252028"/>
          </a:xfrm>
        </p:grpSpPr>
        <p:sp>
          <p:nvSpPr>
            <p:cNvPr id="33" name="Ellipse 32"/>
            <p:cNvSpPr/>
            <p:nvPr/>
          </p:nvSpPr>
          <p:spPr bwMode="gray">
            <a:xfrm>
              <a:off x="340185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4" name="Picture 9" descr="C:\Users\pieniak\Desktop\wazne\flagi\koliste\Flag of United States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987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uppieren 34"/>
          <p:cNvGrpSpPr/>
          <p:nvPr/>
        </p:nvGrpSpPr>
        <p:grpSpPr>
          <a:xfrm>
            <a:off x="1769791" y="5013220"/>
            <a:ext cx="252028" cy="336037"/>
            <a:chOff x="3761898" y="3615866"/>
            <a:chExt cx="252028" cy="252028"/>
          </a:xfrm>
        </p:grpSpPr>
        <p:sp>
          <p:nvSpPr>
            <p:cNvPr id="36" name="Ellipse 35"/>
            <p:cNvSpPr/>
            <p:nvPr/>
          </p:nvSpPr>
          <p:spPr bwMode="gray">
            <a:xfrm>
              <a:off x="376189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7" name="Picture 10" descr="C:\Users\pieniak\Desktop\wazne\flagi\koliste\Flag of Spain.pn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991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Gruppieren 37"/>
          <p:cNvGrpSpPr/>
          <p:nvPr/>
        </p:nvGrpSpPr>
        <p:grpSpPr>
          <a:xfrm>
            <a:off x="3481426" y="5013220"/>
            <a:ext cx="252028" cy="336037"/>
            <a:chOff x="2069710" y="3615866"/>
            <a:chExt cx="252028" cy="252028"/>
          </a:xfrm>
        </p:grpSpPr>
        <p:sp>
          <p:nvSpPr>
            <p:cNvPr id="39" name="Ellipse 38"/>
            <p:cNvSpPr/>
            <p:nvPr/>
          </p:nvSpPr>
          <p:spPr bwMode="gray">
            <a:xfrm>
              <a:off x="206971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0" name="Picture 11" descr="C:\Users\pieniak\Desktop\wazne\flagi\koliste\Flag of Russia.pn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772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uppieren 40"/>
          <p:cNvGrpSpPr/>
          <p:nvPr/>
        </p:nvGrpSpPr>
        <p:grpSpPr>
          <a:xfrm>
            <a:off x="3823753" y="5013220"/>
            <a:ext cx="252028" cy="336037"/>
            <a:chOff x="4085934" y="3615866"/>
            <a:chExt cx="252028" cy="252028"/>
          </a:xfrm>
        </p:grpSpPr>
        <p:sp>
          <p:nvSpPr>
            <p:cNvPr id="42" name="Ellipse 41"/>
            <p:cNvSpPr/>
            <p:nvPr/>
          </p:nvSpPr>
          <p:spPr bwMode="gray">
            <a:xfrm>
              <a:off x="408593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3" name="Picture 12" descr="C:\Users\pieniak\Desktop\wazne\flagi\koliste\Flag of Australia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394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uppieren 43"/>
          <p:cNvGrpSpPr/>
          <p:nvPr/>
        </p:nvGrpSpPr>
        <p:grpSpPr>
          <a:xfrm>
            <a:off x="4867668" y="5013220"/>
            <a:ext cx="252028" cy="336037"/>
            <a:chOff x="7146274" y="3615866"/>
            <a:chExt cx="252028" cy="252028"/>
          </a:xfrm>
        </p:grpSpPr>
        <p:sp>
          <p:nvSpPr>
            <p:cNvPr id="45" name="Ellipse 44"/>
            <p:cNvSpPr/>
            <p:nvPr/>
          </p:nvSpPr>
          <p:spPr bwMode="gray">
            <a:xfrm>
              <a:off x="714627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6" name="Picture 13" descr="C:\Users\pieniak\Desktop\wazne\flagi\koliste\Flag of Sweden.png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28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7" name="Gruppieren 46"/>
          <p:cNvGrpSpPr/>
          <p:nvPr/>
        </p:nvGrpSpPr>
        <p:grpSpPr>
          <a:xfrm>
            <a:off x="7255490" y="5013220"/>
            <a:ext cx="252028" cy="336037"/>
            <a:chOff x="8190390" y="3615866"/>
            <a:chExt cx="252028" cy="252028"/>
          </a:xfrm>
        </p:grpSpPr>
        <p:sp>
          <p:nvSpPr>
            <p:cNvPr id="48" name="Ellipse 47"/>
            <p:cNvSpPr/>
            <p:nvPr/>
          </p:nvSpPr>
          <p:spPr bwMode="gray">
            <a:xfrm>
              <a:off x="819039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9" name="Picture 14" descr="C:\Users\pieniak\Desktop\wazne\flagi\koliste\Flag of Japan.png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840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uppieren 49"/>
          <p:cNvGrpSpPr/>
          <p:nvPr/>
        </p:nvGrpSpPr>
        <p:grpSpPr>
          <a:xfrm>
            <a:off x="4166080" y="5013220"/>
            <a:ext cx="252028" cy="336037"/>
            <a:chOff x="1025594" y="3615866"/>
            <a:chExt cx="252028" cy="252028"/>
          </a:xfrm>
        </p:grpSpPr>
        <p:sp>
          <p:nvSpPr>
            <p:cNvPr id="51" name="Ellipse 50"/>
            <p:cNvSpPr/>
            <p:nvPr/>
          </p:nvSpPr>
          <p:spPr bwMode="gray">
            <a:xfrm>
              <a:off x="102559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2" name="Picture 15" descr="C:\Users\pieniak\Desktop\wazne\flagi\koliste\Flag of Poland.png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0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Gruppieren 52"/>
          <p:cNvGrpSpPr/>
          <p:nvPr/>
        </p:nvGrpSpPr>
        <p:grpSpPr>
          <a:xfrm>
            <a:off x="6570836" y="5013220"/>
            <a:ext cx="252028" cy="336037"/>
            <a:chOff x="6822238" y="3615866"/>
            <a:chExt cx="252028" cy="252028"/>
          </a:xfrm>
        </p:grpSpPr>
        <p:sp>
          <p:nvSpPr>
            <p:cNvPr id="54" name="Ellipse 53"/>
            <p:cNvSpPr/>
            <p:nvPr/>
          </p:nvSpPr>
          <p:spPr bwMode="gray">
            <a:xfrm>
              <a:off x="682223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5" name="Picture 16" descr="C:\Users\pieniak\Desktop\wazne\flagi\koliste\Flag of United Kingdom.png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025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Gruppieren 55"/>
          <p:cNvGrpSpPr/>
          <p:nvPr/>
        </p:nvGrpSpPr>
        <p:grpSpPr>
          <a:xfrm>
            <a:off x="6238841" y="5013220"/>
            <a:ext cx="252028" cy="336037"/>
            <a:chOff x="7541661" y="3615866"/>
            <a:chExt cx="252028" cy="252028"/>
          </a:xfrm>
        </p:grpSpPr>
        <p:sp>
          <p:nvSpPr>
            <p:cNvPr id="57" name="Ellipse 56"/>
            <p:cNvSpPr/>
            <p:nvPr/>
          </p:nvSpPr>
          <p:spPr bwMode="gray">
            <a:xfrm>
              <a:off x="7541661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8" name="Picture 17" descr="C:\Users\pieniak\Desktop\wazne\flagi\koliste\Flag of Germany.png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9675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9" name="Gruppieren 58"/>
          <p:cNvGrpSpPr/>
          <p:nvPr/>
        </p:nvGrpSpPr>
        <p:grpSpPr>
          <a:xfrm>
            <a:off x="5552322" y="5013220"/>
            <a:ext cx="252028" cy="336037"/>
            <a:chOff x="4770010" y="3615866"/>
            <a:chExt cx="252028" cy="252028"/>
          </a:xfrm>
        </p:grpSpPr>
        <p:sp>
          <p:nvSpPr>
            <p:cNvPr id="60" name="Ellipse 59"/>
            <p:cNvSpPr/>
            <p:nvPr/>
          </p:nvSpPr>
          <p:spPr bwMode="gray">
            <a:xfrm>
              <a:off x="477001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1" name="Picture 18" descr="C:\Users\pieniak\Desktop\wazne\flagi\koliste\Flag of France.png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802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" name="Gruppieren 61"/>
          <p:cNvGrpSpPr/>
          <p:nvPr/>
        </p:nvGrpSpPr>
        <p:grpSpPr>
          <a:xfrm>
            <a:off x="7623218" y="5013220"/>
            <a:ext cx="252028" cy="336037"/>
            <a:chOff x="7866354" y="3615866"/>
            <a:chExt cx="252028" cy="252028"/>
          </a:xfrm>
        </p:grpSpPr>
        <p:sp>
          <p:nvSpPr>
            <p:cNvPr id="63" name="Ellipse 62"/>
            <p:cNvSpPr/>
            <p:nvPr/>
          </p:nvSpPr>
          <p:spPr bwMode="gray">
            <a:xfrm>
              <a:off x="786635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4" name="Picture 19" descr="C:\Users\pieniak\Desktop\wazne\flagi\koliste\Flag of Indonesia.png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436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" name="Gruppieren 64"/>
          <p:cNvGrpSpPr/>
          <p:nvPr/>
        </p:nvGrpSpPr>
        <p:grpSpPr>
          <a:xfrm>
            <a:off x="4525341" y="5013220"/>
            <a:ext cx="252028" cy="336037"/>
            <a:chOff x="5130050" y="3615866"/>
            <a:chExt cx="252028" cy="252028"/>
          </a:xfrm>
        </p:grpSpPr>
        <p:sp>
          <p:nvSpPr>
            <p:cNvPr id="66" name="Ellipse 65"/>
            <p:cNvSpPr/>
            <p:nvPr/>
          </p:nvSpPr>
          <p:spPr bwMode="gray">
            <a:xfrm>
              <a:off x="513005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7" name="Picture 20" descr="C:\Users\pieniak\Desktop\wazne\flagi\koliste\Flag of Canada.png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806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uppieren 67"/>
          <p:cNvGrpSpPr/>
          <p:nvPr/>
        </p:nvGrpSpPr>
        <p:grpSpPr>
          <a:xfrm>
            <a:off x="5903116" y="5013220"/>
            <a:ext cx="252028" cy="336037"/>
            <a:chOff x="5454086" y="3615866"/>
            <a:chExt cx="252028" cy="252028"/>
          </a:xfrm>
        </p:grpSpPr>
        <p:sp>
          <p:nvSpPr>
            <p:cNvPr id="69" name="Ellipse 68"/>
            <p:cNvSpPr/>
            <p:nvPr/>
          </p:nvSpPr>
          <p:spPr bwMode="gray">
            <a:xfrm>
              <a:off x="5454086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0" name="Picture 21" descr="C:\Users\pieniak\Desktop\wazne\flagi\koliste\Flag of Belgium.png"/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2100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1" name="Gruppieren 70"/>
          <p:cNvGrpSpPr/>
          <p:nvPr/>
        </p:nvGrpSpPr>
        <p:grpSpPr>
          <a:xfrm>
            <a:off x="8307880" y="5013220"/>
            <a:ext cx="252028" cy="336037"/>
            <a:chOff x="5814411" y="3615866"/>
            <a:chExt cx="252028" cy="252028"/>
          </a:xfrm>
        </p:grpSpPr>
        <p:sp>
          <p:nvSpPr>
            <p:cNvPr id="72" name="Ellipse 71"/>
            <p:cNvSpPr/>
            <p:nvPr/>
          </p:nvSpPr>
          <p:spPr bwMode="gray">
            <a:xfrm>
              <a:off x="5814411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3" name="Picture 22" descr="C:\Users\pieniak\Desktop\wazne\flagi\koliste\Flag of India.png"/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2425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Gruppieren 73"/>
          <p:cNvGrpSpPr/>
          <p:nvPr/>
        </p:nvGrpSpPr>
        <p:grpSpPr>
          <a:xfrm>
            <a:off x="6913163" y="5013220"/>
            <a:ext cx="252028" cy="336037"/>
            <a:chOff x="6462198" y="3615866"/>
            <a:chExt cx="252028" cy="252028"/>
          </a:xfrm>
        </p:grpSpPr>
        <p:sp>
          <p:nvSpPr>
            <p:cNvPr id="75" name="Ellipse 74"/>
            <p:cNvSpPr/>
            <p:nvPr/>
          </p:nvSpPr>
          <p:spPr bwMode="gray">
            <a:xfrm>
              <a:off x="646219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6" name="Picture 23" descr="C:\Users\pieniak\Desktop\wazne\flagi\koliste\Flag of South Africa.png"/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021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Gruppieren 76"/>
          <p:cNvGrpSpPr/>
          <p:nvPr/>
        </p:nvGrpSpPr>
        <p:grpSpPr>
          <a:xfrm>
            <a:off x="7965545" y="5013220"/>
            <a:ext cx="252028" cy="336037"/>
            <a:chOff x="6138162" y="3615866"/>
            <a:chExt cx="252028" cy="252028"/>
          </a:xfrm>
        </p:grpSpPr>
        <p:sp>
          <p:nvSpPr>
            <p:cNvPr id="78" name="Ellipse 77"/>
            <p:cNvSpPr/>
            <p:nvPr/>
          </p:nvSpPr>
          <p:spPr bwMode="gray">
            <a:xfrm>
              <a:off x="6138162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9" name="Picture 24" descr="C:\Users\pieniak\Desktop\wazne\flagi\koliste\Flag of Ukraine.png"/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0" name="Rechteck 79"/>
          <p:cNvSpPr/>
          <p:nvPr/>
        </p:nvSpPr>
        <p:spPr bwMode="gray">
          <a:xfrm>
            <a:off x="251400" y="1316488"/>
            <a:ext cx="8568750" cy="5088925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1" name="Rectangle 3"/>
          <p:cNvSpPr txBox="1">
            <a:spLocks noChangeArrowheads="1"/>
          </p:cNvSpPr>
          <p:nvPr/>
        </p:nvSpPr>
        <p:spPr bwMode="gray">
          <a:xfrm>
            <a:off x="305696" y="284530"/>
            <a:ext cx="7679368" cy="768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sz="1800" b="1" dirty="0" smtClean="0"/>
              <a:t>Мир: </a:t>
            </a:r>
            <a:r>
              <a:rPr lang="ru-RU" sz="1800" dirty="0" smtClean="0"/>
              <a:t>Что обычно делают с помощью мобильного телефона </a:t>
            </a:r>
          </a:p>
          <a:p>
            <a:r>
              <a:rPr lang="ru-RU" sz="1800" dirty="0" smtClean="0"/>
              <a:t>в магазине</a:t>
            </a:r>
          </a:p>
          <a:p>
            <a:r>
              <a:rPr lang="ru-RU" sz="1800" b="1" dirty="0"/>
              <a:t>Фотографируют товары, которые могли бы купить </a:t>
            </a:r>
            <a:endParaRPr lang="en-US" sz="1800" b="1" dirty="0"/>
          </a:p>
        </p:txBody>
      </p:sp>
      <p:sp>
        <p:nvSpPr>
          <p:cNvPr id="84" name="Текст 8"/>
          <p:cNvSpPr>
            <a:spLocks noGrp="1"/>
          </p:cNvSpPr>
          <p:nvPr>
            <p:ph type="body" sz="quarter" idx="12"/>
          </p:nvPr>
        </p:nvSpPr>
        <p:spPr>
          <a:xfrm>
            <a:off x="323410" y="6450458"/>
            <a:ext cx="8496300" cy="192616"/>
          </a:xfrm>
        </p:spPr>
        <p:txBody>
          <a:bodyPr/>
          <a:lstStyle/>
          <a:p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точник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следовани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GfK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среди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боле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2</a:t>
            </a:r>
            <a:r>
              <a:rPr lang="ru-RU" altLang="uk-UA" sz="1100" i="1" dirty="0">
                <a:solidFill>
                  <a:schemeClr val="tx1"/>
                </a:solidFill>
                <a:latin typeface="+mn-lt"/>
                <a:cs typeface="+mn-cs"/>
              </a:rPr>
              <a:t>5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000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пользователей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мобильных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телефонов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(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старше 15 лет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в 23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транах</a:t>
            </a:r>
            <a:endParaRPr lang="en-US" altLang="uk-UA" sz="11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386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711577156"/>
              </p:ext>
            </p:extLst>
          </p:nvPr>
        </p:nvGraphicFramePr>
        <p:xfrm>
          <a:off x="179513" y="1124680"/>
          <a:ext cx="5616575" cy="5184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7" name="Rechteck 36"/>
          <p:cNvSpPr/>
          <p:nvPr/>
        </p:nvSpPr>
        <p:spPr bwMode="gray">
          <a:xfrm>
            <a:off x="5508104" y="3573016"/>
            <a:ext cx="3312046" cy="273676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 bwMode="gray">
          <a:xfrm>
            <a:off x="5508104" y="3078480"/>
            <a:ext cx="3312046" cy="397685"/>
          </a:xfrm>
          <a:prstGeom prst="rect">
            <a:avLst/>
          </a:prstGeom>
          <a:pattFill prst="wdDnDiag">
            <a:fgClr>
              <a:schemeClr val="accent3">
                <a:lumMod val="40000"/>
                <a:lumOff val="60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hteck 18"/>
          <p:cNvSpPr/>
          <p:nvPr/>
        </p:nvSpPr>
        <p:spPr bwMode="gray">
          <a:xfrm>
            <a:off x="5508104" y="1316565"/>
            <a:ext cx="3312046" cy="2160000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flipH="1" flipV="1">
            <a:off x="8748472" y="2180167"/>
            <a:ext cx="72000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 flipH="1" flipV="1">
            <a:off x="8748472" y="1988840"/>
            <a:ext cx="72000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 flipH="1" flipV="1">
            <a:off x="8748472" y="1796819"/>
            <a:ext cx="72000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 flipH="1" flipV="1">
            <a:off x="8748472" y="1604797"/>
            <a:ext cx="72000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flipH="1" flipV="1">
            <a:off x="8748472" y="3140273"/>
            <a:ext cx="72000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 flipH="1" flipV="1">
            <a:off x="8748472" y="2948947"/>
            <a:ext cx="72000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 flipH="1" flipV="1">
            <a:off x="8748472" y="2756925"/>
            <a:ext cx="72000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 flipH="1" flipV="1">
            <a:off x="8748472" y="2564904"/>
            <a:ext cx="72000" cy="0"/>
          </a:xfrm>
          <a:prstGeom prst="line">
            <a:avLst/>
          </a:prstGeom>
          <a:ln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 bwMode="gray">
          <a:xfrm>
            <a:off x="8460432" y="1364771"/>
            <a:ext cx="324036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spcBef>
                <a:spcPts val="300"/>
              </a:spcBef>
              <a:buFont typeface="Courier New" pitchFamily="49" charset="0"/>
              <a:buNone/>
            </a:pPr>
            <a:r>
              <a:rPr lang="en-US" sz="700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100%</a:t>
            </a:r>
          </a:p>
        </p:txBody>
      </p:sp>
      <p:sp>
        <p:nvSpPr>
          <p:cNvPr id="35" name="Rechteck 34"/>
          <p:cNvSpPr/>
          <p:nvPr/>
        </p:nvSpPr>
        <p:spPr bwMode="gray">
          <a:xfrm>
            <a:off x="8460432" y="3284984"/>
            <a:ext cx="324036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spcBef>
                <a:spcPts val="300"/>
              </a:spcBef>
              <a:buFont typeface="Courier New" pitchFamily="49" charset="0"/>
              <a:buNone/>
            </a:pPr>
            <a:r>
              <a:rPr lang="en-US" sz="700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%</a:t>
            </a:r>
          </a:p>
        </p:txBody>
      </p:sp>
      <p:sp>
        <p:nvSpPr>
          <p:cNvPr id="36" name="Rechteck 35"/>
          <p:cNvSpPr/>
          <p:nvPr/>
        </p:nvSpPr>
        <p:spPr bwMode="gray">
          <a:xfrm>
            <a:off x="8460432" y="2300776"/>
            <a:ext cx="324036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spcBef>
                <a:spcPts val="300"/>
              </a:spcBef>
              <a:buFont typeface="Courier New" pitchFamily="49" charset="0"/>
              <a:buNone/>
            </a:pPr>
            <a:r>
              <a:rPr lang="en-US" sz="700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50%</a:t>
            </a:r>
          </a:p>
        </p:txBody>
      </p:sp>
      <p:sp>
        <p:nvSpPr>
          <p:cNvPr id="16" name="Rechteck 15"/>
          <p:cNvSpPr/>
          <p:nvPr/>
        </p:nvSpPr>
        <p:spPr bwMode="gray">
          <a:xfrm>
            <a:off x="323528" y="1316567"/>
            <a:ext cx="5112568" cy="4992832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 bwMode="gray">
          <a:xfrm>
            <a:off x="323528" y="1316766"/>
            <a:ext cx="5112568" cy="48005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uk-UA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озрастные</a:t>
            </a:r>
            <a:r>
              <a:rPr lang="uk-UA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uk-UA" sz="14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группы</a:t>
            </a:r>
            <a:endParaRPr lang="uk-UA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val 22"/>
          <p:cNvSpPr>
            <a:spLocks noChangeAspect="1" noChangeArrowheads="1"/>
          </p:cNvSpPr>
          <p:nvPr/>
        </p:nvSpPr>
        <p:spPr bwMode="gray">
          <a:xfrm>
            <a:off x="6588224" y="5137588"/>
            <a:ext cx="360106" cy="720000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Oval 8"/>
          <p:cNvSpPr>
            <a:spLocks noChangeAspect="1" noChangeArrowheads="1"/>
          </p:cNvSpPr>
          <p:nvPr/>
        </p:nvSpPr>
        <p:spPr bwMode="gray">
          <a:xfrm>
            <a:off x="7452544" y="5329588"/>
            <a:ext cx="215801" cy="528000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Textfeld 27"/>
          <p:cNvSpPr txBox="1"/>
          <p:nvPr/>
        </p:nvSpPr>
        <p:spPr bwMode="gray">
          <a:xfrm>
            <a:off x="7452544" y="5229250"/>
            <a:ext cx="1296000" cy="672799"/>
          </a:xfrm>
          <a:prstGeom prst="rect">
            <a:avLst/>
          </a:prstGeom>
          <a:noFill/>
        </p:spPr>
        <p:txBody>
          <a:bodyPr wrap="square" lIns="540000" tIns="108000" rIns="144000" bIns="0" rtlCol="0" anchor="b" anchorCtr="0">
            <a:noAutofit/>
          </a:bodyPr>
          <a:lstStyle/>
          <a:p>
            <a:pPr lvl="0">
              <a:lnSpc>
                <a:spcPct val="90000"/>
              </a:lnSpc>
              <a:spcAft>
                <a:spcPts val="300"/>
              </a:spcAft>
            </a:pPr>
            <a:r>
              <a:rPr lang="en-US" sz="2000" b="1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11%</a:t>
            </a:r>
            <a:endParaRPr lang="en-US" sz="100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Textfeld 28"/>
          <p:cNvSpPr txBox="1"/>
          <p:nvPr/>
        </p:nvSpPr>
        <p:spPr bwMode="gray">
          <a:xfrm>
            <a:off x="5611314" y="5229250"/>
            <a:ext cx="1296000" cy="672948"/>
          </a:xfrm>
          <a:prstGeom prst="rect">
            <a:avLst/>
          </a:prstGeom>
          <a:noFill/>
        </p:spPr>
        <p:txBody>
          <a:bodyPr wrap="square" lIns="144000" tIns="108000" rIns="468000" bIns="0" rtlCol="0" anchor="b" anchorCtr="0">
            <a:noAutofit/>
          </a:bodyPr>
          <a:lstStyle/>
          <a:p>
            <a:pPr lvl="0" algn="r">
              <a:lnSpc>
                <a:spcPct val="90000"/>
              </a:lnSpc>
              <a:spcAft>
                <a:spcPts val="300"/>
              </a:spcAft>
            </a:pPr>
            <a:r>
              <a:rPr lang="en-US" sz="2000" b="1" dirty="0" smtClean="0">
                <a:solidFill>
                  <a:schemeClr val="bg2"/>
                </a:solidFill>
              </a:rPr>
              <a:t>15%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135" name="Textfeld 630"/>
          <p:cNvSpPr txBox="1"/>
          <p:nvPr/>
        </p:nvSpPr>
        <p:spPr bwMode="gray">
          <a:xfrm>
            <a:off x="7092950" y="1460501"/>
            <a:ext cx="1583620" cy="1176977"/>
          </a:xfrm>
          <a:prstGeom prst="rect">
            <a:avLst/>
          </a:prstGeom>
          <a:noFill/>
        </p:spPr>
        <p:txBody>
          <a:bodyPr wrap="square" lIns="144000" tIns="72000" rIns="72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uk-UA" sz="1000" dirty="0" err="1">
                <a:solidFill>
                  <a:schemeClr val="tx1"/>
                </a:solidFill>
              </a:rPr>
              <a:t>украинских</a:t>
            </a:r>
            <a:r>
              <a:rPr lang="uk-UA" sz="1000" dirty="0">
                <a:solidFill>
                  <a:schemeClr val="tx1"/>
                </a:solidFill>
              </a:rPr>
              <a:t> </a:t>
            </a:r>
            <a:r>
              <a:rPr lang="uk-UA" sz="1000" dirty="0" err="1">
                <a:solidFill>
                  <a:schemeClr val="tx1"/>
                </a:solidFill>
              </a:rPr>
              <a:t>пользователей</a:t>
            </a:r>
            <a:r>
              <a:rPr lang="uk-UA" sz="1000" dirty="0">
                <a:solidFill>
                  <a:schemeClr val="tx1"/>
                </a:solidFill>
              </a:rPr>
              <a:t> </a:t>
            </a:r>
            <a:r>
              <a:rPr lang="uk-UA" sz="1000" dirty="0" err="1">
                <a:solidFill>
                  <a:schemeClr val="tx1"/>
                </a:solidFill>
              </a:rPr>
              <a:t>мобильных</a:t>
            </a:r>
            <a:r>
              <a:rPr lang="uk-UA" sz="1000" dirty="0">
                <a:solidFill>
                  <a:schemeClr val="tx1"/>
                </a:solidFill>
              </a:rPr>
              <a:t> </a:t>
            </a:r>
            <a:r>
              <a:rPr lang="uk-UA" sz="1000" dirty="0" err="1" smtClean="0">
                <a:solidFill>
                  <a:schemeClr val="tx1"/>
                </a:solidFill>
              </a:rPr>
              <a:t>телефонов</a:t>
            </a:r>
            <a:r>
              <a:rPr lang="uk-UA" sz="1000" dirty="0" smtClean="0">
                <a:solidFill>
                  <a:schemeClr val="tx1"/>
                </a:solidFill>
              </a:rPr>
              <a:t> ф</a:t>
            </a:r>
            <a:r>
              <a:rPr lang="ru-RU" sz="1000" dirty="0" err="1" smtClean="0">
                <a:solidFill>
                  <a:schemeClr val="tx1"/>
                </a:solidFill>
              </a:rPr>
              <a:t>отографируют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товары, которые могли бы </a:t>
            </a:r>
            <a:r>
              <a:rPr lang="ru-RU" sz="1000" dirty="0" smtClean="0">
                <a:solidFill>
                  <a:schemeClr val="tx1"/>
                </a:solidFill>
              </a:rPr>
              <a:t>купить, находясь в магазине</a:t>
            </a:r>
            <a:endParaRPr lang="en-US" sz="1000" dirty="0">
              <a:solidFill>
                <a:schemeClr val="tx1"/>
              </a:solidFill>
            </a:endParaRPr>
          </a:p>
          <a:p>
            <a:pPr algn="l"/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uk-UA" sz="1000" dirty="0" smtClean="0">
                <a:solidFill>
                  <a:schemeClr val="tx1"/>
                </a:solidFill>
              </a:rPr>
              <a:t>  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Textfeld 631"/>
          <p:cNvSpPr txBox="1"/>
          <p:nvPr/>
        </p:nvSpPr>
        <p:spPr bwMode="gray">
          <a:xfrm>
            <a:off x="6192838" y="1460501"/>
            <a:ext cx="1331912" cy="719667"/>
          </a:xfrm>
          <a:prstGeom prst="rect">
            <a:avLst/>
          </a:prstGeom>
          <a:noFill/>
        </p:spPr>
        <p:txBody>
          <a:bodyPr wrap="square" lIns="144000" tIns="72000" rIns="14400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4000" dirty="0" smtClean="0">
                <a:solidFill>
                  <a:schemeClr val="accent3"/>
                </a:solidFill>
              </a:rPr>
              <a:t>13</a:t>
            </a:r>
            <a:r>
              <a:rPr lang="en-US" sz="2400" dirty="0" smtClean="0">
                <a:solidFill>
                  <a:schemeClr val="accent3"/>
                </a:solidFill>
              </a:rPr>
              <a:t>%</a:t>
            </a:r>
            <a:endParaRPr lang="en-US" sz="2400" dirty="0">
              <a:solidFill>
                <a:schemeClr val="accent3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1412776"/>
            <a:ext cx="720128" cy="1440000"/>
          </a:xfrm>
          <a:prstGeom prst="roundRect">
            <a:avLst/>
          </a:prstGeom>
        </p:spPr>
      </p:pic>
      <p:pic>
        <p:nvPicPr>
          <p:cNvPr id="30" name="Picture 7" descr="© INSCALE GmbH, 14.06.20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667" y="1351961"/>
            <a:ext cx="512478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tangle 3"/>
          <p:cNvSpPr txBox="1">
            <a:spLocks noChangeArrowheads="1"/>
          </p:cNvSpPr>
          <p:nvPr/>
        </p:nvSpPr>
        <p:spPr bwMode="gray">
          <a:xfrm>
            <a:off x="305696" y="284530"/>
            <a:ext cx="7679368" cy="768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sz="1800" b="1" dirty="0"/>
              <a:t>Украина: </a:t>
            </a:r>
            <a:r>
              <a:rPr lang="ru-RU" sz="1800" dirty="0" smtClean="0"/>
              <a:t>Что обычно делают с помощью мобильного телефона </a:t>
            </a:r>
          </a:p>
          <a:p>
            <a:r>
              <a:rPr lang="ru-RU" sz="1800" dirty="0" smtClean="0"/>
              <a:t>в магазине</a:t>
            </a:r>
          </a:p>
          <a:p>
            <a:r>
              <a:rPr lang="ru-RU" sz="1800" b="1" dirty="0" smtClean="0"/>
              <a:t>Фотографируют </a:t>
            </a:r>
            <a:r>
              <a:rPr lang="ru-RU" sz="1800" b="1" dirty="0"/>
              <a:t>товары, которые </a:t>
            </a:r>
            <a:r>
              <a:rPr lang="ru-RU" sz="1800" b="1" dirty="0" smtClean="0"/>
              <a:t>могли бы купить </a:t>
            </a:r>
            <a:endParaRPr lang="en-US" sz="1800" b="1" dirty="0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12"/>
          </p:nvPr>
        </p:nvSpPr>
        <p:spPr>
          <a:xfrm>
            <a:off x="323410" y="6374243"/>
            <a:ext cx="8496300" cy="192616"/>
          </a:xfrm>
        </p:spPr>
        <p:txBody>
          <a:bodyPr/>
          <a:lstStyle/>
          <a:p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точник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следовани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GfK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среди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боле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2</a:t>
            </a:r>
            <a:r>
              <a:rPr lang="ru-RU" altLang="uk-UA" sz="1100" i="1" dirty="0">
                <a:solidFill>
                  <a:schemeClr val="tx1"/>
                </a:solidFill>
                <a:latin typeface="+mn-lt"/>
                <a:cs typeface="+mn-cs"/>
              </a:rPr>
              <a:t>5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000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пользователей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мобильных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телефонов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(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старше 15 лет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в 23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транах</a:t>
            </a:r>
            <a:endParaRPr lang="en-US" altLang="uk-UA" sz="11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593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3"/>
          <p:cNvSpPr txBox="1">
            <a:spLocks noChangeArrowheads="1"/>
          </p:cNvSpPr>
          <p:nvPr/>
        </p:nvSpPr>
        <p:spPr bwMode="gray">
          <a:xfrm>
            <a:off x="305696" y="260560"/>
            <a:ext cx="7679368" cy="768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sz="1800" b="1" dirty="0" smtClean="0"/>
              <a:t>Мир: </a:t>
            </a:r>
            <a:r>
              <a:rPr lang="ru-RU" sz="1800" dirty="0" smtClean="0"/>
              <a:t>Что обычно делают с помощью мобильного телефона </a:t>
            </a:r>
          </a:p>
          <a:p>
            <a:r>
              <a:rPr lang="ru-RU" sz="1800" dirty="0" smtClean="0"/>
              <a:t>в магазине</a:t>
            </a:r>
          </a:p>
          <a:p>
            <a:r>
              <a:rPr lang="ru-RU" sz="1800" b="1" dirty="0" smtClean="0"/>
              <a:t>Сравнивают цены</a:t>
            </a:r>
            <a:endParaRPr lang="en-US" sz="1800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39" t="18752" r="12706" b="8227"/>
          <a:stretch/>
        </p:blipFill>
        <p:spPr>
          <a:xfrm>
            <a:off x="14636" y="1280888"/>
            <a:ext cx="9108630" cy="4949648"/>
          </a:xfrm>
          <a:prstGeom prst="rect">
            <a:avLst/>
          </a:prstGeom>
        </p:spPr>
      </p:pic>
      <p:sp>
        <p:nvSpPr>
          <p:cNvPr id="43" name="Текст 8"/>
          <p:cNvSpPr>
            <a:spLocks noGrp="1"/>
          </p:cNvSpPr>
          <p:nvPr>
            <p:ph type="body" sz="quarter" idx="12"/>
          </p:nvPr>
        </p:nvSpPr>
        <p:spPr>
          <a:xfrm>
            <a:off x="323410" y="6381410"/>
            <a:ext cx="8496300" cy="192616"/>
          </a:xfrm>
        </p:spPr>
        <p:txBody>
          <a:bodyPr/>
          <a:lstStyle/>
          <a:p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точник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следовани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GfK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среди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боле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2</a:t>
            </a:r>
            <a:r>
              <a:rPr lang="ru-RU" altLang="uk-UA" sz="1100" i="1" dirty="0">
                <a:solidFill>
                  <a:schemeClr val="tx1"/>
                </a:solidFill>
                <a:latin typeface="+mn-lt"/>
                <a:cs typeface="+mn-cs"/>
              </a:rPr>
              <a:t>5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000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пользователей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мобильных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телефонов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(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старше 15 лет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в 23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транах</a:t>
            </a:r>
            <a:endParaRPr lang="en-US" altLang="uk-UA" sz="11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2365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5508104" y="3119120"/>
            <a:ext cx="3312046" cy="357045"/>
          </a:xfrm>
          <a:prstGeom prst="rect">
            <a:avLst/>
          </a:prstGeom>
          <a:pattFill prst="wdDn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hteck 8"/>
          <p:cNvSpPr/>
          <p:nvPr/>
        </p:nvSpPr>
        <p:spPr bwMode="gray">
          <a:xfrm>
            <a:off x="323528" y="1316567"/>
            <a:ext cx="5112568" cy="4992832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458183441"/>
              </p:ext>
            </p:extLst>
          </p:nvPr>
        </p:nvGraphicFramePr>
        <p:xfrm>
          <a:off x="179513" y="1124680"/>
          <a:ext cx="5616575" cy="5184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Rechteck 22"/>
          <p:cNvSpPr/>
          <p:nvPr/>
        </p:nvSpPr>
        <p:spPr bwMode="gray">
          <a:xfrm>
            <a:off x="5508104" y="3573016"/>
            <a:ext cx="3312046" cy="2736768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6" name="Oval 22"/>
          <p:cNvSpPr>
            <a:spLocks noChangeAspect="1" noChangeArrowheads="1"/>
          </p:cNvSpPr>
          <p:nvPr/>
        </p:nvSpPr>
        <p:spPr bwMode="gray">
          <a:xfrm>
            <a:off x="6732241" y="5301064"/>
            <a:ext cx="288099" cy="576000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" name="Oval 8"/>
          <p:cNvSpPr>
            <a:spLocks noChangeAspect="1" noChangeArrowheads="1"/>
          </p:cNvSpPr>
          <p:nvPr/>
        </p:nvSpPr>
        <p:spPr bwMode="gray">
          <a:xfrm>
            <a:off x="7488325" y="5349064"/>
            <a:ext cx="181211" cy="528000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Textfeld 27"/>
          <p:cNvSpPr txBox="1"/>
          <p:nvPr/>
        </p:nvSpPr>
        <p:spPr bwMode="gray">
          <a:xfrm>
            <a:off x="7452464" y="5204266"/>
            <a:ext cx="1296000" cy="672799"/>
          </a:xfrm>
          <a:prstGeom prst="rect">
            <a:avLst/>
          </a:prstGeom>
          <a:noFill/>
        </p:spPr>
        <p:txBody>
          <a:bodyPr wrap="square" lIns="540000" tIns="108000" rIns="144000" bIns="0" rtlCol="0" anchor="b" anchorCtr="0">
            <a:noAutofit/>
          </a:bodyPr>
          <a:lstStyle/>
          <a:p>
            <a:pPr lvl="0">
              <a:lnSpc>
                <a:spcPct val="90000"/>
              </a:lnSpc>
              <a:spcAft>
                <a:spcPts val="300"/>
              </a:spcAft>
            </a:pPr>
            <a:r>
              <a:rPr lang="en-US" sz="2000" b="1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11%</a:t>
            </a:r>
            <a:endParaRPr lang="en-US" sz="100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Textfeld 28"/>
          <p:cNvSpPr txBox="1"/>
          <p:nvPr/>
        </p:nvSpPr>
        <p:spPr bwMode="gray">
          <a:xfrm>
            <a:off x="5652120" y="5204117"/>
            <a:ext cx="1296000" cy="672948"/>
          </a:xfrm>
          <a:prstGeom prst="rect">
            <a:avLst/>
          </a:prstGeom>
          <a:noFill/>
        </p:spPr>
        <p:txBody>
          <a:bodyPr wrap="square" lIns="144000" tIns="108000" rIns="468000" bIns="0" rtlCol="0" anchor="b" anchorCtr="0">
            <a:noAutofit/>
          </a:bodyPr>
          <a:lstStyle/>
          <a:p>
            <a:pPr lvl="0" algn="r">
              <a:lnSpc>
                <a:spcPct val="90000"/>
              </a:lnSpc>
              <a:spcAft>
                <a:spcPts val="300"/>
              </a:spcAft>
            </a:pPr>
            <a:r>
              <a:rPr lang="en-US" sz="2000" b="1" dirty="0" smtClean="0">
                <a:solidFill>
                  <a:schemeClr val="bg2"/>
                </a:solidFill>
              </a:rPr>
              <a:t>12%</a:t>
            </a:r>
            <a:endParaRPr lang="en-US" sz="1000" b="1" dirty="0">
              <a:solidFill>
                <a:schemeClr val="bg2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5508104" y="1316565"/>
            <a:ext cx="3312046" cy="2160000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35" name="Textfeld 630"/>
          <p:cNvSpPr txBox="1"/>
          <p:nvPr/>
        </p:nvSpPr>
        <p:spPr bwMode="gray">
          <a:xfrm>
            <a:off x="7092280" y="1460782"/>
            <a:ext cx="1548286" cy="613383"/>
          </a:xfrm>
          <a:prstGeom prst="rect">
            <a:avLst/>
          </a:prstGeom>
          <a:noFill/>
        </p:spPr>
        <p:txBody>
          <a:bodyPr wrap="square" lIns="144000" tIns="72000" rIns="72000" bIns="7200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/>
            <a:r>
              <a:rPr lang="uk-UA" sz="1000" dirty="0" err="1">
                <a:solidFill>
                  <a:schemeClr val="tx1"/>
                </a:solidFill>
              </a:rPr>
              <a:t>украинских</a:t>
            </a:r>
            <a:r>
              <a:rPr lang="uk-UA" sz="1000" dirty="0">
                <a:solidFill>
                  <a:schemeClr val="tx1"/>
                </a:solidFill>
              </a:rPr>
              <a:t> </a:t>
            </a:r>
            <a:r>
              <a:rPr lang="uk-UA" sz="1000" dirty="0" err="1">
                <a:solidFill>
                  <a:schemeClr val="tx1"/>
                </a:solidFill>
              </a:rPr>
              <a:t>пользователей</a:t>
            </a:r>
            <a:r>
              <a:rPr lang="uk-UA" sz="1000" dirty="0">
                <a:solidFill>
                  <a:schemeClr val="tx1"/>
                </a:solidFill>
              </a:rPr>
              <a:t> </a:t>
            </a:r>
            <a:r>
              <a:rPr lang="uk-UA" sz="1000" dirty="0" err="1">
                <a:solidFill>
                  <a:schemeClr val="tx1"/>
                </a:solidFill>
              </a:rPr>
              <a:t>мобильных</a:t>
            </a:r>
            <a:r>
              <a:rPr lang="uk-UA" sz="1000" dirty="0">
                <a:solidFill>
                  <a:schemeClr val="tx1"/>
                </a:solidFill>
              </a:rPr>
              <a:t> </a:t>
            </a:r>
            <a:r>
              <a:rPr lang="uk-UA" sz="1000" dirty="0" err="1">
                <a:solidFill>
                  <a:schemeClr val="tx1"/>
                </a:solidFill>
              </a:rPr>
              <a:t>телефонов</a:t>
            </a:r>
            <a:r>
              <a:rPr lang="uk-UA" sz="1000" dirty="0">
                <a:solidFill>
                  <a:schemeClr val="tx1"/>
                </a:solidFill>
              </a:rPr>
              <a:t> </a:t>
            </a:r>
            <a:r>
              <a:rPr lang="ru-RU" sz="1000" dirty="0" smtClean="0">
                <a:solidFill>
                  <a:schemeClr val="tx1"/>
                </a:solidFill>
              </a:rPr>
              <a:t>сравнивают цены</a:t>
            </a:r>
            <a:r>
              <a:rPr lang="ru-RU" sz="1000" dirty="0">
                <a:solidFill>
                  <a:schemeClr val="tx1"/>
                </a:solidFill>
              </a:rPr>
              <a:t>, </a:t>
            </a:r>
            <a:r>
              <a:rPr lang="ru-RU" sz="1000" dirty="0" smtClean="0">
                <a:solidFill>
                  <a:schemeClr val="tx1"/>
                </a:solidFill>
              </a:rPr>
              <a:t>находясь в магазине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6" name="Textfeld 631"/>
          <p:cNvSpPr txBox="1"/>
          <p:nvPr/>
        </p:nvSpPr>
        <p:spPr bwMode="gray">
          <a:xfrm>
            <a:off x="6192180" y="1460499"/>
            <a:ext cx="1332000" cy="719668"/>
          </a:xfrm>
          <a:prstGeom prst="rect">
            <a:avLst/>
          </a:prstGeom>
          <a:noFill/>
        </p:spPr>
        <p:txBody>
          <a:bodyPr wrap="square" lIns="144000" tIns="72000" rIns="144000" bIns="0" rtlCol="0" anchor="t" anchorCtr="0">
            <a:noAutofit/>
          </a:bodyPr>
          <a:lstStyle>
            <a:defPPr>
              <a:defRPr lang="de-DE"/>
            </a:defPPr>
            <a:lvl1pPr lvl="0" algn="ctr">
              <a:spcAft>
                <a:spcPts val="600"/>
              </a:spcAft>
              <a:defRPr sz="1200">
                <a:solidFill>
                  <a:prstClr val="black"/>
                </a:solidFill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4000" dirty="0" smtClean="0">
                <a:solidFill>
                  <a:schemeClr val="accent2"/>
                </a:solidFill>
              </a:rPr>
              <a:t>11</a:t>
            </a:r>
            <a:r>
              <a:rPr lang="en-US" sz="2400" dirty="0" smtClean="0">
                <a:solidFill>
                  <a:schemeClr val="accent2"/>
                </a:solidFill>
              </a:rPr>
              <a:t>%</a:t>
            </a:r>
            <a:endParaRPr lang="en-US" sz="2400" dirty="0">
              <a:solidFill>
                <a:schemeClr val="accent2"/>
              </a:solidFill>
            </a:endParaRPr>
          </a:p>
        </p:txBody>
      </p:sp>
      <p:sp>
        <p:nvSpPr>
          <p:cNvPr id="2" name="Rechteck 1"/>
          <p:cNvSpPr/>
          <p:nvPr/>
        </p:nvSpPr>
        <p:spPr bwMode="gray">
          <a:xfrm>
            <a:off x="323528" y="1316766"/>
            <a:ext cx="5112568" cy="48005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defRPr/>
            </a:pPr>
            <a:r>
              <a:rPr lang="uk-UA" altLang="uk-UA" sz="1400" dirty="0" err="1">
                <a:solidFill>
                  <a:schemeClr val="bg1"/>
                </a:solidFill>
                <a:cs typeface="Arial" charset="0"/>
              </a:rPr>
              <a:t>Возрастные</a:t>
            </a:r>
            <a:r>
              <a:rPr lang="uk-UA" altLang="uk-UA" sz="14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uk-UA" altLang="uk-UA" sz="1400" dirty="0" err="1">
                <a:solidFill>
                  <a:schemeClr val="bg1"/>
                </a:solidFill>
                <a:cs typeface="Arial" charset="0"/>
              </a:rPr>
              <a:t>группы</a:t>
            </a:r>
            <a:endParaRPr lang="uk-UA" altLang="uk-UA" sz="1400" dirty="0">
              <a:solidFill>
                <a:schemeClr val="bg1"/>
              </a:solidFill>
              <a:cs typeface="Arial" charset="0"/>
            </a:endParaRPr>
          </a:p>
        </p:txBody>
      </p:sp>
      <p:cxnSp>
        <p:nvCxnSpPr>
          <p:cNvPr id="22" name="Gerade Verbindung 21"/>
          <p:cNvCxnSpPr/>
          <p:nvPr/>
        </p:nvCxnSpPr>
        <p:spPr>
          <a:xfrm flipH="1" flipV="1">
            <a:off x="8748472" y="2180167"/>
            <a:ext cx="72000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 flipH="1" flipV="1">
            <a:off x="8748472" y="1988840"/>
            <a:ext cx="72000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 flipH="1" flipV="1">
            <a:off x="8748472" y="1796819"/>
            <a:ext cx="72000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 flipH="1" flipV="1">
            <a:off x="8748472" y="1604797"/>
            <a:ext cx="72000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 flipH="1" flipV="1">
            <a:off x="8748472" y="3140273"/>
            <a:ext cx="72000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 flipH="1" flipV="1">
            <a:off x="8748472" y="2948947"/>
            <a:ext cx="72000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 flipH="1" flipV="1">
            <a:off x="8748472" y="2756925"/>
            <a:ext cx="72000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 flipH="1" flipV="1">
            <a:off x="8748472" y="2564904"/>
            <a:ext cx="72000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/>
          <p:cNvSpPr/>
          <p:nvPr/>
        </p:nvSpPr>
        <p:spPr bwMode="gray">
          <a:xfrm>
            <a:off x="8460432" y="1364771"/>
            <a:ext cx="324036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spcBef>
                <a:spcPts val="300"/>
              </a:spcBef>
              <a:buFont typeface="Courier New" pitchFamily="49" charset="0"/>
              <a:buNone/>
            </a:pPr>
            <a:r>
              <a:rPr lang="en-US" sz="7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100%</a:t>
            </a:r>
          </a:p>
        </p:txBody>
      </p:sp>
      <p:sp>
        <p:nvSpPr>
          <p:cNvPr id="37" name="Rechteck 36"/>
          <p:cNvSpPr/>
          <p:nvPr/>
        </p:nvSpPr>
        <p:spPr bwMode="gray">
          <a:xfrm>
            <a:off x="8460432" y="3284984"/>
            <a:ext cx="324036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spcBef>
                <a:spcPts val="300"/>
              </a:spcBef>
              <a:buFont typeface="Courier New" pitchFamily="49" charset="0"/>
              <a:buNone/>
            </a:pPr>
            <a:r>
              <a:rPr lang="en-US" sz="7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0%</a:t>
            </a:r>
          </a:p>
        </p:txBody>
      </p:sp>
      <p:sp>
        <p:nvSpPr>
          <p:cNvPr id="38" name="Rechteck 37"/>
          <p:cNvSpPr/>
          <p:nvPr/>
        </p:nvSpPr>
        <p:spPr bwMode="gray">
          <a:xfrm>
            <a:off x="8460432" y="2300776"/>
            <a:ext cx="324036" cy="14401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spcBef>
                <a:spcPts val="300"/>
              </a:spcBef>
              <a:buFont typeface="Courier New" pitchFamily="49" charset="0"/>
              <a:buNone/>
            </a:pPr>
            <a:r>
              <a:rPr lang="en-US" sz="700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50%</a:t>
            </a:r>
          </a:p>
        </p:txBody>
      </p:sp>
      <p:pic>
        <p:nvPicPr>
          <p:cNvPr id="16" name="Picture 2" descr="K:\GfK Group\05_Präsentationsgestaltung\2015\Gerhardt, Stefan\Global PR Mobil Study\02_Layout\Compare_prices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412776"/>
            <a:ext cx="720008" cy="1440000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7" descr="© INSCALE GmbH, 14.06.20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667" y="1351961"/>
            <a:ext cx="512478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Rectangle 3"/>
          <p:cNvSpPr txBox="1">
            <a:spLocks noChangeArrowheads="1"/>
          </p:cNvSpPr>
          <p:nvPr/>
        </p:nvSpPr>
        <p:spPr bwMode="gray">
          <a:xfrm>
            <a:off x="323410" y="212520"/>
            <a:ext cx="7777054" cy="768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sz="1800" b="1" dirty="0" smtClean="0"/>
              <a:t>Украина: </a:t>
            </a:r>
            <a:r>
              <a:rPr lang="ru-RU" sz="1800" dirty="0" smtClean="0"/>
              <a:t>Что обычно делают с помощью мобильного телефона </a:t>
            </a:r>
          </a:p>
          <a:p>
            <a:r>
              <a:rPr lang="ru-RU" sz="1800" dirty="0" smtClean="0"/>
              <a:t>в магазине</a:t>
            </a:r>
          </a:p>
          <a:p>
            <a:r>
              <a:rPr lang="ru-RU" sz="1800" b="1" dirty="0" smtClean="0"/>
              <a:t>Сравнивают цены</a:t>
            </a:r>
            <a:endParaRPr lang="en-US" sz="1800" b="1" dirty="0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12"/>
          </p:nvPr>
        </p:nvSpPr>
        <p:spPr>
          <a:xfrm>
            <a:off x="323410" y="6374243"/>
            <a:ext cx="8496300" cy="192616"/>
          </a:xfrm>
        </p:spPr>
        <p:txBody>
          <a:bodyPr/>
          <a:lstStyle/>
          <a:p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точник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следовани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GfK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среди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боле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2</a:t>
            </a:r>
            <a:r>
              <a:rPr lang="ru-RU" altLang="uk-UA" sz="1100" i="1" dirty="0">
                <a:solidFill>
                  <a:schemeClr val="tx1"/>
                </a:solidFill>
                <a:latin typeface="+mn-lt"/>
                <a:cs typeface="+mn-cs"/>
              </a:rPr>
              <a:t>5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000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пользователей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мобильных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телефонов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(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старше 15 лет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в 23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транах</a:t>
            </a:r>
            <a:endParaRPr lang="en-US" altLang="uk-UA" sz="11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9220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колько интернет-пользователей и интернет-покупателей в Украине</a:t>
            </a:r>
            <a:r>
              <a:rPr lang="ru-RU" dirty="0" smtClean="0"/>
              <a:t>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449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3955422822"/>
              </p:ext>
            </p:extLst>
          </p:nvPr>
        </p:nvGraphicFramePr>
        <p:xfrm>
          <a:off x="372166" y="1124598"/>
          <a:ext cx="8304290" cy="5280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8201" y="1412920"/>
            <a:ext cx="830263" cy="1440000"/>
          </a:xfrm>
          <a:prstGeom prst="roundRect">
            <a:avLst/>
          </a:prstGeom>
        </p:spPr>
      </p:pic>
      <p:grpSp>
        <p:nvGrpSpPr>
          <p:cNvPr id="17" name="Gruppieren 16"/>
          <p:cNvGrpSpPr/>
          <p:nvPr/>
        </p:nvGrpSpPr>
        <p:grpSpPr>
          <a:xfrm>
            <a:off x="1704065" y="5030110"/>
            <a:ext cx="252028" cy="336037"/>
            <a:chOff x="1349630" y="3615866"/>
            <a:chExt cx="252028" cy="252028"/>
          </a:xfrm>
        </p:grpSpPr>
        <p:sp>
          <p:nvSpPr>
            <p:cNvPr id="18" name="Ellipse 17"/>
            <p:cNvSpPr/>
            <p:nvPr/>
          </p:nvSpPr>
          <p:spPr bwMode="gray">
            <a:xfrm>
              <a:off x="134963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9" name="Picture 4" descr="C:\Users\pieniak\Desktop\wazne\flagi\koliste\Flag of Turkey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764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uppieren 19"/>
          <p:cNvGrpSpPr/>
          <p:nvPr/>
        </p:nvGrpSpPr>
        <p:grpSpPr>
          <a:xfrm>
            <a:off x="2392523" y="5030110"/>
            <a:ext cx="252028" cy="336037"/>
            <a:chOff x="2393746" y="3615866"/>
            <a:chExt cx="252028" cy="252028"/>
          </a:xfrm>
        </p:grpSpPr>
        <p:sp>
          <p:nvSpPr>
            <p:cNvPr id="21" name="Ellipse 20"/>
            <p:cNvSpPr/>
            <p:nvPr/>
          </p:nvSpPr>
          <p:spPr bwMode="gray">
            <a:xfrm>
              <a:off x="2393746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2" name="Picture 5" descr="C:\Users\pieniak\Desktop\wazne\flagi\koliste\Flag of Brazil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1760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uppieren 25"/>
          <p:cNvGrpSpPr/>
          <p:nvPr/>
        </p:nvGrpSpPr>
        <p:grpSpPr>
          <a:xfrm>
            <a:off x="3080981" y="5030110"/>
            <a:ext cx="252028" cy="336037"/>
            <a:chOff x="2717782" y="3615866"/>
            <a:chExt cx="252028" cy="252028"/>
          </a:xfrm>
        </p:grpSpPr>
        <p:sp>
          <p:nvSpPr>
            <p:cNvPr id="27" name="Ellipse 26"/>
            <p:cNvSpPr/>
            <p:nvPr/>
          </p:nvSpPr>
          <p:spPr bwMode="gray">
            <a:xfrm>
              <a:off x="2717782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8" name="Picture 7" descr="C:\Users\pieniak\Desktop\wazne\flagi\koliste\Flag of Argentina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5796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Gruppieren 28"/>
          <p:cNvGrpSpPr/>
          <p:nvPr/>
        </p:nvGrpSpPr>
        <p:grpSpPr>
          <a:xfrm>
            <a:off x="4457897" y="5030110"/>
            <a:ext cx="252028" cy="336037"/>
            <a:chOff x="4404464" y="3615866"/>
            <a:chExt cx="252028" cy="252028"/>
          </a:xfrm>
        </p:grpSpPr>
        <p:sp>
          <p:nvSpPr>
            <p:cNvPr id="30" name="Ellipse 29"/>
            <p:cNvSpPr/>
            <p:nvPr/>
          </p:nvSpPr>
          <p:spPr bwMode="gray">
            <a:xfrm>
              <a:off x="440446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1" name="Picture 8" descr="C:\Users\pieniak\Desktop\wazne\flagi\koliste\Flag of Italy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247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uppieren 31"/>
          <p:cNvGrpSpPr/>
          <p:nvPr/>
        </p:nvGrpSpPr>
        <p:grpSpPr>
          <a:xfrm>
            <a:off x="2048294" y="5030110"/>
            <a:ext cx="252028" cy="336037"/>
            <a:chOff x="3401858" y="3615866"/>
            <a:chExt cx="252028" cy="252028"/>
          </a:xfrm>
        </p:grpSpPr>
        <p:sp>
          <p:nvSpPr>
            <p:cNvPr id="33" name="Ellipse 32"/>
            <p:cNvSpPr/>
            <p:nvPr/>
          </p:nvSpPr>
          <p:spPr bwMode="gray">
            <a:xfrm>
              <a:off x="340185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4" name="Picture 9" descr="C:\Users\pieniak\Desktop\wazne\flagi\koliste\Flag of United States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987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uppieren 34"/>
          <p:cNvGrpSpPr/>
          <p:nvPr/>
        </p:nvGrpSpPr>
        <p:grpSpPr>
          <a:xfrm>
            <a:off x="2736752" y="5030110"/>
            <a:ext cx="252028" cy="336037"/>
            <a:chOff x="3761898" y="3615866"/>
            <a:chExt cx="252028" cy="252028"/>
          </a:xfrm>
        </p:grpSpPr>
        <p:sp>
          <p:nvSpPr>
            <p:cNvPr id="36" name="Ellipse 35"/>
            <p:cNvSpPr/>
            <p:nvPr/>
          </p:nvSpPr>
          <p:spPr bwMode="gray">
            <a:xfrm>
              <a:off x="376189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7" name="Picture 10" descr="C:\Users\pieniak\Desktop\wazne\flagi\koliste\Flag of Spain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991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Gruppieren 37"/>
          <p:cNvGrpSpPr/>
          <p:nvPr/>
        </p:nvGrpSpPr>
        <p:grpSpPr>
          <a:xfrm>
            <a:off x="5490584" y="5030110"/>
            <a:ext cx="252028" cy="336037"/>
            <a:chOff x="2069710" y="3615866"/>
            <a:chExt cx="252028" cy="252028"/>
          </a:xfrm>
        </p:grpSpPr>
        <p:sp>
          <p:nvSpPr>
            <p:cNvPr id="39" name="Ellipse 38"/>
            <p:cNvSpPr/>
            <p:nvPr/>
          </p:nvSpPr>
          <p:spPr bwMode="gray">
            <a:xfrm>
              <a:off x="206971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0" name="Picture 11" descr="C:\Users\pieniak\Desktop\wazne\flagi\koliste\Flag of Russia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772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uppieren 40"/>
          <p:cNvGrpSpPr/>
          <p:nvPr/>
        </p:nvGrpSpPr>
        <p:grpSpPr>
          <a:xfrm>
            <a:off x="5834813" y="5030110"/>
            <a:ext cx="252028" cy="336037"/>
            <a:chOff x="4085934" y="3615866"/>
            <a:chExt cx="252028" cy="252028"/>
          </a:xfrm>
        </p:grpSpPr>
        <p:sp>
          <p:nvSpPr>
            <p:cNvPr id="42" name="Ellipse 41"/>
            <p:cNvSpPr/>
            <p:nvPr/>
          </p:nvSpPr>
          <p:spPr bwMode="gray">
            <a:xfrm>
              <a:off x="408593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3" name="Picture 12" descr="C:\Users\pieniak\Desktop\wazne\flagi\koliste\Flag of Australia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0394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Gruppieren 43"/>
          <p:cNvGrpSpPr/>
          <p:nvPr/>
        </p:nvGrpSpPr>
        <p:grpSpPr>
          <a:xfrm>
            <a:off x="6867500" y="5030110"/>
            <a:ext cx="252028" cy="336037"/>
            <a:chOff x="7146274" y="3615866"/>
            <a:chExt cx="252028" cy="252028"/>
          </a:xfrm>
        </p:grpSpPr>
        <p:sp>
          <p:nvSpPr>
            <p:cNvPr id="45" name="Ellipse 44"/>
            <p:cNvSpPr/>
            <p:nvPr/>
          </p:nvSpPr>
          <p:spPr bwMode="gray">
            <a:xfrm>
              <a:off x="714627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6" name="Picture 13" descr="C:\Users\pieniak\Desktop\wazne\flagi\koliste\Flag of Sweden.pn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28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7" name="Gruppieren 46"/>
          <p:cNvGrpSpPr/>
          <p:nvPr/>
        </p:nvGrpSpPr>
        <p:grpSpPr>
          <a:xfrm>
            <a:off x="3425210" y="5030110"/>
            <a:ext cx="252028" cy="336037"/>
            <a:chOff x="8190390" y="3615866"/>
            <a:chExt cx="252028" cy="252028"/>
          </a:xfrm>
        </p:grpSpPr>
        <p:sp>
          <p:nvSpPr>
            <p:cNvPr id="48" name="Ellipse 47"/>
            <p:cNvSpPr/>
            <p:nvPr/>
          </p:nvSpPr>
          <p:spPr bwMode="gray">
            <a:xfrm>
              <a:off x="819039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9" name="Picture 14" descr="C:\Users\pieniak\Desktop\wazne\flagi\koliste\Flag of Japan.pn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840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uppieren 49"/>
          <p:cNvGrpSpPr/>
          <p:nvPr/>
        </p:nvGrpSpPr>
        <p:grpSpPr>
          <a:xfrm>
            <a:off x="4113668" y="5030110"/>
            <a:ext cx="252028" cy="336037"/>
            <a:chOff x="1025594" y="3615866"/>
            <a:chExt cx="252028" cy="252028"/>
          </a:xfrm>
        </p:grpSpPr>
        <p:sp>
          <p:nvSpPr>
            <p:cNvPr id="51" name="Ellipse 50"/>
            <p:cNvSpPr/>
            <p:nvPr/>
          </p:nvSpPr>
          <p:spPr bwMode="gray">
            <a:xfrm>
              <a:off x="102559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2" name="Picture 15" descr="C:\Users\pieniak\Desktop\wazne\flagi\koliste\Flag of Poland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0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Gruppieren 52"/>
          <p:cNvGrpSpPr/>
          <p:nvPr/>
        </p:nvGrpSpPr>
        <p:grpSpPr>
          <a:xfrm>
            <a:off x="6523271" y="5030110"/>
            <a:ext cx="252028" cy="336037"/>
            <a:chOff x="6822238" y="3615866"/>
            <a:chExt cx="252028" cy="252028"/>
          </a:xfrm>
        </p:grpSpPr>
        <p:sp>
          <p:nvSpPr>
            <p:cNvPr id="54" name="Ellipse 53"/>
            <p:cNvSpPr/>
            <p:nvPr/>
          </p:nvSpPr>
          <p:spPr bwMode="gray">
            <a:xfrm>
              <a:off x="682223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5" name="Picture 16" descr="C:\Users\pieniak\Desktop\wazne\flagi\koliste\Flag of United Kingdom.png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025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Gruppieren 55"/>
          <p:cNvGrpSpPr/>
          <p:nvPr/>
        </p:nvGrpSpPr>
        <p:grpSpPr>
          <a:xfrm>
            <a:off x="3769439" y="5030110"/>
            <a:ext cx="252028" cy="336037"/>
            <a:chOff x="7541661" y="3615866"/>
            <a:chExt cx="252028" cy="252028"/>
          </a:xfrm>
        </p:grpSpPr>
        <p:sp>
          <p:nvSpPr>
            <p:cNvPr id="57" name="Ellipse 56"/>
            <p:cNvSpPr/>
            <p:nvPr/>
          </p:nvSpPr>
          <p:spPr bwMode="gray">
            <a:xfrm>
              <a:off x="7541661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8" name="Picture 17" descr="C:\Users\pieniak\Desktop\wazne\flagi\koliste\Flag of Germany.png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9675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9" name="Gruppieren 58"/>
          <p:cNvGrpSpPr/>
          <p:nvPr/>
        </p:nvGrpSpPr>
        <p:grpSpPr>
          <a:xfrm>
            <a:off x="4802126" y="5030110"/>
            <a:ext cx="252028" cy="336037"/>
            <a:chOff x="4770010" y="3615866"/>
            <a:chExt cx="252028" cy="252028"/>
          </a:xfrm>
        </p:grpSpPr>
        <p:sp>
          <p:nvSpPr>
            <p:cNvPr id="60" name="Ellipse 59"/>
            <p:cNvSpPr/>
            <p:nvPr/>
          </p:nvSpPr>
          <p:spPr bwMode="gray">
            <a:xfrm>
              <a:off x="477001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1" name="Picture 18" descr="C:\Users\pieniak\Desktop\wazne\flagi\koliste\Flag of France.png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802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" name="Gruppieren 61"/>
          <p:cNvGrpSpPr/>
          <p:nvPr/>
        </p:nvGrpSpPr>
        <p:grpSpPr>
          <a:xfrm>
            <a:off x="7555958" y="5030110"/>
            <a:ext cx="252028" cy="336037"/>
            <a:chOff x="7866354" y="3615866"/>
            <a:chExt cx="252028" cy="252028"/>
          </a:xfrm>
        </p:grpSpPr>
        <p:sp>
          <p:nvSpPr>
            <p:cNvPr id="63" name="Ellipse 62"/>
            <p:cNvSpPr/>
            <p:nvPr/>
          </p:nvSpPr>
          <p:spPr bwMode="gray">
            <a:xfrm>
              <a:off x="786635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4" name="Picture 19" descr="C:\Users\pieniak\Desktop\wazne\flagi\koliste\Flag of Indonesia.png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436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" name="Gruppieren 64"/>
          <p:cNvGrpSpPr/>
          <p:nvPr/>
        </p:nvGrpSpPr>
        <p:grpSpPr>
          <a:xfrm>
            <a:off x="6179042" y="5030110"/>
            <a:ext cx="252028" cy="336037"/>
            <a:chOff x="5130050" y="3615866"/>
            <a:chExt cx="252028" cy="252028"/>
          </a:xfrm>
        </p:grpSpPr>
        <p:sp>
          <p:nvSpPr>
            <p:cNvPr id="66" name="Ellipse 65"/>
            <p:cNvSpPr/>
            <p:nvPr/>
          </p:nvSpPr>
          <p:spPr bwMode="gray">
            <a:xfrm>
              <a:off x="513005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7" name="Picture 20" descr="C:\Users\pieniak\Desktop\wazne\flagi\koliste\Flag of Canada.png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806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uppieren 67"/>
          <p:cNvGrpSpPr/>
          <p:nvPr/>
        </p:nvGrpSpPr>
        <p:grpSpPr>
          <a:xfrm>
            <a:off x="8244408" y="5030110"/>
            <a:ext cx="252028" cy="336037"/>
            <a:chOff x="5814411" y="3615866"/>
            <a:chExt cx="252028" cy="252028"/>
          </a:xfrm>
        </p:grpSpPr>
        <p:sp>
          <p:nvSpPr>
            <p:cNvPr id="69" name="Ellipse 68"/>
            <p:cNvSpPr/>
            <p:nvPr/>
          </p:nvSpPr>
          <p:spPr bwMode="gray">
            <a:xfrm>
              <a:off x="5814411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0" name="Picture 22" descr="C:\Users\pieniak\Desktop\wazne\flagi\koliste\Flag of India.png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2425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1" name="Gruppieren 70"/>
          <p:cNvGrpSpPr/>
          <p:nvPr/>
        </p:nvGrpSpPr>
        <p:grpSpPr>
          <a:xfrm>
            <a:off x="7211729" y="5030110"/>
            <a:ext cx="252028" cy="336037"/>
            <a:chOff x="6462198" y="3615866"/>
            <a:chExt cx="252028" cy="252028"/>
          </a:xfrm>
        </p:grpSpPr>
        <p:sp>
          <p:nvSpPr>
            <p:cNvPr id="72" name="Ellipse 71"/>
            <p:cNvSpPr/>
            <p:nvPr/>
          </p:nvSpPr>
          <p:spPr bwMode="gray">
            <a:xfrm>
              <a:off x="6462198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3" name="Picture 23" descr="C:\Users\pieniak\Desktop\wazne\flagi\koliste\Flag of South Africa.png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0212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Gruppieren 73"/>
          <p:cNvGrpSpPr/>
          <p:nvPr/>
        </p:nvGrpSpPr>
        <p:grpSpPr>
          <a:xfrm>
            <a:off x="7900187" y="5030110"/>
            <a:ext cx="252028" cy="336037"/>
            <a:chOff x="6138162" y="3615866"/>
            <a:chExt cx="252028" cy="252028"/>
          </a:xfrm>
        </p:grpSpPr>
        <p:sp>
          <p:nvSpPr>
            <p:cNvPr id="75" name="Ellipse 74"/>
            <p:cNvSpPr/>
            <p:nvPr/>
          </p:nvSpPr>
          <p:spPr bwMode="gray">
            <a:xfrm>
              <a:off x="6138162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6" name="Picture 24" descr="C:\Users\pieniak\Desktop\wazne\flagi\koliste\Flag of Ukraine.png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Gruppieren 76"/>
          <p:cNvGrpSpPr/>
          <p:nvPr/>
        </p:nvGrpSpPr>
        <p:grpSpPr>
          <a:xfrm>
            <a:off x="5146355" y="5030110"/>
            <a:ext cx="252028" cy="336037"/>
            <a:chOff x="5454086" y="3615866"/>
            <a:chExt cx="252028" cy="252028"/>
          </a:xfrm>
        </p:grpSpPr>
        <p:sp>
          <p:nvSpPr>
            <p:cNvPr id="78" name="Ellipse 77"/>
            <p:cNvSpPr/>
            <p:nvPr/>
          </p:nvSpPr>
          <p:spPr bwMode="gray">
            <a:xfrm>
              <a:off x="5454086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79" name="Picture 21" descr="C:\Users\pieniak\Desktop\wazne\flagi\koliste\Flag of Belgium.png"/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2100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0" name="Gruppieren 79"/>
          <p:cNvGrpSpPr/>
          <p:nvPr/>
        </p:nvGrpSpPr>
        <p:grpSpPr>
          <a:xfrm>
            <a:off x="1359836" y="5030110"/>
            <a:ext cx="252028" cy="336037"/>
            <a:chOff x="665554" y="3615866"/>
            <a:chExt cx="252028" cy="252028"/>
          </a:xfrm>
        </p:grpSpPr>
        <p:sp>
          <p:nvSpPr>
            <p:cNvPr id="81" name="Ellipse 80"/>
            <p:cNvSpPr/>
            <p:nvPr/>
          </p:nvSpPr>
          <p:spPr bwMode="gray">
            <a:xfrm>
              <a:off x="665554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2" name="Picture 6" descr="C:\Users\pieniak\Desktop\wazne\flagi\koliste\Flag of Mexico.png"/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8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3" name="Gruppieren 82"/>
          <p:cNvGrpSpPr/>
          <p:nvPr/>
        </p:nvGrpSpPr>
        <p:grpSpPr>
          <a:xfrm>
            <a:off x="1015607" y="5030110"/>
            <a:ext cx="252028" cy="336037"/>
            <a:chOff x="3078069" y="3615866"/>
            <a:chExt cx="252028" cy="252028"/>
          </a:xfrm>
        </p:grpSpPr>
        <p:sp>
          <p:nvSpPr>
            <p:cNvPr id="84" name="Ellipse 83"/>
            <p:cNvSpPr/>
            <p:nvPr/>
          </p:nvSpPr>
          <p:spPr bwMode="gray">
            <a:xfrm>
              <a:off x="3078069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5" name="Picture 2" descr="Flag of South Korea.svg"/>
            <p:cNvPicPr>
              <a:picLocks noChangeAspect="1" noChangeArrowheads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104260" y="3646606"/>
              <a:ext cx="198630" cy="190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6" name="Ellipse 85"/>
            <p:cNvSpPr/>
            <p:nvPr/>
          </p:nvSpPr>
          <p:spPr bwMode="gray">
            <a:xfrm>
              <a:off x="3078069" y="3615866"/>
              <a:ext cx="252028" cy="252028"/>
            </a:xfrm>
            <a:prstGeom prst="ellipse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7" name="Gruppieren 86"/>
          <p:cNvGrpSpPr/>
          <p:nvPr/>
        </p:nvGrpSpPr>
        <p:grpSpPr>
          <a:xfrm>
            <a:off x="671378" y="5030110"/>
            <a:ext cx="252028" cy="336037"/>
            <a:chOff x="1709670" y="3615866"/>
            <a:chExt cx="252028" cy="252028"/>
          </a:xfrm>
        </p:grpSpPr>
        <p:sp>
          <p:nvSpPr>
            <p:cNvPr id="88" name="Ellipse 87"/>
            <p:cNvSpPr/>
            <p:nvPr/>
          </p:nvSpPr>
          <p:spPr bwMode="gray">
            <a:xfrm>
              <a:off x="1709670" y="3615866"/>
              <a:ext cx="252028" cy="252028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GB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9" name="Picture 3" descr="C:\Users\pieniak\Desktop\wazne\flagi\koliste\Flag of China.png"/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7684" y="3633880"/>
              <a:ext cx="216000" cy="21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0" name="Rechteck 89"/>
          <p:cNvSpPr/>
          <p:nvPr/>
        </p:nvSpPr>
        <p:spPr bwMode="gray">
          <a:xfrm>
            <a:off x="179390" y="1316488"/>
            <a:ext cx="8640760" cy="5064922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3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301184" y="404580"/>
            <a:ext cx="8069238" cy="768140"/>
          </a:xfrm>
        </p:spPr>
        <p:txBody>
          <a:bodyPr/>
          <a:lstStyle/>
          <a:p>
            <a:r>
              <a:rPr lang="ru-RU" sz="1800" b="1" dirty="0"/>
              <a:t>Мир: </a:t>
            </a:r>
            <a:r>
              <a:rPr lang="ru-RU" sz="1800" dirty="0"/>
              <a:t>Что обычно делают с помощью мобильного телефона 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dirty="0" smtClean="0"/>
              <a:t>в </a:t>
            </a:r>
            <a:r>
              <a:rPr lang="ru-RU" sz="1800" dirty="0"/>
              <a:t>магазине</a:t>
            </a:r>
            <a:br>
              <a:rPr lang="ru-RU" sz="1800" dirty="0"/>
            </a:br>
            <a:r>
              <a:rPr lang="ru-RU" sz="1800" b="1" dirty="0" smtClean="0"/>
              <a:t>Сканируют </a:t>
            </a:r>
            <a:r>
              <a:rPr lang="ru-RU" sz="1800" b="1" dirty="0"/>
              <a:t>штрих-коды или QR коды, чтобы получить </a:t>
            </a:r>
            <a:br>
              <a:rPr lang="ru-RU" sz="1800" b="1" dirty="0"/>
            </a:br>
            <a:r>
              <a:rPr lang="ru-RU" sz="1800" b="1" dirty="0"/>
              <a:t>более подробную информацию о товарах</a:t>
            </a:r>
            <a:endParaRPr lang="en-US" sz="1800" b="1" dirty="0"/>
          </a:p>
        </p:txBody>
      </p:sp>
      <p:sp>
        <p:nvSpPr>
          <p:cNvPr id="92" name="Текст 8"/>
          <p:cNvSpPr>
            <a:spLocks noGrp="1"/>
          </p:cNvSpPr>
          <p:nvPr>
            <p:ph type="body" sz="quarter" idx="12"/>
          </p:nvPr>
        </p:nvSpPr>
        <p:spPr>
          <a:xfrm>
            <a:off x="323410" y="6427044"/>
            <a:ext cx="8496300" cy="192616"/>
          </a:xfrm>
        </p:spPr>
        <p:txBody>
          <a:bodyPr/>
          <a:lstStyle/>
          <a:p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точник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: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исследовани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GfK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среди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более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2</a:t>
            </a:r>
            <a:r>
              <a:rPr lang="ru-RU" altLang="uk-UA" sz="1100" i="1" dirty="0">
                <a:solidFill>
                  <a:schemeClr val="tx1"/>
                </a:solidFill>
                <a:latin typeface="+mn-lt"/>
                <a:cs typeface="+mn-cs"/>
              </a:rPr>
              <a:t>5</a:t>
            </a:r>
            <a:r>
              <a:rPr lang="en-US" altLang="uk-UA" sz="1100" i="1" dirty="0">
                <a:solidFill>
                  <a:schemeClr val="tx1"/>
                </a:solidFill>
                <a:latin typeface="+mn-lt"/>
                <a:cs typeface="+mn-cs"/>
              </a:rPr>
              <a:t>000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пользователей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мобильных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 err="1">
                <a:solidFill>
                  <a:schemeClr val="tx1"/>
                </a:solidFill>
                <a:latin typeface="+mn-lt"/>
                <a:cs typeface="+mn-cs"/>
              </a:rPr>
              <a:t>телефонов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(</a:t>
            </a:r>
            <a:r>
              <a:rPr lang="ru-RU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старше 15 лет</a:t>
            </a:r>
            <a:r>
              <a:rPr lang="en-US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)</a:t>
            </a:r>
            <a:r>
              <a:rPr lang="uk-UA" altLang="uk-UA" sz="1100" i="1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uk-UA" altLang="uk-UA" sz="1100" i="1" dirty="0">
                <a:solidFill>
                  <a:schemeClr val="tx1"/>
                </a:solidFill>
                <a:latin typeface="+mn-lt"/>
                <a:cs typeface="+mn-cs"/>
              </a:rPr>
              <a:t>в 23 </a:t>
            </a:r>
            <a:r>
              <a:rPr lang="uk-UA" altLang="uk-UA" sz="1100" i="1" dirty="0" err="1" smtClean="0">
                <a:solidFill>
                  <a:schemeClr val="tx1"/>
                </a:solidFill>
                <a:latin typeface="+mn-lt"/>
                <a:cs typeface="+mn-cs"/>
              </a:rPr>
              <a:t>странах</a:t>
            </a:r>
            <a:endParaRPr lang="en-US" altLang="uk-UA" sz="1100" i="1" dirty="0">
              <a:solidFill>
                <a:schemeClr val="tx1"/>
              </a:solidFill>
              <a:latin typeface="+mn-lt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020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</a:t>
            </a:r>
            <a:r>
              <a:rPr lang="ru-RU" dirty="0" smtClean="0"/>
              <a:t>то происходит на рынке </a:t>
            </a:r>
            <a:r>
              <a:rPr lang="ru-RU" dirty="0" err="1" smtClean="0"/>
              <a:t>БТиЭ</a:t>
            </a:r>
            <a:r>
              <a:rPr lang="ru-RU" dirty="0" smtClean="0"/>
              <a:t>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7060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8"/>
          <p:cNvSpPr/>
          <p:nvPr/>
        </p:nvSpPr>
        <p:spPr bwMode="gray">
          <a:xfrm>
            <a:off x="461983" y="1026907"/>
            <a:ext cx="8029518" cy="53540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27" name="Grafik 1" descr="1.5 Europe (Projektion Lambert) TEMAX Total YTD"/>
          <p:cNvPicPr>
            <a:picLocks noGrp="1" noChangeAspect="1"/>
          </p:cNvPicPr>
          <p:nvPr isPhoto="1"/>
        </p:nvPicPr>
        <p:blipFill>
          <a:blip r:embed="rId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239" y="1292188"/>
            <a:ext cx="7404927" cy="497138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6" name="Группа 35"/>
          <p:cNvGrpSpPr/>
          <p:nvPr/>
        </p:nvGrpSpPr>
        <p:grpSpPr>
          <a:xfrm>
            <a:off x="5580112" y="1026904"/>
            <a:ext cx="2808418" cy="2485447"/>
            <a:chOff x="5891412" y="1154534"/>
            <a:chExt cx="1903528" cy="1690569"/>
          </a:xfrm>
        </p:grpSpPr>
        <p:pic>
          <p:nvPicPr>
            <p:cNvPr id="14" name="Picture 5" descr="P:\Home_Lifestyle\SECTORS\SDA\Allgemein\Produktbilder\SDA Professionelle Bilder\JPG\Brotbackautomat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1071" y="1154534"/>
              <a:ext cx="1364210" cy="130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6" descr="P:\Home_Lifestyle\SECTORS\SDA\Allgemein\Produktbilder\SDA Professionelle Bilder\JPG\Dampfbuegeleisen.jp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9542">
              <a:off x="6352606" y="1639667"/>
              <a:ext cx="1179769" cy="963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Rechteck 507"/>
            <p:cNvSpPr/>
            <p:nvPr/>
          </p:nvSpPr>
          <p:spPr bwMode="gray">
            <a:xfrm>
              <a:off x="5891412" y="1328598"/>
              <a:ext cx="1903528" cy="1516505"/>
            </a:xfrm>
            <a:prstGeom prst="rect">
              <a:avLst/>
            </a:prstGeom>
            <a:noFill/>
            <a:ln w="9525">
              <a:solidFill>
                <a:schemeClr val="bg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18" name="Picture 7" descr="P:\Home_Lifestyle\SECTORS\SDA\Allgemein\Produktbilder\SDA Professionelle Bilder\JPG\Puerierstab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47182" y="1612544"/>
              <a:ext cx="314325" cy="742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feld 366"/>
            <p:cNvSpPr txBox="1"/>
            <p:nvPr/>
          </p:nvSpPr>
          <p:spPr bwMode="gray">
            <a:xfrm>
              <a:off x="6113687" y="2472080"/>
              <a:ext cx="1497799" cy="333701"/>
            </a:xfrm>
            <a:prstGeom prst="rect">
              <a:avLst/>
            </a:prstGeom>
            <a:noFill/>
          </p:spPr>
          <p:txBody>
            <a:bodyPr wrap="square" lIns="144000" tIns="72000" rIns="144000" bIns="0" rtlCol="0" anchor="t" anchorCtr="0">
              <a:noAutofit/>
            </a:bodyPr>
            <a:lstStyle>
              <a:defPPr>
                <a:defRPr lang="de-DE"/>
              </a:defPPr>
              <a:lvl1pPr lvl="0" algn="ctr">
                <a:spcAft>
                  <a:spcPts val="600"/>
                </a:spcAft>
                <a:defRPr sz="1200">
                  <a:solidFill>
                    <a:prstClr val="black"/>
                  </a:solidFill>
                </a:defRPr>
              </a:lvl1pPr>
            </a:lstStyle>
            <a:p>
              <a:r>
                <a:rPr lang="en-US" sz="2400" b="1" dirty="0" smtClean="0">
                  <a:solidFill>
                    <a:srgbClr val="0070C0"/>
                  </a:solidFill>
                </a:rPr>
                <a:t>SDA +17%</a:t>
              </a:r>
              <a:endParaRPr lang="en-US" sz="2400" b="1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827489" y="1268763"/>
            <a:ext cx="4176571" cy="1441988"/>
            <a:chOff x="758195" y="1268760"/>
            <a:chExt cx="4329540" cy="1441988"/>
          </a:xfrm>
        </p:grpSpPr>
        <p:sp>
          <p:nvSpPr>
            <p:cNvPr id="4" name="Rechteck 507"/>
            <p:cNvSpPr/>
            <p:nvPr/>
          </p:nvSpPr>
          <p:spPr bwMode="gray">
            <a:xfrm>
              <a:off x="758195" y="1268760"/>
              <a:ext cx="4257381" cy="144198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8" name="Textfeld 367"/>
            <p:cNvSpPr txBox="1"/>
            <p:nvPr/>
          </p:nvSpPr>
          <p:spPr bwMode="gray">
            <a:xfrm>
              <a:off x="1251530" y="1316765"/>
              <a:ext cx="3836205" cy="416488"/>
            </a:xfrm>
            <a:prstGeom prst="rect">
              <a:avLst/>
            </a:prstGeom>
            <a:noFill/>
          </p:spPr>
          <p:txBody>
            <a:bodyPr wrap="square" lIns="144000" tIns="0" rIns="144000" bIns="0" rtlCol="0" anchor="t" anchorCtr="0">
              <a:noAutofit/>
            </a:bodyPr>
            <a:lstStyle>
              <a:defPPr>
                <a:defRPr lang="de-DE"/>
              </a:defPPr>
              <a:lvl1pPr lvl="0" algn="ctr">
                <a:spcAft>
                  <a:spcPts val="600"/>
                </a:spcAft>
                <a:defRPr sz="1200">
                  <a:solidFill>
                    <a:prstClr val="black"/>
                  </a:solidFill>
                </a:defRPr>
              </a:lvl1pPr>
            </a:lstStyle>
            <a:p>
              <a:pPr>
                <a:lnSpc>
                  <a:spcPct val="90000"/>
                </a:lnSpc>
              </a:pPr>
              <a:r>
                <a:rPr lang="en-US" sz="3200" b="1" dirty="0" smtClean="0">
                  <a:solidFill>
                    <a:srgbClr val="0070C0"/>
                  </a:solidFill>
                </a:rPr>
                <a:t>UAH </a:t>
              </a:r>
              <a:r>
                <a:rPr lang="uk-UA" sz="3200" b="1" dirty="0" smtClean="0">
                  <a:solidFill>
                    <a:srgbClr val="0070C0"/>
                  </a:solidFill>
                </a:rPr>
                <a:t>47,5 </a:t>
              </a:r>
            </a:p>
            <a:p>
              <a:pPr>
                <a:lnSpc>
                  <a:spcPct val="90000"/>
                </a:lnSpc>
              </a:pPr>
              <a:r>
                <a:rPr lang="en-US" sz="3200" b="1" dirty="0" smtClean="0">
                  <a:solidFill>
                    <a:srgbClr val="0070C0"/>
                  </a:solidFill>
                </a:rPr>
                <a:t>billion</a:t>
              </a:r>
              <a:endParaRPr lang="uk-UA" sz="3200" b="1" dirty="0" smtClean="0">
                <a:solidFill>
                  <a:srgbClr val="0070C0"/>
                </a:solidFill>
              </a:endParaRPr>
            </a:p>
          </p:txBody>
        </p:sp>
      </p:grpSp>
      <p:grpSp>
        <p:nvGrpSpPr>
          <p:cNvPr id="46" name="Группа 45"/>
          <p:cNvGrpSpPr/>
          <p:nvPr/>
        </p:nvGrpSpPr>
        <p:grpSpPr>
          <a:xfrm>
            <a:off x="5580112" y="3733620"/>
            <a:ext cx="2808418" cy="2383681"/>
            <a:chOff x="5340862" y="3733617"/>
            <a:chExt cx="2736304" cy="2229541"/>
          </a:xfrm>
        </p:grpSpPr>
        <p:sp>
          <p:nvSpPr>
            <p:cNvPr id="20" name="Textfeld 366"/>
            <p:cNvSpPr txBox="1"/>
            <p:nvPr/>
          </p:nvSpPr>
          <p:spPr bwMode="gray">
            <a:xfrm>
              <a:off x="5528523" y="5418137"/>
              <a:ext cx="2416786" cy="459135"/>
            </a:xfrm>
            <a:prstGeom prst="rect">
              <a:avLst/>
            </a:prstGeom>
            <a:noFill/>
          </p:spPr>
          <p:txBody>
            <a:bodyPr wrap="square" lIns="144000" tIns="72000" rIns="144000" bIns="0" rtlCol="0" anchor="t" anchorCtr="0">
              <a:noAutofit/>
            </a:bodyPr>
            <a:lstStyle>
              <a:defPPr>
                <a:defRPr lang="de-DE"/>
              </a:defPPr>
              <a:lvl1pPr lvl="0" algn="ctr">
                <a:spcAft>
                  <a:spcPts val="600"/>
                </a:spcAft>
                <a:defRPr sz="1200">
                  <a:solidFill>
                    <a:prstClr val="black"/>
                  </a:solidFill>
                </a:defRPr>
              </a:lvl1pPr>
            </a:lstStyle>
            <a:p>
              <a:r>
                <a:rPr lang="en-US" sz="2400" b="1" dirty="0">
                  <a:solidFill>
                    <a:srgbClr val="0070C0"/>
                  </a:solidFill>
                </a:rPr>
                <a:t>Photo </a:t>
              </a:r>
              <a:r>
                <a:rPr lang="en-US" sz="2400" b="1" dirty="0" smtClean="0">
                  <a:solidFill>
                    <a:srgbClr val="0070C0"/>
                  </a:solidFill>
                </a:rPr>
                <a:t>-40%</a:t>
              </a:r>
              <a:endParaRPr lang="en-US" sz="2400" b="1" dirty="0">
                <a:solidFill>
                  <a:srgbClr val="0070C0"/>
                </a:solidFill>
              </a:endParaRPr>
            </a:p>
          </p:txBody>
        </p:sp>
        <p:sp>
          <p:nvSpPr>
            <p:cNvPr id="40" name="Rechteck 507"/>
            <p:cNvSpPr/>
            <p:nvPr/>
          </p:nvSpPr>
          <p:spPr bwMode="gray">
            <a:xfrm>
              <a:off x="5340862" y="3733617"/>
              <a:ext cx="2736304" cy="2229541"/>
            </a:xfrm>
            <a:prstGeom prst="rect">
              <a:avLst/>
            </a:prstGeom>
            <a:noFill/>
            <a:ln w="9525">
              <a:solidFill>
                <a:schemeClr val="bg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44" name="Picture 6" descr="H:\masha\Department\фотки для офиса\GfK ImageWorld Download (Low)\42-28744383 (1)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2857" y="4049985"/>
              <a:ext cx="1609590" cy="13681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" name="Gruppieren 296"/>
          <p:cNvGrpSpPr/>
          <p:nvPr/>
        </p:nvGrpSpPr>
        <p:grpSpPr bwMode="gray">
          <a:xfrm>
            <a:off x="640934" y="1008549"/>
            <a:ext cx="1770765" cy="2200688"/>
            <a:chOff x="8124975" y="3499517"/>
            <a:chExt cx="549863" cy="625252"/>
          </a:xfrm>
          <a:effectLst/>
        </p:grpSpPr>
        <p:sp>
          <p:nvSpPr>
            <p:cNvPr id="11" name="Rectangle 5"/>
            <p:cNvSpPr>
              <a:spLocks noChangeArrowheads="1"/>
            </p:cNvSpPr>
            <p:nvPr/>
          </p:nvSpPr>
          <p:spPr bwMode="gray">
            <a:xfrm>
              <a:off x="8124975" y="3499517"/>
              <a:ext cx="39928" cy="62525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10000">
                  <a:srgbClr val="FFFFFF"/>
                </a:gs>
                <a:gs pos="0">
                  <a:srgbClr val="D7D7D7"/>
                </a:gs>
                <a:gs pos="100000">
                  <a:srgbClr val="7D7D7D"/>
                </a:gs>
                <a:gs pos="85000">
                  <a:srgbClr val="969696"/>
                </a:gs>
                <a:gs pos="60000">
                  <a:srgbClr val="C8C8C8"/>
                </a:gs>
                <a:gs pos="20000">
                  <a:srgbClr val="FFFFFF"/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sz="7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gray">
            <a:xfrm>
              <a:off x="8124975" y="3524882"/>
              <a:ext cx="39928" cy="284205"/>
            </a:xfrm>
            <a:prstGeom prst="rect">
              <a:avLst/>
            </a:prstGeom>
            <a:gradFill flip="none" rotWithShape="1">
              <a:gsLst>
                <a:gs pos="90000">
                  <a:schemeClr val="accent5">
                    <a:lumMod val="75000"/>
                  </a:schemeClr>
                </a:gs>
                <a:gs pos="0">
                  <a:schemeClr val="accent5"/>
                </a:gs>
                <a:gs pos="19000">
                  <a:schemeClr val="accent5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US" sz="700">
                <a:solidFill>
                  <a:schemeClr val="bg1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160575" y="3524882"/>
              <a:ext cx="514263" cy="284205"/>
            </a:xfrm>
            <a:custGeom>
              <a:avLst/>
              <a:gdLst/>
              <a:ahLst/>
              <a:cxnLst>
                <a:cxn ang="0">
                  <a:pos x="502" y="293"/>
                </a:cxn>
                <a:cxn ang="0">
                  <a:pos x="425" y="178"/>
                </a:cxn>
                <a:cxn ang="0">
                  <a:pos x="425" y="178"/>
                </a:cxn>
                <a:cxn ang="0">
                  <a:pos x="425" y="178"/>
                </a:cxn>
                <a:cxn ang="0">
                  <a:pos x="502" y="62"/>
                </a:cxn>
                <a:cxn ang="0">
                  <a:pos x="522" y="33"/>
                </a:cxn>
                <a:cxn ang="0">
                  <a:pos x="527" y="10"/>
                </a:cxn>
                <a:cxn ang="0">
                  <a:pos x="511" y="0"/>
                </a:cxn>
                <a:cxn ang="0">
                  <a:pos x="0" y="0"/>
                </a:cxn>
                <a:cxn ang="0">
                  <a:pos x="0" y="178"/>
                </a:cxn>
                <a:cxn ang="0">
                  <a:pos x="0" y="356"/>
                </a:cxn>
                <a:cxn ang="0">
                  <a:pos x="511" y="356"/>
                </a:cxn>
                <a:cxn ang="0">
                  <a:pos x="527" y="345"/>
                </a:cxn>
                <a:cxn ang="0">
                  <a:pos x="522" y="323"/>
                </a:cxn>
                <a:cxn ang="0">
                  <a:pos x="502" y="293"/>
                </a:cxn>
              </a:cxnLst>
              <a:rect l="0" t="0" r="r" b="b"/>
              <a:pathLst>
                <a:path w="530" h="356">
                  <a:moveTo>
                    <a:pt x="502" y="293"/>
                  </a:moveTo>
                  <a:cubicBezTo>
                    <a:pt x="425" y="178"/>
                    <a:pt x="425" y="178"/>
                    <a:pt x="425" y="178"/>
                  </a:cubicBezTo>
                  <a:cubicBezTo>
                    <a:pt x="425" y="178"/>
                    <a:pt x="425" y="178"/>
                    <a:pt x="425" y="178"/>
                  </a:cubicBezTo>
                  <a:cubicBezTo>
                    <a:pt x="425" y="178"/>
                    <a:pt x="425" y="178"/>
                    <a:pt x="425" y="178"/>
                  </a:cubicBezTo>
                  <a:cubicBezTo>
                    <a:pt x="502" y="62"/>
                    <a:pt x="502" y="62"/>
                    <a:pt x="502" y="62"/>
                  </a:cubicBezTo>
                  <a:cubicBezTo>
                    <a:pt x="502" y="62"/>
                    <a:pt x="503" y="63"/>
                    <a:pt x="522" y="33"/>
                  </a:cubicBezTo>
                  <a:cubicBezTo>
                    <a:pt x="528" y="24"/>
                    <a:pt x="530" y="17"/>
                    <a:pt x="527" y="10"/>
                  </a:cubicBezTo>
                  <a:cubicBezTo>
                    <a:pt x="523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511" y="356"/>
                    <a:pt x="511" y="356"/>
                    <a:pt x="511" y="356"/>
                  </a:cubicBezTo>
                  <a:cubicBezTo>
                    <a:pt x="511" y="356"/>
                    <a:pt x="523" y="356"/>
                    <a:pt x="527" y="345"/>
                  </a:cubicBezTo>
                  <a:cubicBezTo>
                    <a:pt x="530" y="338"/>
                    <a:pt x="528" y="332"/>
                    <a:pt x="522" y="323"/>
                  </a:cubicBezTo>
                  <a:cubicBezTo>
                    <a:pt x="503" y="293"/>
                    <a:pt x="502" y="293"/>
                    <a:pt x="502" y="293"/>
                  </a:cubicBezTo>
                  <a:close/>
                </a:path>
              </a:pathLst>
            </a:custGeom>
            <a:solidFill>
              <a:schemeClr val="accent5"/>
            </a:solidFill>
            <a:ln w="12700">
              <a:noFill/>
              <a:round/>
              <a:headEnd/>
              <a:tailEnd/>
            </a:ln>
            <a:effectLst/>
          </p:spPr>
          <p:txBody>
            <a:bodyPr vert="horz" wrap="none" rIns="144000" rtlCol="0" anchor="ctr"/>
            <a:lstStyle/>
            <a:p>
              <a:pPr algn="ctr"/>
              <a:r>
                <a:rPr lang="en-US" sz="2800" b="1" dirty="0" smtClean="0">
                  <a:solidFill>
                    <a:schemeClr val="bg1"/>
                  </a:solidFill>
                </a:rPr>
                <a:t>~ -28% </a:t>
              </a:r>
            </a:p>
            <a:p>
              <a:pPr algn="ctr"/>
              <a:r>
                <a:rPr lang="en-US" sz="2000" b="1" dirty="0" smtClean="0">
                  <a:solidFill>
                    <a:schemeClr val="bg1"/>
                  </a:solidFill>
                </a:rPr>
                <a:t>USD </a:t>
              </a:r>
            </a:p>
          </p:txBody>
        </p:sp>
      </p:grpSp>
      <p:sp>
        <p:nvSpPr>
          <p:cNvPr id="22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50" y="260648"/>
            <a:ext cx="7848550" cy="647402"/>
          </a:xfrm>
          <a:prstGeom prst="rect">
            <a:avLst/>
          </a:prstGeom>
          <a:extLst/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Рынок бытовой техники и электроники, Украина, 2014</a:t>
            </a:r>
            <a:endParaRPr lang="en-US" dirty="0"/>
          </a:p>
        </p:txBody>
      </p:sp>
      <p:sp>
        <p:nvSpPr>
          <p:cNvPr id="25" name="Text Placeholder 2"/>
          <p:cNvSpPr txBox="1">
            <a:spLocks/>
          </p:cNvSpPr>
          <p:nvPr/>
        </p:nvSpPr>
        <p:spPr bwMode="gray">
          <a:xfrm>
            <a:off x="323850" y="6380968"/>
            <a:ext cx="8496300" cy="1444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i="1" dirty="0"/>
              <a:t>Источник: Р</a:t>
            </a:r>
            <a:r>
              <a:rPr lang="ru-RU" sz="1100" i="1" dirty="0" smtClean="0"/>
              <a:t>озничная панель </a:t>
            </a:r>
            <a:r>
              <a:rPr lang="en-US" sz="1100" i="1" dirty="0" smtClean="0"/>
              <a:t>GfK </a:t>
            </a:r>
            <a:r>
              <a:rPr lang="en-US" sz="1100" i="1" dirty="0"/>
              <a:t>Retail and </a:t>
            </a:r>
            <a:r>
              <a:rPr lang="en-US" sz="1100" i="1" dirty="0" smtClean="0"/>
              <a:t>Technology</a:t>
            </a:r>
            <a:endParaRPr lang="en-US" sz="1100" i="1" dirty="0"/>
          </a:p>
        </p:txBody>
      </p:sp>
    </p:spTree>
    <p:extLst>
      <p:ext uri="{BB962C8B-B14F-4D97-AF65-F5344CB8AC3E}">
        <p14:creationId xmlns:p14="http://schemas.microsoft.com/office/powerpoint/2010/main" val="954590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 bwMode="gray">
          <a:xfrm>
            <a:off x="467430" y="3851535"/>
            <a:ext cx="7920880" cy="54001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CI_QVW_ID_002" hidden="1"/>
          <p:cNvSpPr txBox="1"/>
          <p:nvPr/>
        </p:nvSpPr>
        <p:spPr>
          <a:xfrm>
            <a:off x="0" y="0"/>
            <a:ext cx="413896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RG-1-30_OS Type by Regions (World)(2)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0" y="0"/>
            <a:ext cx="29848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5: 2 YTD / OS Type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0" y="0"/>
            <a:ext cx="29367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2014-01-29 13:29:46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0" y="0"/>
            <a:ext cx="25680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martphone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0" y="0"/>
            <a:ext cx="26161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ales Units %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0" y="0"/>
            <a:ext cx="26802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Last 4 Quarter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0" y="0"/>
            <a:ext cx="30489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anelmarket GLOBAL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019" y="116539"/>
            <a:ext cx="7200559" cy="745357"/>
          </a:xfrm>
        </p:spPr>
        <p:txBody>
          <a:bodyPr anchor="b"/>
          <a:lstStyle/>
          <a:p>
            <a:pPr eaLnBrk="0" hangingPunct="0"/>
            <a:r>
              <a:rPr lang="ru-RU" dirty="0" smtClean="0"/>
              <a:t>Рынок </a:t>
            </a:r>
            <a:r>
              <a:rPr lang="ru-RU" dirty="0" err="1" smtClean="0"/>
              <a:t>БТиЭ</a:t>
            </a:r>
            <a:r>
              <a:rPr lang="ru-RU" dirty="0" smtClean="0"/>
              <a:t>: небольшое падение в гривнах, большое - в штуках</a:t>
            </a:r>
            <a:endParaRPr lang="en-GB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2993" y="861897"/>
            <a:ext cx="79143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</a:rPr>
              <a:t>Динамика продаж 2014 к 2013 году</a:t>
            </a:r>
            <a:endParaRPr lang="uk-UA" sz="1600" dirty="0">
              <a:solidFill>
                <a:srgbClr val="000000"/>
              </a:solidFill>
            </a:endParaRPr>
          </a:p>
        </p:txBody>
      </p:sp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569129628"/>
              </p:ext>
            </p:extLst>
          </p:nvPr>
        </p:nvGraphicFramePr>
        <p:xfrm>
          <a:off x="107380" y="1277395"/>
          <a:ext cx="8857230" cy="51040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 Placeholder 2"/>
          <p:cNvSpPr txBox="1">
            <a:spLocks/>
          </p:cNvSpPr>
          <p:nvPr/>
        </p:nvSpPr>
        <p:spPr bwMode="gray">
          <a:xfrm>
            <a:off x="323850" y="6380968"/>
            <a:ext cx="8496300" cy="1444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i="1" dirty="0"/>
              <a:t>Источник: Р</a:t>
            </a:r>
            <a:r>
              <a:rPr lang="ru-RU" sz="1100" i="1" dirty="0" smtClean="0"/>
              <a:t>озничная панель </a:t>
            </a:r>
            <a:r>
              <a:rPr lang="en-US" sz="1100" i="1" dirty="0" smtClean="0"/>
              <a:t>GfK </a:t>
            </a:r>
            <a:r>
              <a:rPr lang="en-US" sz="1100" i="1" dirty="0"/>
              <a:t>Retail and </a:t>
            </a:r>
            <a:r>
              <a:rPr lang="en-US" sz="1100" i="1" dirty="0" smtClean="0"/>
              <a:t>Technology</a:t>
            </a:r>
            <a:endParaRPr lang="en-US" sz="1100" i="1" dirty="0"/>
          </a:p>
        </p:txBody>
      </p:sp>
    </p:spTree>
    <p:extLst>
      <p:ext uri="{BB962C8B-B14F-4D97-AF65-F5344CB8AC3E}">
        <p14:creationId xmlns:p14="http://schemas.microsoft.com/office/powerpoint/2010/main" val="408473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CI_QVW_ID_002" hidden="1"/>
          <p:cNvSpPr txBox="1"/>
          <p:nvPr/>
        </p:nvSpPr>
        <p:spPr>
          <a:xfrm>
            <a:off x="0" y="0"/>
            <a:ext cx="413896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RG-1-30_OS Type by Regions (World)(2)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0" y="0"/>
            <a:ext cx="29848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5: 2 YTD / OS Type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0" y="0"/>
            <a:ext cx="29367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2014-01-29 13:29:46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0" y="0"/>
            <a:ext cx="25680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martphone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0" y="0"/>
            <a:ext cx="26161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ales Units %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0" y="0"/>
            <a:ext cx="26802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Last 4 Quarter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0" y="0"/>
            <a:ext cx="30489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anelmarket GLOBAL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019" y="91283"/>
            <a:ext cx="7200559" cy="745357"/>
          </a:xfrm>
        </p:spPr>
        <p:txBody>
          <a:bodyPr anchor="b"/>
          <a:lstStyle/>
          <a:p>
            <a:pPr eaLnBrk="0" hangingPunct="0"/>
            <a:r>
              <a:rPr lang="ru-RU" dirty="0" smtClean="0"/>
              <a:t>Динамика товарооборота рынка </a:t>
            </a:r>
            <a:r>
              <a:rPr lang="ru-RU" dirty="0" err="1" smtClean="0"/>
              <a:t>БТиЭ</a:t>
            </a:r>
            <a:endParaRPr lang="en-GB" dirty="0">
              <a:latin typeface="+mn-lt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 bwMode="gray">
          <a:xfrm>
            <a:off x="323850" y="6380968"/>
            <a:ext cx="8496300" cy="1444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i="1" dirty="0"/>
              <a:t>Источник: Р</a:t>
            </a:r>
            <a:r>
              <a:rPr lang="ru-RU" sz="1100" i="1" dirty="0" smtClean="0"/>
              <a:t>озничная панель </a:t>
            </a:r>
            <a:r>
              <a:rPr lang="en-US" sz="1100" i="1" dirty="0" smtClean="0"/>
              <a:t>GfK </a:t>
            </a:r>
            <a:r>
              <a:rPr lang="en-US" sz="1100" i="1" dirty="0"/>
              <a:t>Retail and </a:t>
            </a:r>
            <a:r>
              <a:rPr lang="en-US" sz="1100" i="1" dirty="0" smtClean="0"/>
              <a:t>Technology</a:t>
            </a:r>
            <a:endParaRPr lang="en-US" sz="1100" i="1" dirty="0"/>
          </a:p>
        </p:txBody>
      </p:sp>
      <p:graphicFrame>
        <p:nvGraphicFramePr>
          <p:cNvPr id="17" name="Объект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43862827"/>
              </p:ext>
            </p:extLst>
          </p:nvPr>
        </p:nvGraphicFramePr>
        <p:xfrm>
          <a:off x="214308" y="1072013"/>
          <a:ext cx="8037879" cy="53814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Диаграмма" r:id="rId4" imgW="6076982" imgH="4067265" progId="MSGraph.Chart.8">
                  <p:embed followColorScheme="full"/>
                </p:oleObj>
              </mc:Choice>
              <mc:Fallback>
                <p:oleObj name="Диаграмма" r:id="rId4" imgW="6076982" imgH="4067265" progId="MSGraph.Chart.8">
                  <p:embed followColorScheme="full"/>
                  <p:pic>
                    <p:nvPicPr>
                      <p:cNvPr id="0" name="rciDiaLine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4308" y="1072013"/>
                        <a:ext cx="8037879" cy="538140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Овал 18"/>
          <p:cNvSpPr/>
          <p:nvPr/>
        </p:nvSpPr>
        <p:spPr bwMode="gray">
          <a:xfrm>
            <a:off x="7884460" y="3553775"/>
            <a:ext cx="1224170" cy="739345"/>
          </a:xfrm>
          <a:prstGeom prst="ellipse">
            <a:avLst/>
          </a:prstGeom>
          <a:noFill/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ru-RU" sz="2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+17%</a:t>
            </a:r>
            <a:endParaRPr lang="uk-UA" sz="2000" b="1" dirty="0" err="1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549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CI_QVW_ID_002" hidden="1"/>
          <p:cNvSpPr txBox="1"/>
          <p:nvPr/>
        </p:nvSpPr>
        <p:spPr>
          <a:xfrm>
            <a:off x="0" y="0"/>
            <a:ext cx="413896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RG-1-30_OS Type by Regions (World)(2)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0" y="0"/>
            <a:ext cx="29848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5: 2 YTD / OS Type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0" y="0"/>
            <a:ext cx="29367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2014-01-29 13:29:46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0" y="0"/>
            <a:ext cx="25680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martphone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0" y="0"/>
            <a:ext cx="26161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ales Units %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0" y="0"/>
            <a:ext cx="26802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Last 4 Quarter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0" y="0"/>
            <a:ext cx="30489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anelmarket GLOBAL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019" y="91283"/>
            <a:ext cx="7200559" cy="745357"/>
          </a:xfrm>
        </p:spPr>
        <p:txBody>
          <a:bodyPr anchor="b"/>
          <a:lstStyle/>
          <a:p>
            <a:pPr eaLnBrk="0" hangingPunct="0"/>
            <a:r>
              <a:rPr lang="de-DE" altLang="ru-RU" dirty="0">
                <a:ea typeface="ＭＳ Ｐゴシック" pitchFamily="34" charset="-128"/>
                <a:cs typeface="Arial" charset="0"/>
              </a:rPr>
              <a:t>Q1</a:t>
            </a:r>
            <a:r>
              <a:rPr lang="ru-RU" dirty="0" smtClean="0"/>
              <a:t> 2015: объем </a:t>
            </a:r>
            <a:r>
              <a:rPr lang="ru-RU" dirty="0"/>
              <a:t>рынка, доля в товарообороте,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рост </a:t>
            </a:r>
            <a:r>
              <a:rPr lang="ru-RU" dirty="0"/>
              <a:t>к предыдущему </a:t>
            </a:r>
            <a:r>
              <a:rPr lang="ru-RU" dirty="0" smtClean="0"/>
              <a:t>периоду</a:t>
            </a:r>
            <a:endParaRPr lang="en-GB" dirty="0">
              <a:latin typeface="+mn-lt"/>
            </a:endParaRPr>
          </a:p>
        </p:txBody>
      </p:sp>
      <p:sp>
        <p:nvSpPr>
          <p:cNvPr id="22" name="Text Placeholder 2"/>
          <p:cNvSpPr txBox="1">
            <a:spLocks/>
          </p:cNvSpPr>
          <p:nvPr/>
        </p:nvSpPr>
        <p:spPr bwMode="gray">
          <a:xfrm>
            <a:off x="323850" y="6380968"/>
            <a:ext cx="8496300" cy="1444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i="1" dirty="0"/>
              <a:t>Источник: Р</a:t>
            </a:r>
            <a:r>
              <a:rPr lang="ru-RU" sz="1100" i="1" dirty="0" smtClean="0"/>
              <a:t>озничная панель </a:t>
            </a:r>
            <a:r>
              <a:rPr lang="en-US" sz="1100" i="1" dirty="0" smtClean="0"/>
              <a:t>GfK </a:t>
            </a:r>
            <a:r>
              <a:rPr lang="en-US" sz="1100" i="1" dirty="0"/>
              <a:t>Retail and </a:t>
            </a:r>
            <a:r>
              <a:rPr lang="en-US" sz="1100" i="1" dirty="0" smtClean="0"/>
              <a:t>Technology</a:t>
            </a:r>
            <a:endParaRPr lang="en-US" sz="1100" i="1" dirty="0"/>
          </a:p>
        </p:txBody>
      </p:sp>
      <p:graphicFrame>
        <p:nvGraphicFramePr>
          <p:cNvPr id="18" name="Объект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24212823"/>
              </p:ext>
            </p:extLst>
          </p:nvPr>
        </p:nvGraphicFramePr>
        <p:xfrm>
          <a:off x="323850" y="1268700"/>
          <a:ext cx="8632211" cy="4896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Диаграмма" r:id="rId4" imgW="6562709" imgH="3724249" progId="MSGraph.Chart.8">
                  <p:embed followColorScheme="full"/>
                </p:oleObj>
              </mc:Choice>
              <mc:Fallback>
                <p:oleObj name="Диаграмма" r:id="rId4" imgW="6562709" imgH="3724249" progId="MSGraph.Chart.8">
                  <p:embed followColorScheme="full"/>
                  <p:pic>
                    <p:nvPicPr>
                      <p:cNvPr id="0" name="rciDiaBubble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3850" y="1268700"/>
                        <a:ext cx="8632211" cy="48966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521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 bwMode="gray">
          <a:xfrm>
            <a:off x="467430" y="3212970"/>
            <a:ext cx="7920880" cy="54001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CI_QVW_ID_002" hidden="1"/>
          <p:cNvSpPr txBox="1"/>
          <p:nvPr/>
        </p:nvSpPr>
        <p:spPr>
          <a:xfrm>
            <a:off x="0" y="0"/>
            <a:ext cx="413896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RG-1-30_OS Type by Regions (World)(2)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0" y="0"/>
            <a:ext cx="29848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5: 2 YTD / OS Type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0" y="0"/>
            <a:ext cx="29367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2014-01-29 13:29:46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0" y="0"/>
            <a:ext cx="25680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martphone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0" y="0"/>
            <a:ext cx="26161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Sales Units %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0" y="0"/>
            <a:ext cx="26802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Last 4 Quarters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0" y="0"/>
            <a:ext cx="30489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rgbClr val="FFFFFF"/>
                </a:solidFill>
              </a:rPr>
              <a:t>Panelmarket GLOBAL</a:t>
            </a:r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1" y="116540"/>
            <a:ext cx="7200559" cy="745357"/>
          </a:xfrm>
        </p:spPr>
        <p:txBody>
          <a:bodyPr anchor="b"/>
          <a:lstStyle/>
          <a:p>
            <a:pPr eaLnBrk="0" hangingPunct="0"/>
            <a:r>
              <a:rPr lang="ru-RU" dirty="0" smtClean="0"/>
              <a:t>Высокие цены </a:t>
            </a:r>
            <a:r>
              <a:rPr lang="ru-RU" dirty="0"/>
              <a:t>на фоне валютных колебаний привели к росту показателей в денежном измерении </a:t>
            </a:r>
            <a:endParaRPr lang="en-GB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2993" y="930146"/>
            <a:ext cx="79143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</a:rPr>
              <a:t>Динамика продаж </a:t>
            </a:r>
            <a:r>
              <a:rPr lang="en-US" sz="1600" dirty="0" smtClean="0">
                <a:solidFill>
                  <a:srgbClr val="000000"/>
                </a:solidFill>
              </a:rPr>
              <a:t>Q1-2015</a:t>
            </a:r>
            <a:r>
              <a:rPr lang="uk-UA" sz="1600" dirty="0" smtClean="0">
                <a:solidFill>
                  <a:srgbClr val="000000"/>
                </a:solidFill>
              </a:rPr>
              <a:t> к </a:t>
            </a:r>
            <a:r>
              <a:rPr lang="en-US" sz="1600" dirty="0" smtClean="0">
                <a:solidFill>
                  <a:srgbClr val="000000"/>
                </a:solidFill>
              </a:rPr>
              <a:t>Q1-2014</a:t>
            </a:r>
            <a:endParaRPr lang="uk-UA" sz="1600" dirty="0">
              <a:solidFill>
                <a:srgbClr val="000000"/>
              </a:solidFill>
            </a:endParaRPr>
          </a:p>
        </p:txBody>
      </p:sp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2549403112"/>
              </p:ext>
            </p:extLst>
          </p:nvPr>
        </p:nvGraphicFramePr>
        <p:xfrm>
          <a:off x="107380" y="1277395"/>
          <a:ext cx="8857230" cy="51040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 Placeholder 2"/>
          <p:cNvSpPr txBox="1">
            <a:spLocks/>
          </p:cNvSpPr>
          <p:nvPr/>
        </p:nvSpPr>
        <p:spPr bwMode="gray">
          <a:xfrm>
            <a:off x="323850" y="6380968"/>
            <a:ext cx="8496300" cy="1444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i="1" dirty="0"/>
              <a:t>Источник: Р</a:t>
            </a:r>
            <a:r>
              <a:rPr lang="ru-RU" sz="1100" i="1" dirty="0" smtClean="0"/>
              <a:t>озничная панель </a:t>
            </a:r>
            <a:r>
              <a:rPr lang="en-US" sz="1100" i="1" dirty="0" smtClean="0"/>
              <a:t>GfK </a:t>
            </a:r>
            <a:r>
              <a:rPr lang="en-US" sz="1100" i="1" dirty="0"/>
              <a:t>Retail and </a:t>
            </a:r>
            <a:r>
              <a:rPr lang="en-US" sz="1100" i="1" dirty="0" smtClean="0"/>
              <a:t>Technology</a:t>
            </a:r>
            <a:endParaRPr lang="en-US" sz="1100" i="1" dirty="0"/>
          </a:p>
        </p:txBody>
      </p:sp>
    </p:spTree>
    <p:extLst>
      <p:ext uri="{BB962C8B-B14F-4D97-AF65-F5344CB8AC3E}">
        <p14:creationId xmlns:p14="http://schemas.microsoft.com/office/powerpoint/2010/main" val="181710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8"/>
          <a:stretch/>
        </p:blipFill>
        <p:spPr>
          <a:xfrm>
            <a:off x="0" y="764630"/>
            <a:ext cx="9144000" cy="5616338"/>
          </a:xfrm>
          <a:prstGeom prst="rect">
            <a:avLst/>
          </a:prstGeom>
        </p:spPr>
      </p:pic>
      <p:sp>
        <p:nvSpPr>
          <p:cNvPr id="3" name="RCI_QVW_ID_002" hidden="1"/>
          <p:cNvSpPr txBox="1"/>
          <p:nvPr/>
        </p:nvSpPr>
        <p:spPr>
          <a:xfrm>
            <a:off x="0" y="0"/>
            <a:ext cx="26642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RG-1-Report 1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0" y="0"/>
            <a:ext cx="242374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TH1 / SH1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0" y="0"/>
            <a:ext cx="29367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2015-05-20 10:52:15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0" y="0"/>
            <a:ext cx="263214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Sales Value %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0" y="0"/>
            <a:ext cx="33214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January 2015 - March 2015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0" y="0"/>
            <a:ext cx="227948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Ukraine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251400" y="188550"/>
            <a:ext cx="7200559" cy="745357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eaLnBrk="0" hangingPunct="0"/>
            <a:r>
              <a:rPr lang="ru-RU" altLang="ru-RU" dirty="0" smtClean="0">
                <a:ea typeface="ＭＳ Ｐゴシック" pitchFamily="34" charset="-128"/>
                <a:cs typeface="Arial" charset="0"/>
              </a:rPr>
              <a:t>Доля онлайн продаж</a:t>
            </a:r>
            <a:endParaRPr lang="en-GB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58178" y="1002156"/>
            <a:ext cx="79143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</a:rPr>
              <a:t>Динамика продаж в гривнах </a:t>
            </a:r>
            <a:r>
              <a:rPr lang="en-US" sz="1600" dirty="0" smtClean="0">
                <a:solidFill>
                  <a:srgbClr val="000000"/>
                </a:solidFill>
              </a:rPr>
              <a:t>Q1-2015</a:t>
            </a:r>
            <a:r>
              <a:rPr lang="uk-UA" sz="1600" dirty="0" smtClean="0">
                <a:solidFill>
                  <a:srgbClr val="000000"/>
                </a:solidFill>
              </a:rPr>
              <a:t> к </a:t>
            </a:r>
            <a:r>
              <a:rPr lang="en-US" sz="1600" dirty="0" smtClean="0">
                <a:solidFill>
                  <a:srgbClr val="000000"/>
                </a:solidFill>
              </a:rPr>
              <a:t>Q1-2014</a:t>
            </a:r>
            <a:endParaRPr lang="uk-UA" sz="1600" dirty="0">
              <a:solidFill>
                <a:srgbClr val="000000"/>
              </a:solidFill>
            </a:endParaRPr>
          </a:p>
        </p:txBody>
      </p:sp>
      <p:sp>
        <p:nvSpPr>
          <p:cNvPr id="19" name="Text Placeholder 2"/>
          <p:cNvSpPr txBox="1">
            <a:spLocks/>
          </p:cNvSpPr>
          <p:nvPr/>
        </p:nvSpPr>
        <p:spPr bwMode="gray">
          <a:xfrm>
            <a:off x="251400" y="6380968"/>
            <a:ext cx="8496300" cy="1444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i="1" dirty="0"/>
              <a:t>Источник: Р</a:t>
            </a:r>
            <a:r>
              <a:rPr lang="ru-RU" sz="1100" i="1" dirty="0" smtClean="0"/>
              <a:t>озничная панель </a:t>
            </a:r>
            <a:r>
              <a:rPr lang="en-US" sz="1100" i="1" dirty="0" smtClean="0"/>
              <a:t>GfK </a:t>
            </a:r>
            <a:r>
              <a:rPr lang="en-US" sz="1100" i="1" dirty="0"/>
              <a:t>Retail and </a:t>
            </a:r>
            <a:r>
              <a:rPr lang="en-US" sz="1100" i="1" dirty="0" smtClean="0"/>
              <a:t>Technology</a:t>
            </a:r>
            <a:endParaRPr lang="en-US" sz="1100" i="1" dirty="0"/>
          </a:p>
        </p:txBody>
      </p:sp>
    </p:spTree>
    <p:extLst>
      <p:ext uri="{BB962C8B-B14F-4D97-AF65-F5344CB8AC3E}">
        <p14:creationId xmlns:p14="http://schemas.microsoft.com/office/powerpoint/2010/main" val="423252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88"/>
          <a:stretch/>
        </p:blipFill>
        <p:spPr>
          <a:xfrm>
            <a:off x="0" y="836640"/>
            <a:ext cx="9180640" cy="5112710"/>
          </a:xfrm>
          <a:prstGeom prst="rect">
            <a:avLst/>
          </a:prstGeom>
        </p:spPr>
      </p:pic>
      <p:sp>
        <p:nvSpPr>
          <p:cNvPr id="3" name="RCI_QVW_ID_002" hidden="1"/>
          <p:cNvSpPr txBox="1"/>
          <p:nvPr/>
        </p:nvSpPr>
        <p:spPr>
          <a:xfrm>
            <a:off x="0" y="0"/>
            <a:ext cx="28245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RG-1-Report 1(2)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0" y="0"/>
            <a:ext cx="242374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TH1 / SH1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0" y="0"/>
            <a:ext cx="29367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2015-05-20 10:52:20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0" y="0"/>
            <a:ext cx="263214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Sales Value %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0" y="0"/>
            <a:ext cx="33214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January 2015 - March 2015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0" y="0"/>
            <a:ext cx="227948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Ukraine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gray">
          <a:xfrm>
            <a:off x="251400" y="6380968"/>
            <a:ext cx="8496300" cy="1444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i="1" dirty="0"/>
              <a:t>Источник: Р</a:t>
            </a:r>
            <a:r>
              <a:rPr lang="ru-RU" sz="1100" i="1" dirty="0" smtClean="0"/>
              <a:t>озничная панель </a:t>
            </a:r>
            <a:r>
              <a:rPr lang="en-US" sz="1100" i="1" dirty="0" smtClean="0"/>
              <a:t>GfK </a:t>
            </a:r>
            <a:r>
              <a:rPr lang="en-US" sz="1100" i="1" dirty="0"/>
              <a:t>Retail and </a:t>
            </a:r>
            <a:r>
              <a:rPr lang="en-US" sz="1100" i="1" dirty="0" smtClean="0"/>
              <a:t>Technology</a:t>
            </a:r>
            <a:endParaRPr lang="en-US" sz="1100" i="1" dirty="0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251400" y="188550"/>
            <a:ext cx="7200559" cy="745357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eaLnBrk="0" hangingPunct="0"/>
            <a:r>
              <a:rPr lang="ru-RU" altLang="ru-RU" dirty="0" smtClean="0">
                <a:ea typeface="ＭＳ Ｐゴシック" pitchFamily="34" charset="-128"/>
                <a:cs typeface="Arial" charset="0"/>
              </a:rPr>
              <a:t>Портфель продаж: онлайн </a:t>
            </a:r>
            <a:r>
              <a:rPr lang="en-US" altLang="ru-RU" dirty="0" smtClean="0">
                <a:ea typeface="ＭＳ Ｐゴシック" pitchFamily="34" charset="-128"/>
                <a:cs typeface="Arial" charset="0"/>
              </a:rPr>
              <a:t>vs. </a:t>
            </a:r>
            <a:r>
              <a:rPr lang="ru-RU" altLang="ru-RU" dirty="0" smtClean="0">
                <a:ea typeface="ＭＳ Ｐゴシック" pitchFamily="34" charset="-128"/>
                <a:cs typeface="Arial" charset="0"/>
              </a:rPr>
              <a:t>оффлайн</a:t>
            </a:r>
            <a:endParaRPr lang="en-GB" dirty="0">
              <a:latin typeface="+mn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58178" y="1002156"/>
            <a:ext cx="79143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</a:rPr>
              <a:t>Q1-2015</a:t>
            </a:r>
            <a:r>
              <a:rPr lang="ru-RU" sz="1600" dirty="0" smtClean="0">
                <a:solidFill>
                  <a:srgbClr val="000000"/>
                </a:solidFill>
              </a:rPr>
              <a:t>, в гривнах</a:t>
            </a:r>
            <a:endParaRPr lang="uk-UA" sz="1600" dirty="0">
              <a:solidFill>
                <a:srgbClr val="000000"/>
              </a:solidFill>
            </a:endParaRPr>
          </a:p>
        </p:txBody>
      </p:sp>
      <p:sp>
        <p:nvSpPr>
          <p:cNvPr id="23" name="Стрелка вниз 22"/>
          <p:cNvSpPr/>
          <p:nvPr/>
        </p:nvSpPr>
        <p:spPr bwMode="gray">
          <a:xfrm rot="10800000">
            <a:off x="2258304" y="2693660"/>
            <a:ext cx="242316" cy="42392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Стрелка вниз 23"/>
          <p:cNvSpPr/>
          <p:nvPr/>
        </p:nvSpPr>
        <p:spPr bwMode="gray">
          <a:xfrm rot="10800000">
            <a:off x="7498124" y="4733310"/>
            <a:ext cx="242316" cy="42392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Стрелка вниз 24"/>
          <p:cNvSpPr/>
          <p:nvPr/>
        </p:nvSpPr>
        <p:spPr bwMode="gray">
          <a:xfrm rot="10800000">
            <a:off x="7740440" y="3284980"/>
            <a:ext cx="242316" cy="423929"/>
          </a:xfrm>
          <a:prstGeom prst="downArrow">
            <a:avLst/>
          </a:prstGeom>
          <a:noFill/>
          <a:ln w="34925" cap="sq" algn="ctr">
            <a:solidFill>
              <a:schemeClr val="accent5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Стрелка вниз 25"/>
          <p:cNvSpPr/>
          <p:nvPr/>
        </p:nvSpPr>
        <p:spPr bwMode="gray">
          <a:xfrm rot="10800000">
            <a:off x="1547580" y="3636899"/>
            <a:ext cx="242316" cy="42392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Стрелка вниз 26"/>
          <p:cNvSpPr/>
          <p:nvPr/>
        </p:nvSpPr>
        <p:spPr bwMode="gray">
          <a:xfrm rot="10800000">
            <a:off x="2411509" y="5229250"/>
            <a:ext cx="242316" cy="42392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b="1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843760" y="2996940"/>
            <a:ext cx="457200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IT</a:t>
            </a:r>
            <a:endParaRPr lang="ru-RU" b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017286" y="3933070"/>
            <a:ext cx="457200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MDA</a:t>
            </a:r>
            <a:endParaRPr lang="ru-RU" b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572645" y="4855077"/>
            <a:ext cx="457200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PH</a:t>
            </a:r>
            <a:endParaRPr lang="ru-RU" b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24410" y="4339990"/>
            <a:ext cx="457200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TC</a:t>
            </a:r>
            <a:endParaRPr lang="ru-RU" b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380390" y="3547880"/>
            <a:ext cx="457200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CE</a:t>
            </a:r>
            <a:endParaRPr lang="ru-RU" b="1" dirty="0" err="1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857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12"/>
          <a:stretch/>
        </p:blipFill>
        <p:spPr>
          <a:xfrm>
            <a:off x="0" y="836640"/>
            <a:ext cx="9144000" cy="5184720"/>
          </a:xfrm>
          <a:prstGeom prst="rect">
            <a:avLst/>
          </a:prstGeom>
        </p:spPr>
      </p:pic>
      <p:sp>
        <p:nvSpPr>
          <p:cNvPr id="3" name="RCI_QVW_ID_002" hidden="1"/>
          <p:cNvSpPr txBox="1"/>
          <p:nvPr/>
        </p:nvSpPr>
        <p:spPr>
          <a:xfrm>
            <a:off x="0" y="0"/>
            <a:ext cx="28245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RG-1-Report 1(3)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4" name="RCI_QVW_ChartName_003" hidden="1"/>
          <p:cNvSpPr txBox="1"/>
          <p:nvPr/>
        </p:nvSpPr>
        <p:spPr>
          <a:xfrm>
            <a:off x="0" y="0"/>
            <a:ext cx="242374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TH1 / SH1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5" name="RCI_QVW_ChartFile_00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6" name="RCI_QVW_ExportDateTime_005" hidden="1"/>
          <p:cNvSpPr txBox="1"/>
          <p:nvPr/>
        </p:nvSpPr>
        <p:spPr>
          <a:xfrm>
            <a:off x="0" y="0"/>
            <a:ext cx="293670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2015-05-20 10:52:23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7" name="RCI_QVW_ChartType_006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8" name="RCI_QVW_Left1_007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9" name="RCI_QVW_Left2_008" hidden="1"/>
          <p:cNvSpPr txBox="1"/>
          <p:nvPr/>
        </p:nvSpPr>
        <p:spPr>
          <a:xfrm>
            <a:off x="0" y="0"/>
            <a:ext cx="263214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Sales Value %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0" name="RCI_QVW_Left3_009" hidden="1"/>
          <p:cNvSpPr txBox="1"/>
          <p:nvPr/>
        </p:nvSpPr>
        <p:spPr>
          <a:xfrm>
            <a:off x="0" y="0"/>
            <a:ext cx="33214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January 2015 - March 2015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1" name="RCI_QVW_Right1_010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2" name="RCI_QVW_Right2_011" hidden="1"/>
          <p:cNvSpPr txBox="1"/>
          <p:nvPr/>
        </p:nvSpPr>
        <p:spPr>
          <a:xfrm>
            <a:off x="0" y="0"/>
            <a:ext cx="304892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100" smtClean="0">
                <a:solidFill>
                  <a:schemeClr val="bg1"/>
                </a:solidFill>
              </a:rPr>
              <a:t>Ukraine Internet Sales</a:t>
            </a:r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3" name="RCI_QVW_Right3_012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4" name="RCI_QVW_REPName_013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5" name="RCI_QVW_SHName_014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6" name="RCI_QVW_THName_015" hidden="1"/>
          <p:cNvSpPr txBox="1"/>
          <p:nvPr/>
        </p:nvSpPr>
        <p:spPr>
          <a:xfrm>
            <a:off x="0" y="0"/>
            <a:ext cx="184731" cy="10772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de-DE" sz="100">
              <a:solidFill>
                <a:schemeClr val="bg1"/>
              </a:solidFill>
            </a:endParaRPr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gray">
          <a:xfrm>
            <a:off x="251400" y="6380968"/>
            <a:ext cx="8496300" cy="1444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i="1" dirty="0"/>
              <a:t>Источник: Р</a:t>
            </a:r>
            <a:r>
              <a:rPr lang="ru-RU" sz="1100" i="1" dirty="0" smtClean="0"/>
              <a:t>озничная панель </a:t>
            </a:r>
            <a:r>
              <a:rPr lang="en-US" sz="1100" i="1" dirty="0" smtClean="0"/>
              <a:t>GfK </a:t>
            </a:r>
            <a:r>
              <a:rPr lang="en-US" sz="1100" i="1" dirty="0"/>
              <a:t>Retail and </a:t>
            </a:r>
            <a:r>
              <a:rPr lang="en-US" sz="1100" i="1" dirty="0" smtClean="0"/>
              <a:t>Technology</a:t>
            </a:r>
            <a:endParaRPr lang="en-US" sz="1100" i="1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258178" y="1002156"/>
            <a:ext cx="79143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</a:rPr>
              <a:t>Динамика продаж в гривнах </a:t>
            </a:r>
            <a:r>
              <a:rPr lang="en-US" sz="1600" dirty="0" smtClean="0">
                <a:solidFill>
                  <a:srgbClr val="000000"/>
                </a:solidFill>
              </a:rPr>
              <a:t>Q1-2015</a:t>
            </a:r>
            <a:r>
              <a:rPr lang="uk-UA" sz="1600" dirty="0" smtClean="0">
                <a:solidFill>
                  <a:srgbClr val="000000"/>
                </a:solidFill>
              </a:rPr>
              <a:t> к </a:t>
            </a:r>
            <a:r>
              <a:rPr lang="en-US" sz="1600" dirty="0" smtClean="0">
                <a:solidFill>
                  <a:srgbClr val="000000"/>
                </a:solidFill>
              </a:rPr>
              <a:t>Q1-2014</a:t>
            </a:r>
            <a:endParaRPr lang="uk-UA" sz="1600" dirty="0">
              <a:solidFill>
                <a:srgbClr val="000000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251400" y="188550"/>
            <a:ext cx="7200559" cy="745357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eaLnBrk="0" hangingPunct="0"/>
            <a:r>
              <a:rPr lang="ru-RU" altLang="ru-RU" dirty="0" smtClean="0">
                <a:ea typeface="ＭＳ Ｐゴシック" pitchFamily="34" charset="-128"/>
                <a:cs typeface="Arial" charset="0"/>
              </a:rPr>
              <a:t>Как изменился портфель продаж в </a:t>
            </a:r>
            <a:r>
              <a:rPr lang="ru-RU" altLang="ru-RU" dirty="0" err="1" smtClean="0">
                <a:ea typeface="ＭＳ Ｐゴシック" pitchFamily="34" charset="-128"/>
                <a:cs typeface="Arial" charset="0"/>
              </a:rPr>
              <a:t>онлайне</a:t>
            </a:r>
            <a:r>
              <a:rPr lang="ru-RU" altLang="ru-RU" dirty="0" smtClean="0">
                <a:ea typeface="ＭＳ Ｐゴシック" pitchFamily="34" charset="-128"/>
                <a:cs typeface="Arial" charset="0"/>
              </a:rPr>
              <a:t>?</a:t>
            </a:r>
            <a:endParaRPr lang="en-GB" dirty="0">
              <a:latin typeface="+mn-lt"/>
            </a:endParaRPr>
          </a:p>
        </p:txBody>
      </p:sp>
      <p:sp>
        <p:nvSpPr>
          <p:cNvPr id="20" name="Стрелка вниз 19"/>
          <p:cNvSpPr/>
          <p:nvPr/>
        </p:nvSpPr>
        <p:spPr bwMode="gray">
          <a:xfrm rot="10800000">
            <a:off x="6012200" y="4005080"/>
            <a:ext cx="242316" cy="423929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28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Freeform 97"/>
          <p:cNvSpPr>
            <a:spLocks noChangeAspect="1" noEditPoints="1"/>
          </p:cNvSpPr>
          <p:nvPr/>
        </p:nvSpPr>
        <p:spPr bwMode="gray">
          <a:xfrm>
            <a:off x="8319572" y="1674004"/>
            <a:ext cx="196152" cy="524030"/>
          </a:xfrm>
          <a:custGeom>
            <a:avLst/>
            <a:gdLst>
              <a:gd name="T0" fmla="*/ 707 w 714"/>
              <a:gd name="T1" fmla="*/ 888 h 1901"/>
              <a:gd name="T2" fmla="*/ 676 w 714"/>
              <a:gd name="T3" fmla="*/ 628 h 1901"/>
              <a:gd name="T4" fmla="*/ 648 w 714"/>
              <a:gd name="T5" fmla="*/ 361 h 1901"/>
              <a:gd name="T6" fmla="*/ 553 w 714"/>
              <a:gd name="T7" fmla="*/ 309 h 1901"/>
              <a:gd name="T8" fmla="*/ 489 w 714"/>
              <a:gd name="T9" fmla="*/ 335 h 1901"/>
              <a:gd name="T10" fmla="*/ 451 w 714"/>
              <a:gd name="T11" fmla="*/ 500 h 1901"/>
              <a:gd name="T12" fmla="*/ 437 w 714"/>
              <a:gd name="T13" fmla="*/ 340 h 1901"/>
              <a:gd name="T14" fmla="*/ 416 w 714"/>
              <a:gd name="T15" fmla="*/ 314 h 1901"/>
              <a:gd name="T16" fmla="*/ 411 w 714"/>
              <a:gd name="T17" fmla="*/ 349 h 1901"/>
              <a:gd name="T18" fmla="*/ 376 w 714"/>
              <a:gd name="T19" fmla="*/ 370 h 1901"/>
              <a:gd name="T20" fmla="*/ 340 w 714"/>
              <a:gd name="T21" fmla="*/ 293 h 1901"/>
              <a:gd name="T22" fmla="*/ 201 w 714"/>
              <a:gd name="T23" fmla="*/ 354 h 1901"/>
              <a:gd name="T24" fmla="*/ 142 w 714"/>
              <a:gd name="T25" fmla="*/ 581 h 1901"/>
              <a:gd name="T26" fmla="*/ 137 w 714"/>
              <a:gd name="T27" fmla="*/ 685 h 1901"/>
              <a:gd name="T28" fmla="*/ 161 w 714"/>
              <a:gd name="T29" fmla="*/ 841 h 1901"/>
              <a:gd name="T30" fmla="*/ 182 w 714"/>
              <a:gd name="T31" fmla="*/ 852 h 1901"/>
              <a:gd name="T32" fmla="*/ 208 w 714"/>
              <a:gd name="T33" fmla="*/ 945 h 1901"/>
              <a:gd name="T34" fmla="*/ 123 w 714"/>
              <a:gd name="T35" fmla="*/ 921 h 1901"/>
              <a:gd name="T36" fmla="*/ 57 w 714"/>
              <a:gd name="T37" fmla="*/ 978 h 1901"/>
              <a:gd name="T38" fmla="*/ 5 w 714"/>
              <a:gd name="T39" fmla="*/ 1263 h 1901"/>
              <a:gd name="T40" fmla="*/ 229 w 714"/>
              <a:gd name="T41" fmla="*/ 1372 h 1901"/>
              <a:gd name="T42" fmla="*/ 222 w 714"/>
              <a:gd name="T43" fmla="*/ 1812 h 1901"/>
              <a:gd name="T44" fmla="*/ 241 w 714"/>
              <a:gd name="T45" fmla="*/ 1830 h 1901"/>
              <a:gd name="T46" fmla="*/ 213 w 714"/>
              <a:gd name="T47" fmla="*/ 1889 h 1901"/>
              <a:gd name="T48" fmla="*/ 286 w 714"/>
              <a:gd name="T49" fmla="*/ 1899 h 1901"/>
              <a:gd name="T50" fmla="*/ 329 w 714"/>
              <a:gd name="T51" fmla="*/ 1849 h 1901"/>
              <a:gd name="T52" fmla="*/ 348 w 714"/>
              <a:gd name="T53" fmla="*/ 1663 h 1901"/>
              <a:gd name="T54" fmla="*/ 378 w 714"/>
              <a:gd name="T55" fmla="*/ 1318 h 1901"/>
              <a:gd name="T56" fmla="*/ 421 w 714"/>
              <a:gd name="T57" fmla="*/ 1074 h 1901"/>
              <a:gd name="T58" fmla="*/ 428 w 714"/>
              <a:gd name="T59" fmla="*/ 1034 h 1901"/>
              <a:gd name="T60" fmla="*/ 473 w 714"/>
              <a:gd name="T61" fmla="*/ 1393 h 1901"/>
              <a:gd name="T62" fmla="*/ 492 w 714"/>
              <a:gd name="T63" fmla="*/ 1797 h 1901"/>
              <a:gd name="T64" fmla="*/ 494 w 714"/>
              <a:gd name="T65" fmla="*/ 1859 h 1901"/>
              <a:gd name="T66" fmla="*/ 586 w 714"/>
              <a:gd name="T67" fmla="*/ 1892 h 1901"/>
              <a:gd name="T68" fmla="*/ 648 w 714"/>
              <a:gd name="T69" fmla="*/ 1887 h 1901"/>
              <a:gd name="T70" fmla="*/ 600 w 714"/>
              <a:gd name="T71" fmla="*/ 1823 h 1901"/>
              <a:gd name="T72" fmla="*/ 629 w 714"/>
              <a:gd name="T73" fmla="*/ 1712 h 1901"/>
              <a:gd name="T74" fmla="*/ 614 w 714"/>
              <a:gd name="T75" fmla="*/ 1521 h 1901"/>
              <a:gd name="T76" fmla="*/ 617 w 714"/>
              <a:gd name="T77" fmla="*/ 980 h 1901"/>
              <a:gd name="T78" fmla="*/ 633 w 714"/>
              <a:gd name="T79" fmla="*/ 885 h 1901"/>
              <a:gd name="T80" fmla="*/ 652 w 714"/>
              <a:gd name="T81" fmla="*/ 940 h 1901"/>
              <a:gd name="T82" fmla="*/ 659 w 714"/>
              <a:gd name="T83" fmla="*/ 985 h 1901"/>
              <a:gd name="T84" fmla="*/ 652 w 714"/>
              <a:gd name="T85" fmla="*/ 1027 h 1901"/>
              <a:gd name="T86" fmla="*/ 674 w 714"/>
              <a:gd name="T87" fmla="*/ 1039 h 1901"/>
              <a:gd name="T88" fmla="*/ 714 w 714"/>
              <a:gd name="T89" fmla="*/ 975 h 1901"/>
              <a:gd name="T90" fmla="*/ 239 w 714"/>
              <a:gd name="T91" fmla="*/ 730 h 1901"/>
              <a:gd name="T92" fmla="*/ 225 w 714"/>
              <a:gd name="T93" fmla="*/ 817 h 1901"/>
              <a:gd name="T94" fmla="*/ 232 w 714"/>
              <a:gd name="T95" fmla="*/ 793 h 1901"/>
              <a:gd name="T96" fmla="*/ 220 w 714"/>
              <a:gd name="T97" fmla="*/ 678 h 1901"/>
              <a:gd name="T98" fmla="*/ 246 w 714"/>
              <a:gd name="T99" fmla="*/ 578 h 1901"/>
              <a:gd name="T100" fmla="*/ 362 w 714"/>
              <a:gd name="T101" fmla="*/ 210 h 1901"/>
              <a:gd name="T102" fmla="*/ 362 w 714"/>
              <a:gd name="T103" fmla="*/ 267 h 1901"/>
              <a:gd name="T104" fmla="*/ 409 w 714"/>
              <a:gd name="T105" fmla="*/ 307 h 1901"/>
              <a:gd name="T106" fmla="*/ 470 w 714"/>
              <a:gd name="T107" fmla="*/ 290 h 1901"/>
              <a:gd name="T108" fmla="*/ 487 w 714"/>
              <a:gd name="T109" fmla="*/ 248 h 1901"/>
              <a:gd name="T110" fmla="*/ 527 w 714"/>
              <a:gd name="T111" fmla="*/ 174 h 1901"/>
              <a:gd name="T112" fmla="*/ 537 w 714"/>
              <a:gd name="T113" fmla="*/ 111 h 1901"/>
              <a:gd name="T114" fmla="*/ 513 w 714"/>
              <a:gd name="T115" fmla="*/ 23 h 1901"/>
              <a:gd name="T116" fmla="*/ 423 w 714"/>
              <a:gd name="T117" fmla="*/ 0 h 1901"/>
              <a:gd name="T118" fmla="*/ 362 w 714"/>
              <a:gd name="T119" fmla="*/ 49 h 1901"/>
              <a:gd name="T120" fmla="*/ 343 w 714"/>
              <a:gd name="T121" fmla="*/ 130 h 1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4" h="1901">
                <a:moveTo>
                  <a:pt x="709" y="940"/>
                </a:moveTo>
                <a:lnTo>
                  <a:pt x="702" y="919"/>
                </a:lnTo>
                <a:lnTo>
                  <a:pt x="702" y="909"/>
                </a:lnTo>
                <a:lnTo>
                  <a:pt x="704" y="907"/>
                </a:lnTo>
                <a:lnTo>
                  <a:pt x="707" y="902"/>
                </a:lnTo>
                <a:lnTo>
                  <a:pt x="707" y="888"/>
                </a:lnTo>
                <a:lnTo>
                  <a:pt x="707" y="867"/>
                </a:lnTo>
                <a:lnTo>
                  <a:pt x="704" y="843"/>
                </a:lnTo>
                <a:lnTo>
                  <a:pt x="697" y="796"/>
                </a:lnTo>
                <a:lnTo>
                  <a:pt x="692" y="770"/>
                </a:lnTo>
                <a:lnTo>
                  <a:pt x="685" y="715"/>
                </a:lnTo>
                <a:lnTo>
                  <a:pt x="676" y="628"/>
                </a:lnTo>
                <a:lnTo>
                  <a:pt x="669" y="543"/>
                </a:lnTo>
                <a:lnTo>
                  <a:pt x="666" y="482"/>
                </a:lnTo>
                <a:lnTo>
                  <a:pt x="664" y="444"/>
                </a:lnTo>
                <a:lnTo>
                  <a:pt x="657" y="389"/>
                </a:lnTo>
                <a:lnTo>
                  <a:pt x="652" y="373"/>
                </a:lnTo>
                <a:lnTo>
                  <a:pt x="648" y="361"/>
                </a:lnTo>
                <a:lnTo>
                  <a:pt x="640" y="352"/>
                </a:lnTo>
                <a:lnTo>
                  <a:pt x="633" y="342"/>
                </a:lnTo>
                <a:lnTo>
                  <a:pt x="617" y="330"/>
                </a:lnTo>
                <a:lnTo>
                  <a:pt x="605" y="326"/>
                </a:lnTo>
                <a:lnTo>
                  <a:pt x="572" y="316"/>
                </a:lnTo>
                <a:lnTo>
                  <a:pt x="553" y="309"/>
                </a:lnTo>
                <a:lnTo>
                  <a:pt x="534" y="300"/>
                </a:lnTo>
                <a:lnTo>
                  <a:pt x="506" y="283"/>
                </a:lnTo>
                <a:lnTo>
                  <a:pt x="506" y="283"/>
                </a:lnTo>
                <a:lnTo>
                  <a:pt x="503" y="300"/>
                </a:lnTo>
                <a:lnTo>
                  <a:pt x="499" y="316"/>
                </a:lnTo>
                <a:lnTo>
                  <a:pt x="489" y="335"/>
                </a:lnTo>
                <a:lnTo>
                  <a:pt x="485" y="354"/>
                </a:lnTo>
                <a:lnTo>
                  <a:pt x="477" y="385"/>
                </a:lnTo>
                <a:lnTo>
                  <a:pt x="463" y="465"/>
                </a:lnTo>
                <a:lnTo>
                  <a:pt x="456" y="508"/>
                </a:lnTo>
                <a:lnTo>
                  <a:pt x="454" y="522"/>
                </a:lnTo>
                <a:lnTo>
                  <a:pt x="451" y="500"/>
                </a:lnTo>
                <a:lnTo>
                  <a:pt x="442" y="413"/>
                </a:lnTo>
                <a:lnTo>
                  <a:pt x="440" y="394"/>
                </a:lnTo>
                <a:lnTo>
                  <a:pt x="435" y="378"/>
                </a:lnTo>
                <a:lnTo>
                  <a:pt x="428" y="359"/>
                </a:lnTo>
                <a:lnTo>
                  <a:pt x="430" y="352"/>
                </a:lnTo>
                <a:lnTo>
                  <a:pt x="437" y="340"/>
                </a:lnTo>
                <a:lnTo>
                  <a:pt x="444" y="323"/>
                </a:lnTo>
                <a:lnTo>
                  <a:pt x="442" y="321"/>
                </a:lnTo>
                <a:lnTo>
                  <a:pt x="437" y="316"/>
                </a:lnTo>
                <a:lnTo>
                  <a:pt x="430" y="314"/>
                </a:lnTo>
                <a:lnTo>
                  <a:pt x="423" y="311"/>
                </a:lnTo>
                <a:lnTo>
                  <a:pt x="416" y="314"/>
                </a:lnTo>
                <a:lnTo>
                  <a:pt x="409" y="319"/>
                </a:lnTo>
                <a:lnTo>
                  <a:pt x="404" y="326"/>
                </a:lnTo>
                <a:lnTo>
                  <a:pt x="404" y="328"/>
                </a:lnTo>
                <a:lnTo>
                  <a:pt x="404" y="333"/>
                </a:lnTo>
                <a:lnTo>
                  <a:pt x="411" y="345"/>
                </a:lnTo>
                <a:lnTo>
                  <a:pt x="411" y="349"/>
                </a:lnTo>
                <a:lnTo>
                  <a:pt x="411" y="356"/>
                </a:lnTo>
                <a:lnTo>
                  <a:pt x="402" y="460"/>
                </a:lnTo>
                <a:lnTo>
                  <a:pt x="402" y="479"/>
                </a:lnTo>
                <a:lnTo>
                  <a:pt x="390" y="427"/>
                </a:lnTo>
                <a:lnTo>
                  <a:pt x="383" y="394"/>
                </a:lnTo>
                <a:lnTo>
                  <a:pt x="376" y="370"/>
                </a:lnTo>
                <a:lnTo>
                  <a:pt x="366" y="354"/>
                </a:lnTo>
                <a:lnTo>
                  <a:pt x="359" y="340"/>
                </a:lnTo>
                <a:lnTo>
                  <a:pt x="348" y="321"/>
                </a:lnTo>
                <a:lnTo>
                  <a:pt x="343" y="311"/>
                </a:lnTo>
                <a:lnTo>
                  <a:pt x="340" y="304"/>
                </a:lnTo>
                <a:lnTo>
                  <a:pt x="340" y="293"/>
                </a:lnTo>
                <a:lnTo>
                  <a:pt x="343" y="285"/>
                </a:lnTo>
                <a:lnTo>
                  <a:pt x="319" y="297"/>
                </a:lnTo>
                <a:lnTo>
                  <a:pt x="300" y="304"/>
                </a:lnTo>
                <a:lnTo>
                  <a:pt x="220" y="337"/>
                </a:lnTo>
                <a:lnTo>
                  <a:pt x="210" y="342"/>
                </a:lnTo>
                <a:lnTo>
                  <a:pt x="201" y="354"/>
                </a:lnTo>
                <a:lnTo>
                  <a:pt x="194" y="370"/>
                </a:lnTo>
                <a:lnTo>
                  <a:pt x="189" y="385"/>
                </a:lnTo>
                <a:lnTo>
                  <a:pt x="175" y="460"/>
                </a:lnTo>
                <a:lnTo>
                  <a:pt x="163" y="508"/>
                </a:lnTo>
                <a:lnTo>
                  <a:pt x="154" y="541"/>
                </a:lnTo>
                <a:lnTo>
                  <a:pt x="142" y="581"/>
                </a:lnTo>
                <a:lnTo>
                  <a:pt x="135" y="611"/>
                </a:lnTo>
                <a:lnTo>
                  <a:pt x="133" y="623"/>
                </a:lnTo>
                <a:lnTo>
                  <a:pt x="130" y="637"/>
                </a:lnTo>
                <a:lnTo>
                  <a:pt x="130" y="652"/>
                </a:lnTo>
                <a:lnTo>
                  <a:pt x="133" y="663"/>
                </a:lnTo>
                <a:lnTo>
                  <a:pt x="137" y="685"/>
                </a:lnTo>
                <a:lnTo>
                  <a:pt x="142" y="718"/>
                </a:lnTo>
                <a:lnTo>
                  <a:pt x="147" y="772"/>
                </a:lnTo>
                <a:lnTo>
                  <a:pt x="149" y="791"/>
                </a:lnTo>
                <a:lnTo>
                  <a:pt x="151" y="815"/>
                </a:lnTo>
                <a:lnTo>
                  <a:pt x="156" y="836"/>
                </a:lnTo>
                <a:lnTo>
                  <a:pt x="161" y="841"/>
                </a:lnTo>
                <a:lnTo>
                  <a:pt x="166" y="843"/>
                </a:lnTo>
                <a:lnTo>
                  <a:pt x="173" y="838"/>
                </a:lnTo>
                <a:lnTo>
                  <a:pt x="175" y="838"/>
                </a:lnTo>
                <a:lnTo>
                  <a:pt x="177" y="838"/>
                </a:lnTo>
                <a:lnTo>
                  <a:pt x="182" y="845"/>
                </a:lnTo>
                <a:lnTo>
                  <a:pt x="182" y="852"/>
                </a:lnTo>
                <a:lnTo>
                  <a:pt x="185" y="871"/>
                </a:lnTo>
                <a:lnTo>
                  <a:pt x="185" y="890"/>
                </a:lnTo>
                <a:lnTo>
                  <a:pt x="187" y="904"/>
                </a:lnTo>
                <a:lnTo>
                  <a:pt x="192" y="916"/>
                </a:lnTo>
                <a:lnTo>
                  <a:pt x="199" y="933"/>
                </a:lnTo>
                <a:lnTo>
                  <a:pt x="208" y="945"/>
                </a:lnTo>
                <a:lnTo>
                  <a:pt x="225" y="956"/>
                </a:lnTo>
                <a:lnTo>
                  <a:pt x="248" y="966"/>
                </a:lnTo>
                <a:lnTo>
                  <a:pt x="248" y="973"/>
                </a:lnTo>
                <a:lnTo>
                  <a:pt x="175" y="940"/>
                </a:lnTo>
                <a:lnTo>
                  <a:pt x="140" y="926"/>
                </a:lnTo>
                <a:lnTo>
                  <a:pt x="123" y="921"/>
                </a:lnTo>
                <a:lnTo>
                  <a:pt x="95" y="923"/>
                </a:lnTo>
                <a:lnTo>
                  <a:pt x="85" y="926"/>
                </a:lnTo>
                <a:lnTo>
                  <a:pt x="73" y="933"/>
                </a:lnTo>
                <a:lnTo>
                  <a:pt x="71" y="935"/>
                </a:lnTo>
                <a:lnTo>
                  <a:pt x="66" y="947"/>
                </a:lnTo>
                <a:lnTo>
                  <a:pt x="57" y="978"/>
                </a:lnTo>
                <a:lnTo>
                  <a:pt x="33" y="1072"/>
                </a:lnTo>
                <a:lnTo>
                  <a:pt x="12" y="1169"/>
                </a:lnTo>
                <a:lnTo>
                  <a:pt x="0" y="1230"/>
                </a:lnTo>
                <a:lnTo>
                  <a:pt x="0" y="1252"/>
                </a:lnTo>
                <a:lnTo>
                  <a:pt x="3" y="1259"/>
                </a:lnTo>
                <a:lnTo>
                  <a:pt x="5" y="1263"/>
                </a:lnTo>
                <a:lnTo>
                  <a:pt x="12" y="1271"/>
                </a:lnTo>
                <a:lnTo>
                  <a:pt x="26" y="1282"/>
                </a:lnTo>
                <a:lnTo>
                  <a:pt x="47" y="1294"/>
                </a:lnTo>
                <a:lnTo>
                  <a:pt x="88" y="1313"/>
                </a:lnTo>
                <a:lnTo>
                  <a:pt x="199" y="1360"/>
                </a:lnTo>
                <a:lnTo>
                  <a:pt x="229" y="1372"/>
                </a:lnTo>
                <a:lnTo>
                  <a:pt x="227" y="1384"/>
                </a:lnTo>
                <a:lnTo>
                  <a:pt x="222" y="1438"/>
                </a:lnTo>
                <a:lnTo>
                  <a:pt x="222" y="1497"/>
                </a:lnTo>
                <a:lnTo>
                  <a:pt x="218" y="1800"/>
                </a:lnTo>
                <a:lnTo>
                  <a:pt x="220" y="1809"/>
                </a:lnTo>
                <a:lnTo>
                  <a:pt x="222" y="1812"/>
                </a:lnTo>
                <a:lnTo>
                  <a:pt x="225" y="1812"/>
                </a:lnTo>
                <a:lnTo>
                  <a:pt x="232" y="1816"/>
                </a:lnTo>
                <a:lnTo>
                  <a:pt x="236" y="1819"/>
                </a:lnTo>
                <a:lnTo>
                  <a:pt x="241" y="1823"/>
                </a:lnTo>
                <a:lnTo>
                  <a:pt x="244" y="1828"/>
                </a:lnTo>
                <a:lnTo>
                  <a:pt x="241" y="1830"/>
                </a:lnTo>
                <a:lnTo>
                  <a:pt x="236" y="1840"/>
                </a:lnTo>
                <a:lnTo>
                  <a:pt x="220" y="1861"/>
                </a:lnTo>
                <a:lnTo>
                  <a:pt x="213" y="1873"/>
                </a:lnTo>
                <a:lnTo>
                  <a:pt x="210" y="1882"/>
                </a:lnTo>
                <a:lnTo>
                  <a:pt x="210" y="1885"/>
                </a:lnTo>
                <a:lnTo>
                  <a:pt x="213" y="1889"/>
                </a:lnTo>
                <a:lnTo>
                  <a:pt x="220" y="1894"/>
                </a:lnTo>
                <a:lnTo>
                  <a:pt x="227" y="1897"/>
                </a:lnTo>
                <a:lnTo>
                  <a:pt x="246" y="1899"/>
                </a:lnTo>
                <a:lnTo>
                  <a:pt x="262" y="1901"/>
                </a:lnTo>
                <a:lnTo>
                  <a:pt x="274" y="1901"/>
                </a:lnTo>
                <a:lnTo>
                  <a:pt x="286" y="1899"/>
                </a:lnTo>
                <a:lnTo>
                  <a:pt x="298" y="1894"/>
                </a:lnTo>
                <a:lnTo>
                  <a:pt x="305" y="1889"/>
                </a:lnTo>
                <a:lnTo>
                  <a:pt x="312" y="1885"/>
                </a:lnTo>
                <a:lnTo>
                  <a:pt x="317" y="1878"/>
                </a:lnTo>
                <a:lnTo>
                  <a:pt x="324" y="1864"/>
                </a:lnTo>
                <a:lnTo>
                  <a:pt x="329" y="1849"/>
                </a:lnTo>
                <a:lnTo>
                  <a:pt x="329" y="1830"/>
                </a:lnTo>
                <a:lnTo>
                  <a:pt x="333" y="1807"/>
                </a:lnTo>
                <a:lnTo>
                  <a:pt x="338" y="1795"/>
                </a:lnTo>
                <a:lnTo>
                  <a:pt x="340" y="1774"/>
                </a:lnTo>
                <a:lnTo>
                  <a:pt x="345" y="1719"/>
                </a:lnTo>
                <a:lnTo>
                  <a:pt x="348" y="1663"/>
                </a:lnTo>
                <a:lnTo>
                  <a:pt x="350" y="1623"/>
                </a:lnTo>
                <a:lnTo>
                  <a:pt x="352" y="1585"/>
                </a:lnTo>
                <a:lnTo>
                  <a:pt x="355" y="1526"/>
                </a:lnTo>
                <a:lnTo>
                  <a:pt x="362" y="1462"/>
                </a:lnTo>
                <a:lnTo>
                  <a:pt x="369" y="1400"/>
                </a:lnTo>
                <a:lnTo>
                  <a:pt x="378" y="1318"/>
                </a:lnTo>
                <a:lnTo>
                  <a:pt x="383" y="1301"/>
                </a:lnTo>
                <a:lnTo>
                  <a:pt x="399" y="1230"/>
                </a:lnTo>
                <a:lnTo>
                  <a:pt x="414" y="1160"/>
                </a:lnTo>
                <a:lnTo>
                  <a:pt x="418" y="1129"/>
                </a:lnTo>
                <a:lnTo>
                  <a:pt x="421" y="1098"/>
                </a:lnTo>
                <a:lnTo>
                  <a:pt x="421" y="1074"/>
                </a:lnTo>
                <a:lnTo>
                  <a:pt x="418" y="1056"/>
                </a:lnTo>
                <a:lnTo>
                  <a:pt x="416" y="1048"/>
                </a:lnTo>
                <a:lnTo>
                  <a:pt x="416" y="1046"/>
                </a:lnTo>
                <a:lnTo>
                  <a:pt x="416" y="1041"/>
                </a:lnTo>
                <a:lnTo>
                  <a:pt x="428" y="1001"/>
                </a:lnTo>
                <a:lnTo>
                  <a:pt x="428" y="1034"/>
                </a:lnTo>
                <a:lnTo>
                  <a:pt x="433" y="1067"/>
                </a:lnTo>
                <a:lnTo>
                  <a:pt x="440" y="1131"/>
                </a:lnTo>
                <a:lnTo>
                  <a:pt x="451" y="1188"/>
                </a:lnTo>
                <a:lnTo>
                  <a:pt x="459" y="1240"/>
                </a:lnTo>
                <a:lnTo>
                  <a:pt x="468" y="1349"/>
                </a:lnTo>
                <a:lnTo>
                  <a:pt x="473" y="1393"/>
                </a:lnTo>
                <a:lnTo>
                  <a:pt x="477" y="1422"/>
                </a:lnTo>
                <a:lnTo>
                  <a:pt x="480" y="1441"/>
                </a:lnTo>
                <a:lnTo>
                  <a:pt x="482" y="1476"/>
                </a:lnTo>
                <a:lnTo>
                  <a:pt x="487" y="1582"/>
                </a:lnTo>
                <a:lnTo>
                  <a:pt x="492" y="1755"/>
                </a:lnTo>
                <a:lnTo>
                  <a:pt x="492" y="1797"/>
                </a:lnTo>
                <a:lnTo>
                  <a:pt x="492" y="1814"/>
                </a:lnTo>
                <a:lnTo>
                  <a:pt x="496" y="1828"/>
                </a:lnTo>
                <a:lnTo>
                  <a:pt x="496" y="1840"/>
                </a:lnTo>
                <a:lnTo>
                  <a:pt x="496" y="1847"/>
                </a:lnTo>
                <a:lnTo>
                  <a:pt x="494" y="1852"/>
                </a:lnTo>
                <a:lnTo>
                  <a:pt x="494" y="1859"/>
                </a:lnTo>
                <a:lnTo>
                  <a:pt x="496" y="1861"/>
                </a:lnTo>
                <a:lnTo>
                  <a:pt x="503" y="1866"/>
                </a:lnTo>
                <a:lnTo>
                  <a:pt x="520" y="1871"/>
                </a:lnTo>
                <a:lnTo>
                  <a:pt x="546" y="1878"/>
                </a:lnTo>
                <a:lnTo>
                  <a:pt x="572" y="1887"/>
                </a:lnTo>
                <a:lnTo>
                  <a:pt x="586" y="1892"/>
                </a:lnTo>
                <a:lnTo>
                  <a:pt x="598" y="1894"/>
                </a:lnTo>
                <a:lnTo>
                  <a:pt x="612" y="1897"/>
                </a:lnTo>
                <a:lnTo>
                  <a:pt x="622" y="1897"/>
                </a:lnTo>
                <a:lnTo>
                  <a:pt x="633" y="1894"/>
                </a:lnTo>
                <a:lnTo>
                  <a:pt x="640" y="1889"/>
                </a:lnTo>
                <a:lnTo>
                  <a:pt x="648" y="1887"/>
                </a:lnTo>
                <a:lnTo>
                  <a:pt x="652" y="1880"/>
                </a:lnTo>
                <a:lnTo>
                  <a:pt x="652" y="1875"/>
                </a:lnTo>
                <a:lnTo>
                  <a:pt x="648" y="1866"/>
                </a:lnTo>
                <a:lnTo>
                  <a:pt x="640" y="1859"/>
                </a:lnTo>
                <a:lnTo>
                  <a:pt x="631" y="1849"/>
                </a:lnTo>
                <a:lnTo>
                  <a:pt x="600" y="1823"/>
                </a:lnTo>
                <a:lnTo>
                  <a:pt x="600" y="1819"/>
                </a:lnTo>
                <a:lnTo>
                  <a:pt x="600" y="1812"/>
                </a:lnTo>
                <a:lnTo>
                  <a:pt x="607" y="1786"/>
                </a:lnTo>
                <a:lnTo>
                  <a:pt x="626" y="1731"/>
                </a:lnTo>
                <a:lnTo>
                  <a:pt x="626" y="1722"/>
                </a:lnTo>
                <a:lnTo>
                  <a:pt x="629" y="1712"/>
                </a:lnTo>
                <a:lnTo>
                  <a:pt x="626" y="1693"/>
                </a:lnTo>
                <a:lnTo>
                  <a:pt x="619" y="1672"/>
                </a:lnTo>
                <a:lnTo>
                  <a:pt x="614" y="1641"/>
                </a:lnTo>
                <a:lnTo>
                  <a:pt x="612" y="1620"/>
                </a:lnTo>
                <a:lnTo>
                  <a:pt x="612" y="1589"/>
                </a:lnTo>
                <a:lnTo>
                  <a:pt x="614" y="1521"/>
                </a:lnTo>
                <a:lnTo>
                  <a:pt x="617" y="1455"/>
                </a:lnTo>
                <a:lnTo>
                  <a:pt x="619" y="1408"/>
                </a:lnTo>
                <a:lnTo>
                  <a:pt x="617" y="1216"/>
                </a:lnTo>
                <a:lnTo>
                  <a:pt x="614" y="1030"/>
                </a:lnTo>
                <a:lnTo>
                  <a:pt x="614" y="1004"/>
                </a:lnTo>
                <a:lnTo>
                  <a:pt x="617" y="980"/>
                </a:lnTo>
                <a:lnTo>
                  <a:pt x="619" y="959"/>
                </a:lnTo>
                <a:lnTo>
                  <a:pt x="624" y="937"/>
                </a:lnTo>
                <a:lnTo>
                  <a:pt x="626" y="911"/>
                </a:lnTo>
                <a:lnTo>
                  <a:pt x="626" y="897"/>
                </a:lnTo>
                <a:lnTo>
                  <a:pt x="629" y="890"/>
                </a:lnTo>
                <a:lnTo>
                  <a:pt x="633" y="885"/>
                </a:lnTo>
                <a:lnTo>
                  <a:pt x="636" y="900"/>
                </a:lnTo>
                <a:lnTo>
                  <a:pt x="640" y="911"/>
                </a:lnTo>
                <a:lnTo>
                  <a:pt x="650" y="923"/>
                </a:lnTo>
                <a:lnTo>
                  <a:pt x="655" y="928"/>
                </a:lnTo>
                <a:lnTo>
                  <a:pt x="655" y="933"/>
                </a:lnTo>
                <a:lnTo>
                  <a:pt x="652" y="940"/>
                </a:lnTo>
                <a:lnTo>
                  <a:pt x="652" y="945"/>
                </a:lnTo>
                <a:lnTo>
                  <a:pt x="652" y="949"/>
                </a:lnTo>
                <a:lnTo>
                  <a:pt x="655" y="961"/>
                </a:lnTo>
                <a:lnTo>
                  <a:pt x="659" y="973"/>
                </a:lnTo>
                <a:lnTo>
                  <a:pt x="659" y="978"/>
                </a:lnTo>
                <a:lnTo>
                  <a:pt x="659" y="985"/>
                </a:lnTo>
                <a:lnTo>
                  <a:pt x="659" y="994"/>
                </a:lnTo>
                <a:lnTo>
                  <a:pt x="659" y="1001"/>
                </a:lnTo>
                <a:lnTo>
                  <a:pt x="662" y="1006"/>
                </a:lnTo>
                <a:lnTo>
                  <a:pt x="662" y="1011"/>
                </a:lnTo>
                <a:lnTo>
                  <a:pt x="659" y="1018"/>
                </a:lnTo>
                <a:lnTo>
                  <a:pt x="652" y="1027"/>
                </a:lnTo>
                <a:lnTo>
                  <a:pt x="648" y="1034"/>
                </a:lnTo>
                <a:lnTo>
                  <a:pt x="648" y="1039"/>
                </a:lnTo>
                <a:lnTo>
                  <a:pt x="648" y="1041"/>
                </a:lnTo>
                <a:lnTo>
                  <a:pt x="652" y="1044"/>
                </a:lnTo>
                <a:lnTo>
                  <a:pt x="657" y="1044"/>
                </a:lnTo>
                <a:lnTo>
                  <a:pt x="674" y="1039"/>
                </a:lnTo>
                <a:lnTo>
                  <a:pt x="692" y="1027"/>
                </a:lnTo>
                <a:lnTo>
                  <a:pt x="700" y="1020"/>
                </a:lnTo>
                <a:lnTo>
                  <a:pt x="707" y="1013"/>
                </a:lnTo>
                <a:lnTo>
                  <a:pt x="709" y="1004"/>
                </a:lnTo>
                <a:lnTo>
                  <a:pt x="714" y="997"/>
                </a:lnTo>
                <a:lnTo>
                  <a:pt x="714" y="975"/>
                </a:lnTo>
                <a:lnTo>
                  <a:pt x="714" y="956"/>
                </a:lnTo>
                <a:lnTo>
                  <a:pt x="709" y="940"/>
                </a:lnTo>
                <a:close/>
                <a:moveTo>
                  <a:pt x="248" y="609"/>
                </a:moveTo>
                <a:lnTo>
                  <a:pt x="244" y="647"/>
                </a:lnTo>
                <a:lnTo>
                  <a:pt x="241" y="685"/>
                </a:lnTo>
                <a:lnTo>
                  <a:pt x="239" y="730"/>
                </a:lnTo>
                <a:lnTo>
                  <a:pt x="239" y="786"/>
                </a:lnTo>
                <a:lnTo>
                  <a:pt x="244" y="822"/>
                </a:lnTo>
                <a:lnTo>
                  <a:pt x="236" y="822"/>
                </a:lnTo>
                <a:lnTo>
                  <a:pt x="229" y="819"/>
                </a:lnTo>
                <a:lnTo>
                  <a:pt x="225" y="819"/>
                </a:lnTo>
                <a:lnTo>
                  <a:pt x="225" y="817"/>
                </a:lnTo>
                <a:lnTo>
                  <a:pt x="222" y="812"/>
                </a:lnTo>
                <a:lnTo>
                  <a:pt x="225" y="808"/>
                </a:lnTo>
                <a:lnTo>
                  <a:pt x="227" y="805"/>
                </a:lnTo>
                <a:lnTo>
                  <a:pt x="229" y="800"/>
                </a:lnTo>
                <a:lnTo>
                  <a:pt x="232" y="798"/>
                </a:lnTo>
                <a:lnTo>
                  <a:pt x="232" y="793"/>
                </a:lnTo>
                <a:lnTo>
                  <a:pt x="232" y="777"/>
                </a:lnTo>
                <a:lnTo>
                  <a:pt x="229" y="753"/>
                </a:lnTo>
                <a:lnTo>
                  <a:pt x="227" y="732"/>
                </a:lnTo>
                <a:lnTo>
                  <a:pt x="225" y="711"/>
                </a:lnTo>
                <a:lnTo>
                  <a:pt x="222" y="694"/>
                </a:lnTo>
                <a:lnTo>
                  <a:pt x="220" y="678"/>
                </a:lnTo>
                <a:lnTo>
                  <a:pt x="220" y="659"/>
                </a:lnTo>
                <a:lnTo>
                  <a:pt x="220" y="637"/>
                </a:lnTo>
                <a:lnTo>
                  <a:pt x="225" y="619"/>
                </a:lnTo>
                <a:lnTo>
                  <a:pt x="232" y="600"/>
                </a:lnTo>
                <a:lnTo>
                  <a:pt x="241" y="583"/>
                </a:lnTo>
                <a:lnTo>
                  <a:pt x="246" y="578"/>
                </a:lnTo>
                <a:lnTo>
                  <a:pt x="251" y="576"/>
                </a:lnTo>
                <a:lnTo>
                  <a:pt x="248" y="609"/>
                </a:lnTo>
                <a:close/>
                <a:moveTo>
                  <a:pt x="350" y="189"/>
                </a:moveTo>
                <a:lnTo>
                  <a:pt x="355" y="200"/>
                </a:lnTo>
                <a:lnTo>
                  <a:pt x="359" y="205"/>
                </a:lnTo>
                <a:lnTo>
                  <a:pt x="362" y="210"/>
                </a:lnTo>
                <a:lnTo>
                  <a:pt x="364" y="215"/>
                </a:lnTo>
                <a:lnTo>
                  <a:pt x="366" y="229"/>
                </a:lnTo>
                <a:lnTo>
                  <a:pt x="366" y="248"/>
                </a:lnTo>
                <a:lnTo>
                  <a:pt x="364" y="252"/>
                </a:lnTo>
                <a:lnTo>
                  <a:pt x="362" y="264"/>
                </a:lnTo>
                <a:lnTo>
                  <a:pt x="362" y="267"/>
                </a:lnTo>
                <a:lnTo>
                  <a:pt x="362" y="269"/>
                </a:lnTo>
                <a:lnTo>
                  <a:pt x="364" y="274"/>
                </a:lnTo>
                <a:lnTo>
                  <a:pt x="371" y="281"/>
                </a:lnTo>
                <a:lnTo>
                  <a:pt x="388" y="293"/>
                </a:lnTo>
                <a:lnTo>
                  <a:pt x="402" y="304"/>
                </a:lnTo>
                <a:lnTo>
                  <a:pt x="409" y="307"/>
                </a:lnTo>
                <a:lnTo>
                  <a:pt x="416" y="309"/>
                </a:lnTo>
                <a:lnTo>
                  <a:pt x="425" y="309"/>
                </a:lnTo>
                <a:lnTo>
                  <a:pt x="435" y="307"/>
                </a:lnTo>
                <a:lnTo>
                  <a:pt x="449" y="302"/>
                </a:lnTo>
                <a:lnTo>
                  <a:pt x="461" y="297"/>
                </a:lnTo>
                <a:lnTo>
                  <a:pt x="470" y="290"/>
                </a:lnTo>
                <a:lnTo>
                  <a:pt x="477" y="283"/>
                </a:lnTo>
                <a:lnTo>
                  <a:pt x="485" y="271"/>
                </a:lnTo>
                <a:lnTo>
                  <a:pt x="487" y="262"/>
                </a:lnTo>
                <a:lnTo>
                  <a:pt x="489" y="262"/>
                </a:lnTo>
                <a:lnTo>
                  <a:pt x="487" y="257"/>
                </a:lnTo>
                <a:lnTo>
                  <a:pt x="487" y="248"/>
                </a:lnTo>
                <a:lnTo>
                  <a:pt x="494" y="224"/>
                </a:lnTo>
                <a:lnTo>
                  <a:pt x="496" y="222"/>
                </a:lnTo>
                <a:lnTo>
                  <a:pt x="501" y="219"/>
                </a:lnTo>
                <a:lnTo>
                  <a:pt x="508" y="212"/>
                </a:lnTo>
                <a:lnTo>
                  <a:pt x="518" y="198"/>
                </a:lnTo>
                <a:lnTo>
                  <a:pt x="527" y="174"/>
                </a:lnTo>
                <a:lnTo>
                  <a:pt x="534" y="153"/>
                </a:lnTo>
                <a:lnTo>
                  <a:pt x="534" y="148"/>
                </a:lnTo>
                <a:lnTo>
                  <a:pt x="532" y="146"/>
                </a:lnTo>
                <a:lnTo>
                  <a:pt x="529" y="144"/>
                </a:lnTo>
                <a:lnTo>
                  <a:pt x="534" y="127"/>
                </a:lnTo>
                <a:lnTo>
                  <a:pt x="537" y="111"/>
                </a:lnTo>
                <a:lnTo>
                  <a:pt x="539" y="89"/>
                </a:lnTo>
                <a:lnTo>
                  <a:pt x="539" y="78"/>
                </a:lnTo>
                <a:lnTo>
                  <a:pt x="537" y="66"/>
                </a:lnTo>
                <a:lnTo>
                  <a:pt x="529" y="44"/>
                </a:lnTo>
                <a:lnTo>
                  <a:pt x="520" y="30"/>
                </a:lnTo>
                <a:lnTo>
                  <a:pt x="513" y="23"/>
                </a:lnTo>
                <a:lnTo>
                  <a:pt x="501" y="14"/>
                </a:lnTo>
                <a:lnTo>
                  <a:pt x="485" y="7"/>
                </a:lnTo>
                <a:lnTo>
                  <a:pt x="473" y="2"/>
                </a:lnTo>
                <a:lnTo>
                  <a:pt x="459" y="0"/>
                </a:lnTo>
                <a:lnTo>
                  <a:pt x="442" y="0"/>
                </a:lnTo>
                <a:lnTo>
                  <a:pt x="423" y="0"/>
                </a:lnTo>
                <a:lnTo>
                  <a:pt x="407" y="4"/>
                </a:lnTo>
                <a:lnTo>
                  <a:pt x="395" y="9"/>
                </a:lnTo>
                <a:lnTo>
                  <a:pt x="383" y="18"/>
                </a:lnTo>
                <a:lnTo>
                  <a:pt x="374" y="28"/>
                </a:lnTo>
                <a:lnTo>
                  <a:pt x="366" y="37"/>
                </a:lnTo>
                <a:lnTo>
                  <a:pt x="362" y="49"/>
                </a:lnTo>
                <a:lnTo>
                  <a:pt x="352" y="68"/>
                </a:lnTo>
                <a:lnTo>
                  <a:pt x="348" y="89"/>
                </a:lnTo>
                <a:lnTo>
                  <a:pt x="348" y="106"/>
                </a:lnTo>
                <a:lnTo>
                  <a:pt x="350" y="125"/>
                </a:lnTo>
                <a:lnTo>
                  <a:pt x="345" y="127"/>
                </a:lnTo>
                <a:lnTo>
                  <a:pt x="343" y="130"/>
                </a:lnTo>
                <a:lnTo>
                  <a:pt x="340" y="137"/>
                </a:lnTo>
                <a:lnTo>
                  <a:pt x="340" y="148"/>
                </a:lnTo>
                <a:lnTo>
                  <a:pt x="343" y="163"/>
                </a:lnTo>
                <a:lnTo>
                  <a:pt x="350" y="18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160" name="Gruppieren 60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gray">
          <a:xfrm flipH="1">
            <a:off x="4081287" y="1808033"/>
            <a:ext cx="201326" cy="549605"/>
            <a:chOff x="9969500" y="2562225"/>
            <a:chExt cx="277813" cy="625475"/>
          </a:xfrm>
        </p:grpSpPr>
        <p:sp>
          <p:nvSpPr>
            <p:cNvPr id="161" name="Freeform 37"/>
            <p:cNvSpPr>
              <a:spLocks noChangeAspect="1" noEditPoints="1"/>
            </p:cNvSpPr>
            <p:nvPr/>
          </p:nvSpPr>
          <p:spPr bwMode="gray">
            <a:xfrm>
              <a:off x="9969500" y="2562225"/>
              <a:ext cx="277813" cy="625475"/>
            </a:xfrm>
            <a:custGeom>
              <a:avLst/>
              <a:gdLst>
                <a:gd name="T0" fmla="*/ 23 w 74"/>
                <a:gd name="T1" fmla="*/ 88 h 167"/>
                <a:gd name="T2" fmla="*/ 21 w 74"/>
                <a:gd name="T3" fmla="*/ 84 h 167"/>
                <a:gd name="T4" fmla="*/ 12 w 74"/>
                <a:gd name="T5" fmla="*/ 85 h 167"/>
                <a:gd name="T6" fmla="*/ 14 w 74"/>
                <a:gd name="T7" fmla="*/ 71 h 167"/>
                <a:gd name="T8" fmla="*/ 4 w 74"/>
                <a:gd name="T9" fmla="*/ 45 h 167"/>
                <a:gd name="T10" fmla="*/ 12 w 74"/>
                <a:gd name="T11" fmla="*/ 35 h 167"/>
                <a:gd name="T12" fmla="*/ 16 w 74"/>
                <a:gd name="T13" fmla="*/ 27 h 167"/>
                <a:gd name="T14" fmla="*/ 32 w 74"/>
                <a:gd name="T15" fmla="*/ 23 h 167"/>
                <a:gd name="T16" fmla="*/ 30 w 74"/>
                <a:gd name="T17" fmla="*/ 14 h 167"/>
                <a:gd name="T18" fmla="*/ 39 w 74"/>
                <a:gd name="T19" fmla="*/ 1 h 167"/>
                <a:gd name="T20" fmla="*/ 48 w 74"/>
                <a:gd name="T21" fmla="*/ 13 h 167"/>
                <a:gd name="T22" fmla="*/ 46 w 74"/>
                <a:gd name="T23" fmla="*/ 19 h 167"/>
                <a:gd name="T24" fmla="*/ 45 w 74"/>
                <a:gd name="T25" fmla="*/ 25 h 167"/>
                <a:gd name="T26" fmla="*/ 60 w 74"/>
                <a:gd name="T27" fmla="*/ 31 h 167"/>
                <a:gd name="T28" fmla="*/ 67 w 74"/>
                <a:gd name="T29" fmla="*/ 38 h 167"/>
                <a:gd name="T30" fmla="*/ 72 w 74"/>
                <a:gd name="T31" fmla="*/ 50 h 167"/>
                <a:gd name="T32" fmla="*/ 60 w 74"/>
                <a:gd name="T33" fmla="*/ 67 h 167"/>
                <a:gd name="T34" fmla="*/ 55 w 74"/>
                <a:gd name="T35" fmla="*/ 88 h 167"/>
                <a:gd name="T36" fmla="*/ 53 w 74"/>
                <a:gd name="T37" fmla="*/ 122 h 167"/>
                <a:gd name="T38" fmla="*/ 50 w 74"/>
                <a:gd name="T39" fmla="*/ 138 h 167"/>
                <a:gd name="T40" fmla="*/ 48 w 74"/>
                <a:gd name="T41" fmla="*/ 144 h 167"/>
                <a:gd name="T42" fmla="*/ 56 w 74"/>
                <a:gd name="T43" fmla="*/ 155 h 167"/>
                <a:gd name="T44" fmla="*/ 44 w 74"/>
                <a:gd name="T45" fmla="*/ 151 h 167"/>
                <a:gd name="T46" fmla="*/ 39 w 74"/>
                <a:gd name="T47" fmla="*/ 148 h 167"/>
                <a:gd name="T48" fmla="*/ 39 w 74"/>
                <a:gd name="T49" fmla="*/ 139 h 167"/>
                <a:gd name="T50" fmla="*/ 40 w 74"/>
                <a:gd name="T51" fmla="*/ 125 h 167"/>
                <a:gd name="T52" fmla="*/ 40 w 74"/>
                <a:gd name="T53" fmla="*/ 120 h 167"/>
                <a:gd name="T54" fmla="*/ 40 w 74"/>
                <a:gd name="T55" fmla="*/ 116 h 167"/>
                <a:gd name="T56" fmla="*/ 40 w 74"/>
                <a:gd name="T57" fmla="*/ 105 h 167"/>
                <a:gd name="T58" fmla="*/ 39 w 74"/>
                <a:gd name="T59" fmla="*/ 97 h 167"/>
                <a:gd name="T60" fmla="*/ 36 w 74"/>
                <a:gd name="T61" fmla="*/ 104 h 167"/>
                <a:gd name="T62" fmla="*/ 33 w 74"/>
                <a:gd name="T63" fmla="*/ 117 h 167"/>
                <a:gd name="T64" fmla="*/ 27 w 74"/>
                <a:gd name="T65" fmla="*/ 146 h 167"/>
                <a:gd name="T66" fmla="*/ 26 w 74"/>
                <a:gd name="T67" fmla="*/ 152 h 167"/>
                <a:gd name="T68" fmla="*/ 22 w 74"/>
                <a:gd name="T69" fmla="*/ 167 h 167"/>
                <a:gd name="T70" fmla="*/ 17 w 74"/>
                <a:gd name="T71" fmla="*/ 154 h 167"/>
                <a:gd name="T72" fmla="*/ 18 w 74"/>
                <a:gd name="T73" fmla="*/ 141 h 167"/>
                <a:gd name="T74" fmla="*/ 20 w 74"/>
                <a:gd name="T75" fmla="*/ 122 h 167"/>
                <a:gd name="T76" fmla="*/ 23 w 74"/>
                <a:gd name="T77" fmla="*/ 113 h 167"/>
                <a:gd name="T78" fmla="*/ 23 w 74"/>
                <a:gd name="T79" fmla="*/ 106 h 167"/>
                <a:gd name="T80" fmla="*/ 18 w 74"/>
                <a:gd name="T81" fmla="*/ 42 h 167"/>
                <a:gd name="T82" fmla="*/ 13 w 74"/>
                <a:gd name="T83" fmla="*/ 53 h 167"/>
                <a:gd name="T84" fmla="*/ 16 w 74"/>
                <a:gd name="T85" fmla="*/ 59 h 167"/>
                <a:gd name="T86" fmla="*/ 18 w 74"/>
                <a:gd name="T87" fmla="*/ 42 h 167"/>
                <a:gd name="T88" fmla="*/ 59 w 74"/>
                <a:gd name="T89" fmla="*/ 53 h 167"/>
                <a:gd name="T90" fmla="*/ 63 w 74"/>
                <a:gd name="T91" fmla="*/ 48 h 167"/>
                <a:gd name="T92" fmla="*/ 59 w 74"/>
                <a:gd name="T93" fmla="*/ 45 h 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"/>
                <a:gd name="T142" fmla="*/ 0 h 167"/>
                <a:gd name="T143" fmla="*/ 74 w 74"/>
                <a:gd name="T144" fmla="*/ 167 h 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" h="167">
                  <a:moveTo>
                    <a:pt x="23" y="96"/>
                  </a:moveTo>
                  <a:cubicBezTo>
                    <a:pt x="23" y="95"/>
                    <a:pt x="23" y="94"/>
                    <a:pt x="23" y="93"/>
                  </a:cubicBezTo>
                  <a:cubicBezTo>
                    <a:pt x="23" y="92"/>
                    <a:pt x="23" y="89"/>
                    <a:pt x="23" y="88"/>
                  </a:cubicBezTo>
                  <a:cubicBezTo>
                    <a:pt x="24" y="88"/>
                    <a:pt x="23" y="88"/>
                    <a:pt x="23" y="88"/>
                  </a:cubicBezTo>
                  <a:cubicBezTo>
                    <a:pt x="23" y="87"/>
                    <a:pt x="23" y="86"/>
                    <a:pt x="23" y="85"/>
                  </a:cubicBezTo>
                  <a:cubicBezTo>
                    <a:pt x="23" y="85"/>
                    <a:pt x="22" y="84"/>
                    <a:pt x="21" y="84"/>
                  </a:cubicBezTo>
                  <a:cubicBezTo>
                    <a:pt x="21" y="84"/>
                    <a:pt x="21" y="86"/>
                    <a:pt x="19" y="87"/>
                  </a:cubicBezTo>
                  <a:cubicBezTo>
                    <a:pt x="17" y="88"/>
                    <a:pt x="15" y="86"/>
                    <a:pt x="13" y="86"/>
                  </a:cubicBezTo>
                  <a:cubicBezTo>
                    <a:pt x="12" y="85"/>
                    <a:pt x="13" y="85"/>
                    <a:pt x="12" y="85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1" y="84"/>
                    <a:pt x="12" y="82"/>
                    <a:pt x="13" y="80"/>
                  </a:cubicBezTo>
                  <a:cubicBezTo>
                    <a:pt x="13" y="79"/>
                    <a:pt x="14" y="72"/>
                    <a:pt x="14" y="71"/>
                  </a:cubicBezTo>
                  <a:cubicBezTo>
                    <a:pt x="14" y="71"/>
                    <a:pt x="11" y="67"/>
                    <a:pt x="10" y="65"/>
                  </a:cubicBezTo>
                  <a:cubicBezTo>
                    <a:pt x="8" y="64"/>
                    <a:pt x="3" y="56"/>
                    <a:pt x="1" y="53"/>
                  </a:cubicBezTo>
                  <a:cubicBezTo>
                    <a:pt x="0" y="51"/>
                    <a:pt x="2" y="48"/>
                    <a:pt x="4" y="45"/>
                  </a:cubicBezTo>
                  <a:cubicBezTo>
                    <a:pt x="6" y="42"/>
                    <a:pt x="8" y="40"/>
                    <a:pt x="9" y="40"/>
                  </a:cubicBezTo>
                  <a:cubicBezTo>
                    <a:pt x="10" y="39"/>
                    <a:pt x="11" y="37"/>
                    <a:pt x="11" y="37"/>
                  </a:cubicBezTo>
                  <a:cubicBezTo>
                    <a:pt x="11" y="36"/>
                    <a:pt x="12" y="36"/>
                    <a:pt x="12" y="35"/>
                  </a:cubicBezTo>
                  <a:cubicBezTo>
                    <a:pt x="13" y="35"/>
                    <a:pt x="13" y="34"/>
                    <a:pt x="14" y="33"/>
                  </a:cubicBezTo>
                  <a:cubicBezTo>
                    <a:pt x="14" y="33"/>
                    <a:pt x="14" y="32"/>
                    <a:pt x="15" y="31"/>
                  </a:cubicBezTo>
                  <a:cubicBezTo>
                    <a:pt x="15" y="31"/>
                    <a:pt x="15" y="29"/>
                    <a:pt x="16" y="27"/>
                  </a:cubicBezTo>
                  <a:cubicBezTo>
                    <a:pt x="16" y="26"/>
                    <a:pt x="20" y="25"/>
                    <a:pt x="22" y="25"/>
                  </a:cubicBezTo>
                  <a:cubicBezTo>
                    <a:pt x="24" y="25"/>
                    <a:pt x="27" y="24"/>
                    <a:pt x="29" y="25"/>
                  </a:cubicBezTo>
                  <a:cubicBezTo>
                    <a:pt x="30" y="25"/>
                    <a:pt x="30" y="24"/>
                    <a:pt x="32" y="23"/>
                  </a:cubicBezTo>
                  <a:cubicBezTo>
                    <a:pt x="34" y="21"/>
                    <a:pt x="33" y="19"/>
                    <a:pt x="33" y="18"/>
                  </a:cubicBezTo>
                  <a:cubicBezTo>
                    <a:pt x="33" y="18"/>
                    <a:pt x="33" y="18"/>
                    <a:pt x="32" y="18"/>
                  </a:cubicBezTo>
                  <a:cubicBezTo>
                    <a:pt x="31" y="17"/>
                    <a:pt x="31" y="15"/>
                    <a:pt x="30" y="14"/>
                  </a:cubicBezTo>
                  <a:cubicBezTo>
                    <a:pt x="30" y="13"/>
                    <a:pt x="30" y="12"/>
                    <a:pt x="31" y="12"/>
                  </a:cubicBezTo>
                  <a:cubicBezTo>
                    <a:pt x="31" y="12"/>
                    <a:pt x="30" y="8"/>
                    <a:pt x="31" y="5"/>
                  </a:cubicBezTo>
                  <a:cubicBezTo>
                    <a:pt x="32" y="2"/>
                    <a:pt x="37" y="1"/>
                    <a:pt x="39" y="1"/>
                  </a:cubicBezTo>
                  <a:cubicBezTo>
                    <a:pt x="42" y="0"/>
                    <a:pt x="45" y="3"/>
                    <a:pt x="47" y="5"/>
                  </a:cubicBezTo>
                  <a:cubicBezTo>
                    <a:pt x="48" y="7"/>
                    <a:pt x="48" y="11"/>
                    <a:pt x="47" y="12"/>
                  </a:cubicBezTo>
                  <a:cubicBezTo>
                    <a:pt x="47" y="13"/>
                    <a:pt x="47" y="13"/>
                    <a:pt x="48" y="13"/>
                  </a:cubicBezTo>
                  <a:cubicBezTo>
                    <a:pt x="48" y="13"/>
                    <a:pt x="48" y="14"/>
                    <a:pt x="47" y="16"/>
                  </a:cubicBezTo>
                  <a:cubicBezTo>
                    <a:pt x="47" y="18"/>
                    <a:pt x="47" y="18"/>
                    <a:pt x="46" y="18"/>
                  </a:cubicBezTo>
                  <a:cubicBezTo>
                    <a:pt x="46" y="18"/>
                    <a:pt x="46" y="18"/>
                    <a:pt x="46" y="19"/>
                  </a:cubicBezTo>
                  <a:cubicBezTo>
                    <a:pt x="46" y="20"/>
                    <a:pt x="45" y="22"/>
                    <a:pt x="44" y="23"/>
                  </a:cubicBezTo>
                  <a:cubicBezTo>
                    <a:pt x="44" y="23"/>
                    <a:pt x="44" y="24"/>
                    <a:pt x="44" y="24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6" y="24"/>
                    <a:pt x="52" y="24"/>
                    <a:pt x="55" y="24"/>
                  </a:cubicBezTo>
                  <a:cubicBezTo>
                    <a:pt x="57" y="24"/>
                    <a:pt x="57" y="26"/>
                    <a:pt x="58" y="27"/>
                  </a:cubicBezTo>
                  <a:cubicBezTo>
                    <a:pt x="59" y="28"/>
                    <a:pt x="60" y="30"/>
                    <a:pt x="60" y="31"/>
                  </a:cubicBezTo>
                  <a:cubicBezTo>
                    <a:pt x="61" y="31"/>
                    <a:pt x="61" y="32"/>
                    <a:pt x="62" y="33"/>
                  </a:cubicBezTo>
                  <a:cubicBezTo>
                    <a:pt x="62" y="33"/>
                    <a:pt x="64" y="35"/>
                    <a:pt x="64" y="36"/>
                  </a:cubicBezTo>
                  <a:cubicBezTo>
                    <a:pt x="65" y="36"/>
                    <a:pt x="66" y="38"/>
                    <a:pt x="67" y="38"/>
                  </a:cubicBezTo>
                  <a:cubicBezTo>
                    <a:pt x="67" y="38"/>
                    <a:pt x="68" y="40"/>
                    <a:pt x="69" y="41"/>
                  </a:cubicBezTo>
                  <a:cubicBezTo>
                    <a:pt x="70" y="41"/>
                    <a:pt x="72" y="43"/>
                    <a:pt x="73" y="45"/>
                  </a:cubicBezTo>
                  <a:cubicBezTo>
                    <a:pt x="74" y="47"/>
                    <a:pt x="73" y="49"/>
                    <a:pt x="72" y="50"/>
                  </a:cubicBezTo>
                  <a:cubicBezTo>
                    <a:pt x="71" y="51"/>
                    <a:pt x="69" y="55"/>
                    <a:pt x="68" y="57"/>
                  </a:cubicBezTo>
                  <a:cubicBezTo>
                    <a:pt x="67" y="58"/>
                    <a:pt x="63" y="62"/>
                    <a:pt x="63" y="63"/>
                  </a:cubicBezTo>
                  <a:cubicBezTo>
                    <a:pt x="62" y="63"/>
                    <a:pt x="60" y="67"/>
                    <a:pt x="60" y="67"/>
                  </a:cubicBezTo>
                  <a:cubicBezTo>
                    <a:pt x="59" y="67"/>
                    <a:pt x="61" y="77"/>
                    <a:pt x="62" y="79"/>
                  </a:cubicBezTo>
                  <a:cubicBezTo>
                    <a:pt x="62" y="82"/>
                    <a:pt x="56" y="82"/>
                    <a:pt x="56" y="81"/>
                  </a:cubicBezTo>
                  <a:cubicBezTo>
                    <a:pt x="55" y="81"/>
                    <a:pt x="55" y="86"/>
                    <a:pt x="55" y="88"/>
                  </a:cubicBezTo>
                  <a:cubicBezTo>
                    <a:pt x="55" y="90"/>
                    <a:pt x="55" y="93"/>
                    <a:pt x="55" y="94"/>
                  </a:cubicBezTo>
                  <a:cubicBezTo>
                    <a:pt x="54" y="96"/>
                    <a:pt x="53" y="113"/>
                    <a:pt x="53" y="115"/>
                  </a:cubicBezTo>
                  <a:cubicBezTo>
                    <a:pt x="53" y="118"/>
                    <a:pt x="53" y="120"/>
                    <a:pt x="53" y="122"/>
                  </a:cubicBezTo>
                  <a:cubicBezTo>
                    <a:pt x="53" y="123"/>
                    <a:pt x="53" y="124"/>
                    <a:pt x="53" y="125"/>
                  </a:cubicBezTo>
                  <a:cubicBezTo>
                    <a:pt x="52" y="126"/>
                    <a:pt x="50" y="130"/>
                    <a:pt x="50" y="133"/>
                  </a:cubicBezTo>
                  <a:cubicBezTo>
                    <a:pt x="49" y="135"/>
                    <a:pt x="50" y="136"/>
                    <a:pt x="50" y="138"/>
                  </a:cubicBezTo>
                  <a:cubicBezTo>
                    <a:pt x="50" y="139"/>
                    <a:pt x="49" y="140"/>
                    <a:pt x="49" y="140"/>
                  </a:cubicBezTo>
                  <a:cubicBezTo>
                    <a:pt x="49" y="141"/>
                    <a:pt x="49" y="141"/>
                    <a:pt x="48" y="142"/>
                  </a:cubicBezTo>
                  <a:cubicBezTo>
                    <a:pt x="47" y="143"/>
                    <a:pt x="48" y="143"/>
                    <a:pt x="48" y="144"/>
                  </a:cubicBezTo>
                  <a:cubicBezTo>
                    <a:pt x="49" y="144"/>
                    <a:pt x="49" y="145"/>
                    <a:pt x="48" y="146"/>
                  </a:cubicBezTo>
                  <a:cubicBezTo>
                    <a:pt x="48" y="146"/>
                    <a:pt x="54" y="152"/>
                    <a:pt x="55" y="153"/>
                  </a:cubicBezTo>
                  <a:cubicBezTo>
                    <a:pt x="57" y="153"/>
                    <a:pt x="57" y="154"/>
                    <a:pt x="56" y="155"/>
                  </a:cubicBezTo>
                  <a:cubicBezTo>
                    <a:pt x="56" y="155"/>
                    <a:pt x="53" y="156"/>
                    <a:pt x="51" y="156"/>
                  </a:cubicBezTo>
                  <a:cubicBezTo>
                    <a:pt x="49" y="156"/>
                    <a:pt x="45" y="154"/>
                    <a:pt x="45" y="153"/>
                  </a:cubicBezTo>
                  <a:cubicBezTo>
                    <a:pt x="45" y="153"/>
                    <a:pt x="44" y="152"/>
                    <a:pt x="44" y="151"/>
                  </a:cubicBezTo>
                  <a:cubicBezTo>
                    <a:pt x="43" y="150"/>
                    <a:pt x="43" y="151"/>
                    <a:pt x="42" y="151"/>
                  </a:cubicBezTo>
                  <a:cubicBezTo>
                    <a:pt x="42" y="151"/>
                    <a:pt x="39" y="150"/>
                    <a:pt x="39" y="150"/>
                  </a:cubicBezTo>
                  <a:cubicBezTo>
                    <a:pt x="38" y="149"/>
                    <a:pt x="39" y="149"/>
                    <a:pt x="39" y="148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38" y="145"/>
                    <a:pt x="38" y="144"/>
                  </a:cubicBezTo>
                  <a:cubicBezTo>
                    <a:pt x="37" y="143"/>
                    <a:pt x="38" y="140"/>
                    <a:pt x="39" y="139"/>
                  </a:cubicBezTo>
                  <a:cubicBezTo>
                    <a:pt x="40" y="138"/>
                    <a:pt x="40" y="137"/>
                    <a:pt x="40" y="136"/>
                  </a:cubicBezTo>
                  <a:cubicBezTo>
                    <a:pt x="40" y="135"/>
                    <a:pt x="40" y="130"/>
                    <a:pt x="40" y="129"/>
                  </a:cubicBezTo>
                  <a:cubicBezTo>
                    <a:pt x="40" y="127"/>
                    <a:pt x="40" y="126"/>
                    <a:pt x="40" y="125"/>
                  </a:cubicBezTo>
                  <a:cubicBezTo>
                    <a:pt x="40" y="125"/>
                    <a:pt x="40" y="125"/>
                    <a:pt x="40" y="124"/>
                  </a:cubicBezTo>
                  <a:cubicBezTo>
                    <a:pt x="40" y="124"/>
                    <a:pt x="40" y="123"/>
                    <a:pt x="40" y="122"/>
                  </a:cubicBezTo>
                  <a:cubicBezTo>
                    <a:pt x="39" y="121"/>
                    <a:pt x="40" y="121"/>
                    <a:pt x="40" y="120"/>
                  </a:cubicBezTo>
                  <a:cubicBezTo>
                    <a:pt x="40" y="120"/>
                    <a:pt x="40" y="120"/>
                    <a:pt x="40" y="119"/>
                  </a:cubicBezTo>
                  <a:cubicBezTo>
                    <a:pt x="40" y="119"/>
                    <a:pt x="40" y="119"/>
                    <a:pt x="40" y="118"/>
                  </a:cubicBezTo>
                  <a:cubicBezTo>
                    <a:pt x="41" y="117"/>
                    <a:pt x="41" y="117"/>
                    <a:pt x="40" y="116"/>
                  </a:cubicBezTo>
                  <a:cubicBezTo>
                    <a:pt x="40" y="116"/>
                    <a:pt x="40" y="115"/>
                    <a:pt x="41" y="114"/>
                  </a:cubicBezTo>
                  <a:cubicBezTo>
                    <a:pt x="41" y="113"/>
                    <a:pt x="40" y="110"/>
                    <a:pt x="40" y="108"/>
                  </a:cubicBezTo>
                  <a:cubicBezTo>
                    <a:pt x="40" y="107"/>
                    <a:pt x="40" y="105"/>
                    <a:pt x="40" y="105"/>
                  </a:cubicBezTo>
                  <a:cubicBezTo>
                    <a:pt x="40" y="104"/>
                    <a:pt x="40" y="104"/>
                    <a:pt x="39" y="104"/>
                  </a:cubicBezTo>
                  <a:cubicBezTo>
                    <a:pt x="39" y="103"/>
                    <a:pt x="39" y="97"/>
                    <a:pt x="39" y="96"/>
                  </a:cubicBezTo>
                  <a:cubicBezTo>
                    <a:pt x="39" y="96"/>
                    <a:pt x="39" y="96"/>
                    <a:pt x="39" y="97"/>
                  </a:cubicBezTo>
                  <a:cubicBezTo>
                    <a:pt x="39" y="98"/>
                    <a:pt x="37" y="100"/>
                    <a:pt x="38" y="101"/>
                  </a:cubicBezTo>
                  <a:cubicBezTo>
                    <a:pt x="38" y="101"/>
                    <a:pt x="38" y="101"/>
                    <a:pt x="37" y="102"/>
                  </a:cubicBezTo>
                  <a:cubicBezTo>
                    <a:pt x="37" y="102"/>
                    <a:pt x="37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6" y="106"/>
                    <a:pt x="35" y="107"/>
                    <a:pt x="35" y="108"/>
                  </a:cubicBezTo>
                  <a:cubicBezTo>
                    <a:pt x="35" y="108"/>
                    <a:pt x="33" y="116"/>
                    <a:pt x="33" y="117"/>
                  </a:cubicBezTo>
                  <a:cubicBezTo>
                    <a:pt x="33" y="119"/>
                    <a:pt x="33" y="119"/>
                    <a:pt x="33" y="120"/>
                  </a:cubicBezTo>
                  <a:cubicBezTo>
                    <a:pt x="33" y="121"/>
                    <a:pt x="30" y="134"/>
                    <a:pt x="29" y="136"/>
                  </a:cubicBezTo>
                  <a:cubicBezTo>
                    <a:pt x="29" y="139"/>
                    <a:pt x="28" y="145"/>
                    <a:pt x="27" y="146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48"/>
                    <a:pt x="28" y="148"/>
                    <a:pt x="27" y="149"/>
                  </a:cubicBezTo>
                  <a:cubicBezTo>
                    <a:pt x="27" y="151"/>
                    <a:pt x="26" y="151"/>
                    <a:pt x="26" y="152"/>
                  </a:cubicBezTo>
                  <a:cubicBezTo>
                    <a:pt x="26" y="153"/>
                    <a:pt x="26" y="155"/>
                    <a:pt x="25" y="155"/>
                  </a:cubicBezTo>
                  <a:cubicBezTo>
                    <a:pt x="24" y="156"/>
                    <a:pt x="26" y="158"/>
                    <a:pt x="27" y="162"/>
                  </a:cubicBezTo>
                  <a:cubicBezTo>
                    <a:pt x="28" y="166"/>
                    <a:pt x="25" y="167"/>
                    <a:pt x="22" y="167"/>
                  </a:cubicBezTo>
                  <a:cubicBezTo>
                    <a:pt x="19" y="167"/>
                    <a:pt x="17" y="163"/>
                    <a:pt x="17" y="161"/>
                  </a:cubicBezTo>
                  <a:cubicBezTo>
                    <a:pt x="17" y="160"/>
                    <a:pt x="17" y="158"/>
                    <a:pt x="17" y="156"/>
                  </a:cubicBezTo>
                  <a:cubicBezTo>
                    <a:pt x="16" y="155"/>
                    <a:pt x="17" y="155"/>
                    <a:pt x="17" y="154"/>
                  </a:cubicBezTo>
                  <a:cubicBezTo>
                    <a:pt x="16" y="154"/>
                    <a:pt x="16" y="151"/>
                    <a:pt x="15" y="150"/>
                  </a:cubicBezTo>
                  <a:cubicBezTo>
                    <a:pt x="15" y="148"/>
                    <a:pt x="18" y="146"/>
                    <a:pt x="18" y="146"/>
                  </a:cubicBezTo>
                  <a:cubicBezTo>
                    <a:pt x="19" y="145"/>
                    <a:pt x="19" y="143"/>
                    <a:pt x="18" y="141"/>
                  </a:cubicBezTo>
                  <a:cubicBezTo>
                    <a:pt x="17" y="140"/>
                    <a:pt x="18" y="131"/>
                    <a:pt x="18" y="129"/>
                  </a:cubicBezTo>
                  <a:cubicBezTo>
                    <a:pt x="19" y="127"/>
                    <a:pt x="19" y="126"/>
                    <a:pt x="19" y="125"/>
                  </a:cubicBezTo>
                  <a:cubicBezTo>
                    <a:pt x="19" y="124"/>
                    <a:pt x="19" y="124"/>
                    <a:pt x="20" y="122"/>
                  </a:cubicBezTo>
                  <a:cubicBezTo>
                    <a:pt x="20" y="121"/>
                    <a:pt x="21" y="119"/>
                    <a:pt x="21" y="118"/>
                  </a:cubicBezTo>
                  <a:cubicBezTo>
                    <a:pt x="22" y="117"/>
                    <a:pt x="22" y="117"/>
                    <a:pt x="22" y="115"/>
                  </a:cubicBezTo>
                  <a:cubicBezTo>
                    <a:pt x="22" y="114"/>
                    <a:pt x="22" y="114"/>
                    <a:pt x="23" y="113"/>
                  </a:cubicBezTo>
                  <a:cubicBezTo>
                    <a:pt x="23" y="112"/>
                    <a:pt x="23" y="112"/>
                    <a:pt x="23" y="111"/>
                  </a:cubicBezTo>
                  <a:cubicBezTo>
                    <a:pt x="23" y="110"/>
                    <a:pt x="23" y="109"/>
                    <a:pt x="23" y="108"/>
                  </a:cubicBezTo>
                  <a:cubicBezTo>
                    <a:pt x="23" y="107"/>
                    <a:pt x="23" y="107"/>
                    <a:pt x="23" y="106"/>
                  </a:cubicBezTo>
                  <a:cubicBezTo>
                    <a:pt x="23" y="105"/>
                    <a:pt x="23" y="100"/>
                    <a:pt x="23" y="99"/>
                  </a:cubicBezTo>
                  <a:cubicBezTo>
                    <a:pt x="23" y="99"/>
                    <a:pt x="23" y="97"/>
                    <a:pt x="23" y="96"/>
                  </a:cubicBezTo>
                  <a:close/>
                  <a:moveTo>
                    <a:pt x="18" y="42"/>
                  </a:moveTo>
                  <a:cubicBezTo>
                    <a:pt x="18" y="41"/>
                    <a:pt x="16" y="46"/>
                    <a:pt x="15" y="47"/>
                  </a:cubicBezTo>
                  <a:cubicBezTo>
                    <a:pt x="15" y="48"/>
                    <a:pt x="14" y="50"/>
                    <a:pt x="13" y="51"/>
                  </a:cubicBezTo>
                  <a:cubicBezTo>
                    <a:pt x="13" y="52"/>
                    <a:pt x="13" y="52"/>
                    <a:pt x="13" y="53"/>
                  </a:cubicBezTo>
                  <a:cubicBezTo>
                    <a:pt x="14" y="53"/>
                    <a:pt x="14" y="54"/>
                    <a:pt x="14" y="55"/>
                  </a:cubicBezTo>
                  <a:cubicBezTo>
                    <a:pt x="14" y="56"/>
                    <a:pt x="14" y="56"/>
                    <a:pt x="15" y="56"/>
                  </a:cubicBezTo>
                  <a:cubicBezTo>
                    <a:pt x="16" y="57"/>
                    <a:pt x="16" y="58"/>
                    <a:pt x="16" y="59"/>
                  </a:cubicBezTo>
                  <a:cubicBezTo>
                    <a:pt x="16" y="60"/>
                    <a:pt x="17" y="58"/>
                    <a:pt x="18" y="57"/>
                  </a:cubicBezTo>
                  <a:cubicBezTo>
                    <a:pt x="18" y="56"/>
                    <a:pt x="18" y="53"/>
                    <a:pt x="18" y="52"/>
                  </a:cubicBezTo>
                  <a:cubicBezTo>
                    <a:pt x="18" y="52"/>
                    <a:pt x="18" y="43"/>
                    <a:pt x="18" y="42"/>
                  </a:cubicBezTo>
                  <a:close/>
                  <a:moveTo>
                    <a:pt x="59" y="49"/>
                  </a:moveTo>
                  <a:cubicBezTo>
                    <a:pt x="59" y="50"/>
                    <a:pt x="58" y="56"/>
                    <a:pt x="58" y="55"/>
                  </a:cubicBezTo>
                  <a:cubicBezTo>
                    <a:pt x="59" y="55"/>
                    <a:pt x="58" y="53"/>
                    <a:pt x="59" y="53"/>
                  </a:cubicBezTo>
                  <a:cubicBezTo>
                    <a:pt x="60" y="53"/>
                    <a:pt x="61" y="52"/>
                    <a:pt x="61" y="51"/>
                  </a:cubicBezTo>
                  <a:cubicBezTo>
                    <a:pt x="61" y="50"/>
                    <a:pt x="62" y="50"/>
                    <a:pt x="62" y="50"/>
                  </a:cubicBezTo>
                  <a:cubicBezTo>
                    <a:pt x="63" y="49"/>
                    <a:pt x="63" y="49"/>
                    <a:pt x="63" y="48"/>
                  </a:cubicBezTo>
                  <a:cubicBezTo>
                    <a:pt x="63" y="48"/>
                    <a:pt x="62" y="47"/>
                    <a:pt x="62" y="47"/>
                  </a:cubicBezTo>
                  <a:cubicBezTo>
                    <a:pt x="62" y="47"/>
                    <a:pt x="61" y="47"/>
                    <a:pt x="61" y="46"/>
                  </a:cubicBezTo>
                  <a:cubicBezTo>
                    <a:pt x="61" y="46"/>
                    <a:pt x="59" y="44"/>
                    <a:pt x="59" y="45"/>
                  </a:cubicBezTo>
                  <a:cubicBezTo>
                    <a:pt x="59" y="46"/>
                    <a:pt x="59" y="49"/>
                    <a:pt x="59" y="4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2" name="Freeform 38"/>
            <p:cNvSpPr>
              <a:spLocks noChangeAspect="1"/>
            </p:cNvSpPr>
            <p:nvPr/>
          </p:nvSpPr>
          <p:spPr bwMode="gray">
            <a:xfrm>
              <a:off x="10063163" y="2636838"/>
              <a:ext cx="104775" cy="201613"/>
            </a:xfrm>
            <a:custGeom>
              <a:avLst/>
              <a:gdLst>
                <a:gd name="T0" fmla="*/ 7 w 28"/>
                <a:gd name="T1" fmla="*/ 25 h 54"/>
                <a:gd name="T2" fmla="*/ 4 w 28"/>
                <a:gd name="T3" fmla="*/ 36 h 54"/>
                <a:gd name="T4" fmla="*/ 1 w 28"/>
                <a:gd name="T5" fmla="*/ 45 h 54"/>
                <a:gd name="T6" fmla="*/ 2 w 28"/>
                <a:gd name="T7" fmla="*/ 46 h 54"/>
                <a:gd name="T8" fmla="*/ 5 w 28"/>
                <a:gd name="T9" fmla="*/ 48 h 54"/>
                <a:gd name="T10" fmla="*/ 10 w 28"/>
                <a:gd name="T11" fmla="*/ 51 h 54"/>
                <a:gd name="T12" fmla="*/ 9 w 28"/>
                <a:gd name="T13" fmla="*/ 52 h 54"/>
                <a:gd name="T14" fmla="*/ 4 w 28"/>
                <a:gd name="T15" fmla="*/ 50 h 54"/>
                <a:gd name="T16" fmla="*/ 5 w 28"/>
                <a:gd name="T17" fmla="*/ 50 h 54"/>
                <a:gd name="T18" fmla="*/ 8 w 28"/>
                <a:gd name="T19" fmla="*/ 53 h 54"/>
                <a:gd name="T20" fmla="*/ 9 w 28"/>
                <a:gd name="T21" fmla="*/ 54 h 54"/>
                <a:gd name="T22" fmla="*/ 17 w 28"/>
                <a:gd name="T23" fmla="*/ 54 h 54"/>
                <a:gd name="T24" fmla="*/ 19 w 28"/>
                <a:gd name="T25" fmla="*/ 54 h 54"/>
                <a:gd name="T26" fmla="*/ 25 w 28"/>
                <a:gd name="T27" fmla="*/ 51 h 54"/>
                <a:gd name="T28" fmla="*/ 25 w 28"/>
                <a:gd name="T29" fmla="*/ 44 h 54"/>
                <a:gd name="T30" fmla="*/ 26 w 28"/>
                <a:gd name="T31" fmla="*/ 42 h 54"/>
                <a:gd name="T32" fmla="*/ 27 w 28"/>
                <a:gd name="T33" fmla="*/ 39 h 54"/>
                <a:gd name="T34" fmla="*/ 27 w 28"/>
                <a:gd name="T35" fmla="*/ 35 h 54"/>
                <a:gd name="T36" fmla="*/ 25 w 28"/>
                <a:gd name="T37" fmla="*/ 23 h 54"/>
                <a:gd name="T38" fmla="*/ 21 w 28"/>
                <a:gd name="T39" fmla="*/ 14 h 54"/>
                <a:gd name="T40" fmla="*/ 20 w 28"/>
                <a:gd name="T41" fmla="*/ 6 h 54"/>
                <a:gd name="T42" fmla="*/ 19 w 28"/>
                <a:gd name="T43" fmla="*/ 3 h 54"/>
                <a:gd name="T44" fmla="*/ 15 w 28"/>
                <a:gd name="T45" fmla="*/ 6 h 54"/>
                <a:gd name="T46" fmla="*/ 9 w 28"/>
                <a:gd name="T47" fmla="*/ 2 h 54"/>
                <a:gd name="T48" fmla="*/ 8 w 28"/>
                <a:gd name="T49" fmla="*/ 1 h 54"/>
                <a:gd name="T50" fmla="*/ 7 w 28"/>
                <a:gd name="T51" fmla="*/ 2 h 54"/>
                <a:gd name="T52" fmla="*/ 7 w 28"/>
                <a:gd name="T53" fmla="*/ 3 h 54"/>
                <a:gd name="T54" fmla="*/ 8 w 28"/>
                <a:gd name="T55" fmla="*/ 14 h 54"/>
                <a:gd name="T56" fmla="*/ 7 w 28"/>
                <a:gd name="T57" fmla="*/ 25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8"/>
                <a:gd name="T88" fmla="*/ 0 h 54"/>
                <a:gd name="T89" fmla="*/ 28 w 28"/>
                <a:gd name="T90" fmla="*/ 54 h 5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8" h="54">
                  <a:moveTo>
                    <a:pt x="7" y="25"/>
                  </a:moveTo>
                  <a:cubicBezTo>
                    <a:pt x="6" y="27"/>
                    <a:pt x="5" y="33"/>
                    <a:pt x="4" y="36"/>
                  </a:cubicBezTo>
                  <a:cubicBezTo>
                    <a:pt x="2" y="40"/>
                    <a:pt x="0" y="44"/>
                    <a:pt x="1" y="45"/>
                  </a:cubicBezTo>
                  <a:cubicBezTo>
                    <a:pt x="1" y="45"/>
                    <a:pt x="1" y="46"/>
                    <a:pt x="2" y="46"/>
                  </a:cubicBezTo>
                  <a:cubicBezTo>
                    <a:pt x="2" y="47"/>
                    <a:pt x="3" y="47"/>
                    <a:pt x="5" y="48"/>
                  </a:cubicBezTo>
                  <a:cubicBezTo>
                    <a:pt x="7" y="49"/>
                    <a:pt x="10" y="50"/>
                    <a:pt x="10" y="51"/>
                  </a:cubicBezTo>
                  <a:cubicBezTo>
                    <a:pt x="10" y="52"/>
                    <a:pt x="9" y="52"/>
                    <a:pt x="9" y="52"/>
                  </a:cubicBezTo>
                  <a:cubicBezTo>
                    <a:pt x="8" y="51"/>
                    <a:pt x="5" y="49"/>
                    <a:pt x="4" y="50"/>
                  </a:cubicBezTo>
                  <a:cubicBezTo>
                    <a:pt x="4" y="50"/>
                    <a:pt x="4" y="50"/>
                    <a:pt x="5" y="50"/>
                  </a:cubicBezTo>
                  <a:cubicBezTo>
                    <a:pt x="5" y="51"/>
                    <a:pt x="7" y="53"/>
                    <a:pt x="8" y="53"/>
                  </a:cubicBezTo>
                  <a:cubicBezTo>
                    <a:pt x="8" y="54"/>
                    <a:pt x="8" y="54"/>
                    <a:pt x="9" y="54"/>
                  </a:cubicBezTo>
                  <a:cubicBezTo>
                    <a:pt x="10" y="54"/>
                    <a:pt x="16" y="54"/>
                    <a:pt x="17" y="54"/>
                  </a:cubicBezTo>
                  <a:cubicBezTo>
                    <a:pt x="18" y="54"/>
                    <a:pt x="18" y="54"/>
                    <a:pt x="19" y="54"/>
                  </a:cubicBezTo>
                  <a:cubicBezTo>
                    <a:pt x="20" y="54"/>
                    <a:pt x="25" y="52"/>
                    <a:pt x="25" y="51"/>
                  </a:cubicBezTo>
                  <a:cubicBezTo>
                    <a:pt x="25" y="51"/>
                    <a:pt x="25" y="45"/>
                    <a:pt x="25" y="44"/>
                  </a:cubicBezTo>
                  <a:cubicBezTo>
                    <a:pt x="26" y="43"/>
                    <a:pt x="26" y="42"/>
                    <a:pt x="26" y="42"/>
                  </a:cubicBezTo>
                  <a:cubicBezTo>
                    <a:pt x="26" y="41"/>
                    <a:pt x="26" y="40"/>
                    <a:pt x="27" y="39"/>
                  </a:cubicBezTo>
                  <a:cubicBezTo>
                    <a:pt x="27" y="38"/>
                    <a:pt x="28" y="37"/>
                    <a:pt x="27" y="35"/>
                  </a:cubicBezTo>
                  <a:cubicBezTo>
                    <a:pt x="27" y="34"/>
                    <a:pt x="26" y="25"/>
                    <a:pt x="25" y="23"/>
                  </a:cubicBezTo>
                  <a:cubicBezTo>
                    <a:pt x="25" y="21"/>
                    <a:pt x="22" y="17"/>
                    <a:pt x="21" y="14"/>
                  </a:cubicBezTo>
                  <a:cubicBezTo>
                    <a:pt x="21" y="10"/>
                    <a:pt x="20" y="7"/>
                    <a:pt x="20" y="6"/>
                  </a:cubicBezTo>
                  <a:cubicBezTo>
                    <a:pt x="20" y="4"/>
                    <a:pt x="20" y="2"/>
                    <a:pt x="19" y="3"/>
                  </a:cubicBezTo>
                  <a:cubicBezTo>
                    <a:pt x="18" y="4"/>
                    <a:pt x="15" y="7"/>
                    <a:pt x="15" y="6"/>
                  </a:cubicBezTo>
                  <a:cubicBezTo>
                    <a:pt x="14" y="5"/>
                    <a:pt x="10" y="3"/>
                    <a:pt x="9" y="2"/>
                  </a:cubicBezTo>
                  <a:cubicBezTo>
                    <a:pt x="8" y="1"/>
                    <a:pt x="8" y="0"/>
                    <a:pt x="8" y="1"/>
                  </a:cubicBezTo>
                  <a:cubicBezTo>
                    <a:pt x="8" y="1"/>
                    <a:pt x="8" y="2"/>
                    <a:pt x="7" y="2"/>
                  </a:cubicBezTo>
                  <a:cubicBezTo>
                    <a:pt x="7" y="3"/>
                    <a:pt x="7" y="2"/>
                    <a:pt x="7" y="3"/>
                  </a:cubicBezTo>
                  <a:cubicBezTo>
                    <a:pt x="7" y="3"/>
                    <a:pt x="8" y="9"/>
                    <a:pt x="8" y="14"/>
                  </a:cubicBezTo>
                  <a:cubicBezTo>
                    <a:pt x="7" y="18"/>
                    <a:pt x="7" y="25"/>
                    <a:pt x="7" y="25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3" name="Freeform 39"/>
            <p:cNvSpPr>
              <a:spLocks noChangeAspect="1"/>
            </p:cNvSpPr>
            <p:nvPr/>
          </p:nvSpPr>
          <p:spPr bwMode="gray">
            <a:xfrm>
              <a:off x="10107613" y="2659063"/>
              <a:ext cx="57150" cy="184150"/>
            </a:xfrm>
            <a:custGeom>
              <a:avLst/>
              <a:gdLst>
                <a:gd name="T0" fmla="*/ 1 w 15"/>
                <a:gd name="T1" fmla="*/ 2 h 49"/>
                <a:gd name="T2" fmla="*/ 2 w 15"/>
                <a:gd name="T3" fmla="*/ 3 h 49"/>
                <a:gd name="T4" fmla="*/ 2 w 15"/>
                <a:gd name="T5" fmla="*/ 5 h 49"/>
                <a:gd name="T6" fmla="*/ 2 w 15"/>
                <a:gd name="T7" fmla="*/ 10 h 49"/>
                <a:gd name="T8" fmla="*/ 4 w 15"/>
                <a:gd name="T9" fmla="*/ 29 h 49"/>
                <a:gd name="T10" fmla="*/ 6 w 15"/>
                <a:gd name="T11" fmla="*/ 45 h 49"/>
                <a:gd name="T12" fmla="*/ 10 w 15"/>
                <a:gd name="T13" fmla="*/ 48 h 49"/>
                <a:gd name="T14" fmla="*/ 14 w 15"/>
                <a:gd name="T15" fmla="*/ 42 h 49"/>
                <a:gd name="T16" fmla="*/ 11 w 15"/>
                <a:gd name="T17" fmla="*/ 24 h 49"/>
                <a:gd name="T18" fmla="*/ 8 w 15"/>
                <a:gd name="T19" fmla="*/ 9 h 49"/>
                <a:gd name="T20" fmla="*/ 6 w 15"/>
                <a:gd name="T21" fmla="*/ 5 h 49"/>
                <a:gd name="T22" fmla="*/ 5 w 15"/>
                <a:gd name="T23" fmla="*/ 3 h 49"/>
                <a:gd name="T24" fmla="*/ 6 w 15"/>
                <a:gd name="T25" fmla="*/ 1 h 49"/>
                <a:gd name="T26" fmla="*/ 2 w 15"/>
                <a:gd name="T27" fmla="*/ 0 h 49"/>
                <a:gd name="T28" fmla="*/ 0 w 15"/>
                <a:gd name="T29" fmla="*/ 1 h 49"/>
                <a:gd name="T30" fmla="*/ 1 w 15"/>
                <a:gd name="T31" fmla="*/ 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49"/>
                <a:gd name="T50" fmla="*/ 15 w 15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49">
                  <a:moveTo>
                    <a:pt x="1" y="2"/>
                  </a:moveTo>
                  <a:cubicBezTo>
                    <a:pt x="1" y="2"/>
                    <a:pt x="2" y="3"/>
                    <a:pt x="2" y="3"/>
                  </a:cubicBezTo>
                  <a:cubicBezTo>
                    <a:pt x="3" y="3"/>
                    <a:pt x="3" y="4"/>
                    <a:pt x="2" y="5"/>
                  </a:cubicBezTo>
                  <a:cubicBezTo>
                    <a:pt x="2" y="6"/>
                    <a:pt x="1" y="7"/>
                    <a:pt x="2" y="10"/>
                  </a:cubicBezTo>
                  <a:cubicBezTo>
                    <a:pt x="2" y="14"/>
                    <a:pt x="4" y="27"/>
                    <a:pt x="4" y="29"/>
                  </a:cubicBezTo>
                  <a:cubicBezTo>
                    <a:pt x="4" y="31"/>
                    <a:pt x="4" y="43"/>
                    <a:pt x="6" y="45"/>
                  </a:cubicBezTo>
                  <a:cubicBezTo>
                    <a:pt x="7" y="46"/>
                    <a:pt x="10" y="49"/>
                    <a:pt x="10" y="48"/>
                  </a:cubicBezTo>
                  <a:cubicBezTo>
                    <a:pt x="11" y="47"/>
                    <a:pt x="15" y="45"/>
                    <a:pt x="14" y="42"/>
                  </a:cubicBezTo>
                  <a:cubicBezTo>
                    <a:pt x="14" y="39"/>
                    <a:pt x="12" y="26"/>
                    <a:pt x="11" y="24"/>
                  </a:cubicBezTo>
                  <a:cubicBezTo>
                    <a:pt x="10" y="21"/>
                    <a:pt x="8" y="10"/>
                    <a:pt x="8" y="9"/>
                  </a:cubicBezTo>
                  <a:cubicBezTo>
                    <a:pt x="8" y="8"/>
                    <a:pt x="6" y="5"/>
                    <a:pt x="6" y="5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2"/>
                    <a:pt x="7" y="1"/>
                    <a:pt x="6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4" name="Freeform 40"/>
            <p:cNvSpPr>
              <a:spLocks noChangeAspect="1"/>
            </p:cNvSpPr>
            <p:nvPr/>
          </p:nvSpPr>
          <p:spPr bwMode="gray">
            <a:xfrm>
              <a:off x="10088563" y="2647950"/>
              <a:ext cx="19050" cy="14288"/>
            </a:xfrm>
            <a:custGeom>
              <a:avLst/>
              <a:gdLst>
                <a:gd name="T0" fmla="*/ 12 w 12"/>
                <a:gd name="T1" fmla="*/ 9 h 9"/>
                <a:gd name="T2" fmla="*/ 0 w 12"/>
                <a:gd name="T3" fmla="*/ 0 h 9"/>
                <a:gd name="T4" fmla="*/ 0 w 12"/>
                <a:gd name="T5" fmla="*/ 0 h 9"/>
                <a:gd name="T6" fmla="*/ 12 w 12"/>
                <a:gd name="T7" fmla="*/ 9 h 9"/>
                <a:gd name="T8" fmla="*/ 12 w 12"/>
                <a:gd name="T9" fmla="*/ 9 h 9"/>
                <a:gd name="T10" fmla="*/ 12 w 12"/>
                <a:gd name="T11" fmla="*/ 9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12" y="9"/>
                  </a:moveTo>
                  <a:lnTo>
                    <a:pt x="0" y="0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5" name="Freeform 41"/>
            <p:cNvSpPr>
              <a:spLocks noChangeAspect="1"/>
            </p:cNvSpPr>
            <p:nvPr/>
          </p:nvSpPr>
          <p:spPr bwMode="gray">
            <a:xfrm>
              <a:off x="10129838" y="2655888"/>
              <a:ext cx="7938" cy="6350"/>
            </a:xfrm>
            <a:custGeom>
              <a:avLst/>
              <a:gdLst>
                <a:gd name="T0" fmla="*/ 5 w 5"/>
                <a:gd name="T1" fmla="*/ 0 h 4"/>
                <a:gd name="T2" fmla="*/ 5 w 5"/>
                <a:gd name="T3" fmla="*/ 0 h 4"/>
                <a:gd name="T4" fmla="*/ 0 w 5"/>
                <a:gd name="T5" fmla="*/ 4 h 4"/>
                <a:gd name="T6" fmla="*/ 0 w 5"/>
                <a:gd name="T7" fmla="*/ 4 h 4"/>
                <a:gd name="T8" fmla="*/ 5 w 5"/>
                <a:gd name="T9" fmla="*/ 0 h 4"/>
                <a:gd name="T10" fmla="*/ 5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5" y="0"/>
                  </a:moveTo>
                  <a:lnTo>
                    <a:pt x="5" y="0"/>
                  </a:lnTo>
                  <a:lnTo>
                    <a:pt x="0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6" name="Freeform 42"/>
            <p:cNvSpPr>
              <a:spLocks noChangeAspect="1"/>
            </p:cNvSpPr>
            <p:nvPr/>
          </p:nvSpPr>
          <p:spPr bwMode="gray">
            <a:xfrm>
              <a:off x="10074275" y="2832100"/>
              <a:ext cx="11113" cy="6350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2 h 2"/>
                <a:gd name="T4" fmla="*/ 2 w 3"/>
                <a:gd name="T5" fmla="*/ 2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cubicBezTo>
                    <a:pt x="0" y="0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67" name="Freeform 43"/>
            <p:cNvSpPr>
              <a:spLocks noChangeAspect="1"/>
            </p:cNvSpPr>
            <p:nvPr/>
          </p:nvSpPr>
          <p:spPr bwMode="gray">
            <a:xfrm>
              <a:off x="10069513" y="2835275"/>
              <a:ext cx="4763" cy="31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3983233462"/>
              </p:ext>
            </p:extLst>
          </p:nvPr>
        </p:nvGraphicFramePr>
        <p:xfrm>
          <a:off x="324176" y="3212971"/>
          <a:ext cx="8208404" cy="2449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graphicFrame>
        <p:nvGraphicFramePr>
          <p:cNvPr id="501762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335504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60" imgW="0" imgH="0" progId="TCLayout.ActiveDocument.1">
                  <p:embed/>
                </p:oleObj>
              </mc:Choice>
              <mc:Fallback>
                <p:oleObj name="think-cell Slide" r:id="rId6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я соединительная линия 2"/>
          <p:cNvCxnSpPr/>
          <p:nvPr/>
        </p:nvCxnSpPr>
        <p:spPr>
          <a:xfrm>
            <a:off x="324176" y="2773960"/>
            <a:ext cx="8352394" cy="7183"/>
          </a:xfrm>
          <a:prstGeom prst="line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3573098" y="2867198"/>
            <a:ext cx="772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Q4’</a:t>
            </a:r>
            <a:r>
              <a:rPr lang="ru-RU" sz="1200" b="1" dirty="0" smtClean="0">
                <a:solidFill>
                  <a:prstClr val="black"/>
                </a:solidFill>
              </a:rPr>
              <a:t>20</a:t>
            </a:r>
            <a:r>
              <a:rPr lang="en-US" sz="1200" b="1" dirty="0" smtClean="0">
                <a:solidFill>
                  <a:prstClr val="black"/>
                </a:solidFill>
              </a:rPr>
              <a:t>10</a:t>
            </a:r>
            <a:endParaRPr lang="uk-UA" sz="1200" b="1" dirty="0">
              <a:solidFill>
                <a:prstClr val="black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85099" y="2863961"/>
            <a:ext cx="7665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Q4’</a:t>
            </a:r>
            <a:r>
              <a:rPr lang="ru-RU" sz="1200" b="1" dirty="0" smtClean="0">
                <a:solidFill>
                  <a:prstClr val="black"/>
                </a:solidFill>
              </a:rPr>
              <a:t>2007</a:t>
            </a:r>
            <a:endParaRPr lang="uk-UA" sz="1200" b="1" dirty="0">
              <a:solidFill>
                <a:prstClr val="black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2555720" y="2889312"/>
            <a:ext cx="772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Q4’</a:t>
            </a:r>
            <a:r>
              <a:rPr lang="ru-RU" sz="1200" b="1" dirty="0" smtClean="0">
                <a:solidFill>
                  <a:prstClr val="black"/>
                </a:solidFill>
              </a:rPr>
              <a:t>2009</a:t>
            </a:r>
            <a:endParaRPr lang="uk-UA" sz="1200" b="1" dirty="0">
              <a:solidFill>
                <a:prstClr val="black"/>
              </a:solidFill>
            </a:endParaRPr>
          </a:p>
        </p:txBody>
      </p:sp>
      <p:sp>
        <p:nvSpPr>
          <p:cNvPr id="72" name="Овал 71"/>
          <p:cNvSpPr/>
          <p:nvPr/>
        </p:nvSpPr>
        <p:spPr>
          <a:xfrm>
            <a:off x="2843760" y="2727417"/>
            <a:ext cx="88777" cy="8951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                    </a:t>
            </a: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439696" y="2889312"/>
            <a:ext cx="772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Q4’</a:t>
            </a:r>
            <a:r>
              <a:rPr lang="ru-RU" sz="1200" b="1" dirty="0" smtClean="0">
                <a:solidFill>
                  <a:prstClr val="black"/>
                </a:solidFill>
              </a:rPr>
              <a:t>2008</a:t>
            </a:r>
            <a:endParaRPr lang="uk-UA" sz="1200" b="1" dirty="0">
              <a:solidFill>
                <a:prstClr val="black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6607421" y="2889312"/>
            <a:ext cx="772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Q4’20</a:t>
            </a:r>
            <a:r>
              <a:rPr lang="ru-RU" sz="1200" b="1" dirty="0" smtClean="0">
                <a:solidFill>
                  <a:prstClr val="black"/>
                </a:solidFill>
              </a:rPr>
              <a:t>1</a:t>
            </a:r>
            <a:r>
              <a:rPr lang="en-US" sz="1200" b="1" dirty="0" smtClean="0">
                <a:solidFill>
                  <a:prstClr val="black"/>
                </a:solidFill>
              </a:rPr>
              <a:t>3</a:t>
            </a:r>
            <a:endParaRPr lang="uk-UA" sz="1200" b="1" dirty="0">
              <a:solidFill>
                <a:prstClr val="black"/>
              </a:solidFill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259772" y="2773960"/>
            <a:ext cx="6542" cy="328301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4618746" y="2889400"/>
            <a:ext cx="764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Q4’</a:t>
            </a:r>
            <a:r>
              <a:rPr lang="ru-RU" sz="1200" b="1" dirty="0" smtClean="0">
                <a:solidFill>
                  <a:prstClr val="black"/>
                </a:solidFill>
              </a:rPr>
              <a:t>201</a:t>
            </a:r>
            <a:r>
              <a:rPr lang="en-US" sz="1200" b="1" dirty="0" smtClean="0">
                <a:solidFill>
                  <a:prstClr val="black"/>
                </a:solidFill>
              </a:rPr>
              <a:t>1</a:t>
            </a:r>
            <a:endParaRPr lang="uk-UA" sz="1200" b="1" dirty="0">
              <a:solidFill>
                <a:prstClr val="black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599281" y="2881971"/>
            <a:ext cx="772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Q4’</a:t>
            </a:r>
            <a:r>
              <a:rPr lang="ru-RU" sz="1200" b="1" dirty="0" smtClean="0">
                <a:solidFill>
                  <a:prstClr val="black"/>
                </a:solidFill>
              </a:rPr>
              <a:t>201</a:t>
            </a:r>
            <a:r>
              <a:rPr lang="en-US" sz="1200" b="1" dirty="0" smtClean="0">
                <a:solidFill>
                  <a:prstClr val="black"/>
                </a:solidFill>
              </a:rPr>
              <a:t>2</a:t>
            </a:r>
            <a:endParaRPr lang="uk-UA" sz="1200" b="1" dirty="0">
              <a:solidFill>
                <a:prstClr val="black"/>
              </a:solidFill>
            </a:endParaRPr>
          </a:p>
        </p:txBody>
      </p:sp>
      <p:cxnSp>
        <p:nvCxnSpPr>
          <p:cNvPr id="129" name="Прямая соединительная линия 128"/>
          <p:cNvCxnSpPr/>
          <p:nvPr/>
        </p:nvCxnSpPr>
        <p:spPr>
          <a:xfrm>
            <a:off x="359672" y="3206007"/>
            <a:ext cx="8136904" cy="696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/>
          <p:cNvCxnSpPr/>
          <p:nvPr/>
        </p:nvCxnSpPr>
        <p:spPr>
          <a:xfrm>
            <a:off x="2372625" y="2781143"/>
            <a:ext cx="3271" cy="327582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Прямая соединительная линия 169"/>
          <p:cNvCxnSpPr/>
          <p:nvPr/>
        </p:nvCxnSpPr>
        <p:spPr>
          <a:xfrm>
            <a:off x="3419840" y="2781143"/>
            <a:ext cx="6542" cy="327582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Прямая соединительная линия 173"/>
          <p:cNvCxnSpPr/>
          <p:nvPr/>
        </p:nvCxnSpPr>
        <p:spPr>
          <a:xfrm>
            <a:off x="5508130" y="2781143"/>
            <a:ext cx="5696" cy="327582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Прямая соединительная линия 175"/>
          <p:cNvCxnSpPr/>
          <p:nvPr/>
        </p:nvCxnSpPr>
        <p:spPr>
          <a:xfrm>
            <a:off x="7524409" y="2772174"/>
            <a:ext cx="1" cy="3284796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Прямая соединительная линия 171"/>
          <p:cNvCxnSpPr/>
          <p:nvPr/>
        </p:nvCxnSpPr>
        <p:spPr>
          <a:xfrm>
            <a:off x="4499990" y="2772174"/>
            <a:ext cx="6542" cy="3284796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323850" y="260648"/>
            <a:ext cx="7848550" cy="647402"/>
          </a:xfrm>
          <a:extLst/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ru-RU" dirty="0"/>
              <a:t>Количество </a:t>
            </a:r>
            <a:r>
              <a:rPr lang="ru-RU" dirty="0" smtClean="0"/>
              <a:t>регулярных интернет-пользователей в </a:t>
            </a:r>
            <a:br>
              <a:rPr lang="ru-RU" dirty="0" smtClean="0"/>
            </a:br>
            <a:r>
              <a:rPr lang="ru-RU" dirty="0" smtClean="0"/>
              <a:t>Украине*</a:t>
            </a:r>
            <a:endParaRPr lang="en-US" dirty="0"/>
          </a:p>
        </p:txBody>
      </p:sp>
      <p:grpSp>
        <p:nvGrpSpPr>
          <p:cNvPr id="67" name="Gruppieren 32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gray">
          <a:xfrm>
            <a:off x="5928417" y="1672206"/>
            <a:ext cx="126380" cy="418817"/>
            <a:chOff x="11649075" y="3244850"/>
            <a:chExt cx="252413" cy="828675"/>
          </a:xfrm>
        </p:grpSpPr>
        <p:sp>
          <p:nvSpPr>
            <p:cNvPr id="106" name="Freeform 14"/>
            <p:cNvSpPr>
              <a:spLocks noChangeAspect="1" noEditPoints="1"/>
            </p:cNvSpPr>
            <p:nvPr/>
          </p:nvSpPr>
          <p:spPr bwMode="gray">
            <a:xfrm>
              <a:off x="11649075" y="3244850"/>
              <a:ext cx="252413" cy="828675"/>
            </a:xfrm>
            <a:custGeom>
              <a:avLst/>
              <a:gdLst>
                <a:gd name="T0" fmla="*/ 23 w 67"/>
                <a:gd name="T1" fmla="*/ 26 h 221"/>
                <a:gd name="T2" fmla="*/ 20 w 67"/>
                <a:gd name="T3" fmla="*/ 22 h 221"/>
                <a:gd name="T4" fmla="*/ 20 w 67"/>
                <a:gd name="T5" fmla="*/ 15 h 221"/>
                <a:gd name="T6" fmla="*/ 19 w 67"/>
                <a:gd name="T7" fmla="*/ 9 h 221"/>
                <a:gd name="T8" fmla="*/ 36 w 67"/>
                <a:gd name="T9" fmla="*/ 3 h 221"/>
                <a:gd name="T10" fmla="*/ 41 w 67"/>
                <a:gd name="T11" fmla="*/ 15 h 221"/>
                <a:gd name="T12" fmla="*/ 41 w 67"/>
                <a:gd name="T13" fmla="*/ 21 h 221"/>
                <a:gd name="T14" fmla="*/ 39 w 67"/>
                <a:gd name="T15" fmla="*/ 29 h 221"/>
                <a:gd name="T16" fmla="*/ 47 w 67"/>
                <a:gd name="T17" fmla="*/ 33 h 221"/>
                <a:gd name="T18" fmla="*/ 63 w 67"/>
                <a:gd name="T19" fmla="*/ 43 h 221"/>
                <a:gd name="T20" fmla="*/ 65 w 67"/>
                <a:gd name="T21" fmla="*/ 58 h 221"/>
                <a:gd name="T22" fmla="*/ 67 w 67"/>
                <a:gd name="T23" fmla="*/ 83 h 221"/>
                <a:gd name="T24" fmla="*/ 63 w 67"/>
                <a:gd name="T25" fmla="*/ 100 h 221"/>
                <a:gd name="T26" fmla="*/ 57 w 67"/>
                <a:gd name="T27" fmla="*/ 109 h 221"/>
                <a:gd name="T28" fmla="*/ 54 w 67"/>
                <a:gd name="T29" fmla="*/ 114 h 221"/>
                <a:gd name="T30" fmla="*/ 54 w 67"/>
                <a:gd name="T31" fmla="*/ 133 h 221"/>
                <a:gd name="T32" fmla="*/ 51 w 67"/>
                <a:gd name="T33" fmla="*/ 165 h 221"/>
                <a:gd name="T34" fmla="*/ 49 w 67"/>
                <a:gd name="T35" fmla="*/ 200 h 221"/>
                <a:gd name="T36" fmla="*/ 44 w 67"/>
                <a:gd name="T37" fmla="*/ 210 h 221"/>
                <a:gd name="T38" fmla="*/ 44 w 67"/>
                <a:gd name="T39" fmla="*/ 220 h 221"/>
                <a:gd name="T40" fmla="*/ 35 w 67"/>
                <a:gd name="T41" fmla="*/ 214 h 221"/>
                <a:gd name="T42" fmla="*/ 35 w 67"/>
                <a:gd name="T43" fmla="*/ 207 h 221"/>
                <a:gd name="T44" fmla="*/ 35 w 67"/>
                <a:gd name="T45" fmla="*/ 212 h 221"/>
                <a:gd name="T46" fmla="*/ 22 w 67"/>
                <a:gd name="T47" fmla="*/ 211 h 221"/>
                <a:gd name="T48" fmla="*/ 7 w 67"/>
                <a:gd name="T49" fmla="*/ 211 h 221"/>
                <a:gd name="T50" fmla="*/ 6 w 67"/>
                <a:gd name="T51" fmla="*/ 208 h 221"/>
                <a:gd name="T52" fmla="*/ 15 w 67"/>
                <a:gd name="T53" fmla="*/ 206 h 221"/>
                <a:gd name="T54" fmla="*/ 19 w 67"/>
                <a:gd name="T55" fmla="*/ 198 h 221"/>
                <a:gd name="T56" fmla="*/ 18 w 67"/>
                <a:gd name="T57" fmla="*/ 175 h 221"/>
                <a:gd name="T58" fmla="*/ 14 w 67"/>
                <a:gd name="T59" fmla="*/ 122 h 221"/>
                <a:gd name="T60" fmla="*/ 11 w 67"/>
                <a:gd name="T61" fmla="*/ 117 h 221"/>
                <a:gd name="T62" fmla="*/ 12 w 67"/>
                <a:gd name="T63" fmla="*/ 96 h 221"/>
                <a:gd name="T64" fmla="*/ 10 w 67"/>
                <a:gd name="T65" fmla="*/ 111 h 221"/>
                <a:gd name="T66" fmla="*/ 9 w 67"/>
                <a:gd name="T67" fmla="*/ 119 h 221"/>
                <a:gd name="T68" fmla="*/ 8 w 67"/>
                <a:gd name="T69" fmla="*/ 125 h 221"/>
                <a:gd name="T70" fmla="*/ 3 w 67"/>
                <a:gd name="T71" fmla="*/ 123 h 221"/>
                <a:gd name="T72" fmla="*/ 2 w 67"/>
                <a:gd name="T73" fmla="*/ 114 h 221"/>
                <a:gd name="T74" fmla="*/ 2 w 67"/>
                <a:gd name="T75" fmla="*/ 111 h 221"/>
                <a:gd name="T76" fmla="*/ 2 w 67"/>
                <a:gd name="T77" fmla="*/ 95 h 221"/>
                <a:gd name="T78" fmla="*/ 4 w 67"/>
                <a:gd name="T79" fmla="*/ 80 h 221"/>
                <a:gd name="T80" fmla="*/ 6 w 67"/>
                <a:gd name="T81" fmla="*/ 65 h 221"/>
                <a:gd name="T82" fmla="*/ 20 w 67"/>
                <a:gd name="T83" fmla="*/ 36 h 221"/>
                <a:gd name="T84" fmla="*/ 25 w 67"/>
                <a:gd name="T85" fmla="*/ 30 h 221"/>
                <a:gd name="T86" fmla="*/ 35 w 67"/>
                <a:gd name="T87" fmla="*/ 192 h 221"/>
                <a:gd name="T88" fmla="*/ 37 w 67"/>
                <a:gd name="T89" fmla="*/ 177 h 221"/>
                <a:gd name="T90" fmla="*/ 37 w 67"/>
                <a:gd name="T91" fmla="*/ 162 h 221"/>
                <a:gd name="T92" fmla="*/ 35 w 67"/>
                <a:gd name="T93" fmla="*/ 145 h 221"/>
                <a:gd name="T94" fmla="*/ 35 w 67"/>
                <a:gd name="T95" fmla="*/ 131 h 221"/>
                <a:gd name="T96" fmla="*/ 33 w 67"/>
                <a:gd name="T97" fmla="*/ 136 h 221"/>
                <a:gd name="T98" fmla="*/ 33 w 67"/>
                <a:gd name="T99" fmla="*/ 155 h 221"/>
                <a:gd name="T100" fmla="*/ 34 w 67"/>
                <a:gd name="T101" fmla="*/ 178 h 221"/>
                <a:gd name="T102" fmla="*/ 33 w 67"/>
                <a:gd name="T103" fmla="*/ 192 h 221"/>
                <a:gd name="T104" fmla="*/ 6 w 67"/>
                <a:gd name="T105" fmla="*/ 118 h 221"/>
                <a:gd name="T106" fmla="*/ 5 w 67"/>
                <a:gd name="T107" fmla="*/ 120 h 221"/>
                <a:gd name="T108" fmla="*/ 6 w 67"/>
                <a:gd name="T109" fmla="*/ 120 h 221"/>
                <a:gd name="T110" fmla="*/ 6 w 67"/>
                <a:gd name="T111" fmla="*/ 118 h 22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7"/>
                <a:gd name="T169" fmla="*/ 0 h 221"/>
                <a:gd name="T170" fmla="*/ 67 w 67"/>
                <a:gd name="T171" fmla="*/ 221 h 22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7" h="221">
                  <a:moveTo>
                    <a:pt x="25" y="30"/>
                  </a:moveTo>
                  <a:cubicBezTo>
                    <a:pt x="24" y="29"/>
                    <a:pt x="23" y="28"/>
                    <a:pt x="23" y="26"/>
                  </a:cubicBezTo>
                  <a:cubicBezTo>
                    <a:pt x="22" y="24"/>
                    <a:pt x="22" y="25"/>
                    <a:pt x="22" y="25"/>
                  </a:cubicBezTo>
                  <a:cubicBezTo>
                    <a:pt x="21" y="25"/>
                    <a:pt x="22" y="24"/>
                    <a:pt x="20" y="22"/>
                  </a:cubicBezTo>
                  <a:cubicBezTo>
                    <a:pt x="19" y="20"/>
                    <a:pt x="21" y="20"/>
                    <a:pt x="21" y="20"/>
                  </a:cubicBezTo>
                  <a:cubicBezTo>
                    <a:pt x="20" y="19"/>
                    <a:pt x="20" y="16"/>
                    <a:pt x="20" y="15"/>
                  </a:cubicBezTo>
                  <a:cubicBezTo>
                    <a:pt x="20" y="14"/>
                    <a:pt x="20" y="13"/>
                    <a:pt x="20" y="12"/>
                  </a:cubicBezTo>
                  <a:cubicBezTo>
                    <a:pt x="20" y="11"/>
                    <a:pt x="19" y="10"/>
                    <a:pt x="19" y="9"/>
                  </a:cubicBezTo>
                  <a:cubicBezTo>
                    <a:pt x="19" y="7"/>
                    <a:pt x="21" y="5"/>
                    <a:pt x="26" y="3"/>
                  </a:cubicBezTo>
                  <a:cubicBezTo>
                    <a:pt x="31" y="0"/>
                    <a:pt x="34" y="2"/>
                    <a:pt x="36" y="3"/>
                  </a:cubicBezTo>
                  <a:cubicBezTo>
                    <a:pt x="38" y="4"/>
                    <a:pt x="40" y="7"/>
                    <a:pt x="41" y="10"/>
                  </a:cubicBezTo>
                  <a:cubicBezTo>
                    <a:pt x="42" y="12"/>
                    <a:pt x="42" y="14"/>
                    <a:pt x="41" y="15"/>
                  </a:cubicBezTo>
                  <a:cubicBezTo>
                    <a:pt x="40" y="16"/>
                    <a:pt x="40" y="16"/>
                    <a:pt x="41" y="16"/>
                  </a:cubicBezTo>
                  <a:cubicBezTo>
                    <a:pt x="42" y="16"/>
                    <a:pt x="41" y="19"/>
                    <a:pt x="41" y="21"/>
                  </a:cubicBezTo>
                  <a:cubicBezTo>
                    <a:pt x="41" y="23"/>
                    <a:pt x="39" y="23"/>
                    <a:pt x="39" y="23"/>
                  </a:cubicBezTo>
                  <a:cubicBezTo>
                    <a:pt x="39" y="24"/>
                    <a:pt x="39" y="29"/>
                    <a:pt x="39" y="29"/>
                  </a:cubicBezTo>
                  <a:cubicBezTo>
                    <a:pt x="39" y="29"/>
                    <a:pt x="40" y="29"/>
                    <a:pt x="41" y="30"/>
                  </a:cubicBezTo>
                  <a:cubicBezTo>
                    <a:pt x="42" y="30"/>
                    <a:pt x="44" y="32"/>
                    <a:pt x="47" y="33"/>
                  </a:cubicBezTo>
                  <a:cubicBezTo>
                    <a:pt x="49" y="35"/>
                    <a:pt x="57" y="37"/>
                    <a:pt x="60" y="38"/>
                  </a:cubicBezTo>
                  <a:cubicBezTo>
                    <a:pt x="63" y="39"/>
                    <a:pt x="63" y="41"/>
                    <a:pt x="63" y="43"/>
                  </a:cubicBezTo>
                  <a:cubicBezTo>
                    <a:pt x="63" y="45"/>
                    <a:pt x="64" y="48"/>
                    <a:pt x="64" y="50"/>
                  </a:cubicBezTo>
                  <a:cubicBezTo>
                    <a:pt x="65" y="52"/>
                    <a:pt x="65" y="55"/>
                    <a:pt x="65" y="58"/>
                  </a:cubicBezTo>
                  <a:cubicBezTo>
                    <a:pt x="65" y="60"/>
                    <a:pt x="66" y="68"/>
                    <a:pt x="66" y="71"/>
                  </a:cubicBezTo>
                  <a:cubicBezTo>
                    <a:pt x="67" y="74"/>
                    <a:pt x="67" y="79"/>
                    <a:pt x="67" y="83"/>
                  </a:cubicBezTo>
                  <a:cubicBezTo>
                    <a:pt x="67" y="87"/>
                    <a:pt x="65" y="91"/>
                    <a:pt x="64" y="93"/>
                  </a:cubicBezTo>
                  <a:cubicBezTo>
                    <a:pt x="64" y="94"/>
                    <a:pt x="62" y="97"/>
                    <a:pt x="63" y="100"/>
                  </a:cubicBezTo>
                  <a:cubicBezTo>
                    <a:pt x="63" y="103"/>
                    <a:pt x="61" y="106"/>
                    <a:pt x="59" y="108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6" y="109"/>
                    <a:pt x="55" y="109"/>
                    <a:pt x="55" y="110"/>
                  </a:cubicBezTo>
                  <a:cubicBezTo>
                    <a:pt x="55" y="112"/>
                    <a:pt x="55" y="113"/>
                    <a:pt x="54" y="114"/>
                  </a:cubicBezTo>
                  <a:cubicBezTo>
                    <a:pt x="54" y="115"/>
                    <a:pt x="54" y="122"/>
                    <a:pt x="54" y="125"/>
                  </a:cubicBezTo>
                  <a:cubicBezTo>
                    <a:pt x="54" y="128"/>
                    <a:pt x="54" y="130"/>
                    <a:pt x="54" y="133"/>
                  </a:cubicBezTo>
                  <a:cubicBezTo>
                    <a:pt x="54" y="136"/>
                    <a:pt x="52" y="141"/>
                    <a:pt x="52" y="146"/>
                  </a:cubicBezTo>
                  <a:cubicBezTo>
                    <a:pt x="52" y="152"/>
                    <a:pt x="51" y="156"/>
                    <a:pt x="51" y="165"/>
                  </a:cubicBezTo>
                  <a:cubicBezTo>
                    <a:pt x="52" y="173"/>
                    <a:pt x="51" y="192"/>
                    <a:pt x="51" y="194"/>
                  </a:cubicBezTo>
                  <a:cubicBezTo>
                    <a:pt x="51" y="196"/>
                    <a:pt x="50" y="199"/>
                    <a:pt x="49" y="200"/>
                  </a:cubicBezTo>
                  <a:cubicBezTo>
                    <a:pt x="47" y="202"/>
                    <a:pt x="47" y="204"/>
                    <a:pt x="47" y="206"/>
                  </a:cubicBezTo>
                  <a:cubicBezTo>
                    <a:pt x="47" y="209"/>
                    <a:pt x="45" y="209"/>
                    <a:pt x="44" y="210"/>
                  </a:cubicBezTo>
                  <a:cubicBezTo>
                    <a:pt x="44" y="210"/>
                    <a:pt x="46" y="214"/>
                    <a:pt x="47" y="216"/>
                  </a:cubicBezTo>
                  <a:cubicBezTo>
                    <a:pt x="47" y="218"/>
                    <a:pt x="47" y="220"/>
                    <a:pt x="44" y="220"/>
                  </a:cubicBezTo>
                  <a:cubicBezTo>
                    <a:pt x="41" y="221"/>
                    <a:pt x="37" y="220"/>
                    <a:pt x="35" y="219"/>
                  </a:cubicBezTo>
                  <a:cubicBezTo>
                    <a:pt x="33" y="217"/>
                    <a:pt x="35" y="216"/>
                    <a:pt x="35" y="214"/>
                  </a:cubicBezTo>
                  <a:cubicBezTo>
                    <a:pt x="36" y="213"/>
                    <a:pt x="36" y="213"/>
                    <a:pt x="36" y="211"/>
                  </a:cubicBezTo>
                  <a:cubicBezTo>
                    <a:pt x="36" y="210"/>
                    <a:pt x="35" y="209"/>
                    <a:pt x="35" y="207"/>
                  </a:cubicBezTo>
                  <a:cubicBezTo>
                    <a:pt x="35" y="206"/>
                    <a:pt x="35" y="207"/>
                    <a:pt x="35" y="207"/>
                  </a:cubicBezTo>
                  <a:cubicBezTo>
                    <a:pt x="34" y="207"/>
                    <a:pt x="35" y="209"/>
                    <a:pt x="35" y="212"/>
                  </a:cubicBezTo>
                  <a:cubicBezTo>
                    <a:pt x="35" y="214"/>
                    <a:pt x="29" y="213"/>
                    <a:pt x="29" y="213"/>
                  </a:cubicBezTo>
                  <a:cubicBezTo>
                    <a:pt x="27" y="213"/>
                    <a:pt x="26" y="211"/>
                    <a:pt x="22" y="211"/>
                  </a:cubicBezTo>
                  <a:cubicBezTo>
                    <a:pt x="21" y="211"/>
                    <a:pt x="19" y="213"/>
                    <a:pt x="16" y="213"/>
                  </a:cubicBezTo>
                  <a:cubicBezTo>
                    <a:pt x="14" y="213"/>
                    <a:pt x="8" y="212"/>
                    <a:pt x="7" y="211"/>
                  </a:cubicBezTo>
                  <a:cubicBezTo>
                    <a:pt x="5" y="211"/>
                    <a:pt x="5" y="210"/>
                    <a:pt x="5" y="210"/>
                  </a:cubicBezTo>
                  <a:cubicBezTo>
                    <a:pt x="6" y="210"/>
                    <a:pt x="6" y="210"/>
                    <a:pt x="6" y="208"/>
                  </a:cubicBezTo>
                  <a:cubicBezTo>
                    <a:pt x="6" y="206"/>
                    <a:pt x="9" y="207"/>
                    <a:pt x="11" y="207"/>
                  </a:cubicBezTo>
                  <a:cubicBezTo>
                    <a:pt x="13" y="207"/>
                    <a:pt x="14" y="206"/>
                    <a:pt x="15" y="206"/>
                  </a:cubicBezTo>
                  <a:cubicBezTo>
                    <a:pt x="15" y="205"/>
                    <a:pt x="19" y="202"/>
                    <a:pt x="20" y="201"/>
                  </a:cubicBezTo>
                  <a:cubicBezTo>
                    <a:pt x="21" y="200"/>
                    <a:pt x="20" y="199"/>
                    <a:pt x="19" y="198"/>
                  </a:cubicBezTo>
                  <a:cubicBezTo>
                    <a:pt x="18" y="198"/>
                    <a:pt x="19" y="193"/>
                    <a:pt x="19" y="191"/>
                  </a:cubicBezTo>
                  <a:cubicBezTo>
                    <a:pt x="19" y="188"/>
                    <a:pt x="19" y="184"/>
                    <a:pt x="18" y="175"/>
                  </a:cubicBezTo>
                  <a:cubicBezTo>
                    <a:pt x="18" y="167"/>
                    <a:pt x="17" y="154"/>
                    <a:pt x="16" y="145"/>
                  </a:cubicBezTo>
                  <a:cubicBezTo>
                    <a:pt x="15" y="136"/>
                    <a:pt x="14" y="123"/>
                    <a:pt x="14" y="122"/>
                  </a:cubicBezTo>
                  <a:cubicBezTo>
                    <a:pt x="14" y="121"/>
                    <a:pt x="12" y="122"/>
                    <a:pt x="11" y="122"/>
                  </a:cubicBezTo>
                  <a:cubicBezTo>
                    <a:pt x="10" y="122"/>
                    <a:pt x="11" y="120"/>
                    <a:pt x="11" y="117"/>
                  </a:cubicBezTo>
                  <a:cubicBezTo>
                    <a:pt x="11" y="114"/>
                    <a:pt x="12" y="103"/>
                    <a:pt x="13" y="99"/>
                  </a:cubicBezTo>
                  <a:cubicBezTo>
                    <a:pt x="13" y="94"/>
                    <a:pt x="12" y="95"/>
                    <a:pt x="12" y="96"/>
                  </a:cubicBezTo>
                  <a:cubicBezTo>
                    <a:pt x="12" y="98"/>
                    <a:pt x="11" y="104"/>
                    <a:pt x="10" y="105"/>
                  </a:cubicBezTo>
                  <a:cubicBezTo>
                    <a:pt x="10" y="106"/>
                    <a:pt x="10" y="111"/>
                    <a:pt x="10" y="111"/>
                  </a:cubicBezTo>
                  <a:cubicBezTo>
                    <a:pt x="9" y="111"/>
                    <a:pt x="9" y="112"/>
                    <a:pt x="9" y="114"/>
                  </a:cubicBezTo>
                  <a:cubicBezTo>
                    <a:pt x="10" y="116"/>
                    <a:pt x="9" y="116"/>
                    <a:pt x="9" y="119"/>
                  </a:cubicBezTo>
                  <a:cubicBezTo>
                    <a:pt x="9" y="121"/>
                    <a:pt x="9" y="123"/>
                    <a:pt x="9" y="124"/>
                  </a:cubicBezTo>
                  <a:cubicBezTo>
                    <a:pt x="9" y="125"/>
                    <a:pt x="8" y="124"/>
                    <a:pt x="8" y="125"/>
                  </a:cubicBezTo>
                  <a:cubicBezTo>
                    <a:pt x="8" y="125"/>
                    <a:pt x="6" y="125"/>
                    <a:pt x="5" y="125"/>
                  </a:cubicBezTo>
                  <a:cubicBezTo>
                    <a:pt x="4" y="125"/>
                    <a:pt x="3" y="124"/>
                    <a:pt x="3" y="123"/>
                  </a:cubicBezTo>
                  <a:cubicBezTo>
                    <a:pt x="2" y="121"/>
                    <a:pt x="2" y="120"/>
                    <a:pt x="1" y="119"/>
                  </a:cubicBezTo>
                  <a:cubicBezTo>
                    <a:pt x="0" y="118"/>
                    <a:pt x="2" y="115"/>
                    <a:pt x="2" y="114"/>
                  </a:cubicBezTo>
                  <a:cubicBezTo>
                    <a:pt x="3" y="113"/>
                    <a:pt x="3" y="111"/>
                    <a:pt x="2" y="112"/>
                  </a:cubicBezTo>
                  <a:cubicBezTo>
                    <a:pt x="2" y="113"/>
                    <a:pt x="2" y="112"/>
                    <a:pt x="2" y="111"/>
                  </a:cubicBezTo>
                  <a:cubicBezTo>
                    <a:pt x="2" y="110"/>
                    <a:pt x="2" y="106"/>
                    <a:pt x="2" y="105"/>
                  </a:cubicBezTo>
                  <a:cubicBezTo>
                    <a:pt x="2" y="103"/>
                    <a:pt x="2" y="97"/>
                    <a:pt x="2" y="95"/>
                  </a:cubicBezTo>
                  <a:cubicBezTo>
                    <a:pt x="2" y="94"/>
                    <a:pt x="3" y="92"/>
                    <a:pt x="3" y="89"/>
                  </a:cubicBezTo>
                  <a:cubicBezTo>
                    <a:pt x="4" y="87"/>
                    <a:pt x="4" y="82"/>
                    <a:pt x="4" y="80"/>
                  </a:cubicBezTo>
                  <a:cubicBezTo>
                    <a:pt x="4" y="77"/>
                    <a:pt x="4" y="78"/>
                    <a:pt x="5" y="76"/>
                  </a:cubicBezTo>
                  <a:cubicBezTo>
                    <a:pt x="6" y="75"/>
                    <a:pt x="6" y="70"/>
                    <a:pt x="6" y="65"/>
                  </a:cubicBezTo>
                  <a:cubicBezTo>
                    <a:pt x="7" y="61"/>
                    <a:pt x="7" y="50"/>
                    <a:pt x="9" y="44"/>
                  </a:cubicBezTo>
                  <a:cubicBezTo>
                    <a:pt x="10" y="39"/>
                    <a:pt x="17" y="38"/>
                    <a:pt x="20" y="36"/>
                  </a:cubicBezTo>
                  <a:cubicBezTo>
                    <a:pt x="24" y="35"/>
                    <a:pt x="25" y="33"/>
                    <a:pt x="25" y="33"/>
                  </a:cubicBezTo>
                  <a:cubicBezTo>
                    <a:pt x="26" y="31"/>
                    <a:pt x="26" y="31"/>
                    <a:pt x="25" y="30"/>
                  </a:cubicBezTo>
                  <a:close/>
                  <a:moveTo>
                    <a:pt x="34" y="196"/>
                  </a:moveTo>
                  <a:cubicBezTo>
                    <a:pt x="34" y="196"/>
                    <a:pt x="35" y="195"/>
                    <a:pt x="35" y="192"/>
                  </a:cubicBezTo>
                  <a:cubicBezTo>
                    <a:pt x="36" y="189"/>
                    <a:pt x="35" y="188"/>
                    <a:pt x="36" y="185"/>
                  </a:cubicBezTo>
                  <a:cubicBezTo>
                    <a:pt x="37" y="182"/>
                    <a:pt x="37" y="180"/>
                    <a:pt x="37" y="177"/>
                  </a:cubicBezTo>
                  <a:cubicBezTo>
                    <a:pt x="37" y="175"/>
                    <a:pt x="37" y="169"/>
                    <a:pt x="37" y="167"/>
                  </a:cubicBezTo>
                  <a:cubicBezTo>
                    <a:pt x="38" y="166"/>
                    <a:pt x="38" y="165"/>
                    <a:pt x="37" y="162"/>
                  </a:cubicBezTo>
                  <a:cubicBezTo>
                    <a:pt x="37" y="160"/>
                    <a:pt x="36" y="157"/>
                    <a:pt x="36" y="155"/>
                  </a:cubicBezTo>
                  <a:cubicBezTo>
                    <a:pt x="36" y="154"/>
                    <a:pt x="35" y="147"/>
                    <a:pt x="35" y="145"/>
                  </a:cubicBezTo>
                  <a:cubicBezTo>
                    <a:pt x="35" y="143"/>
                    <a:pt x="35" y="138"/>
                    <a:pt x="35" y="136"/>
                  </a:cubicBezTo>
                  <a:cubicBezTo>
                    <a:pt x="35" y="135"/>
                    <a:pt x="35" y="133"/>
                    <a:pt x="35" y="131"/>
                  </a:cubicBezTo>
                  <a:cubicBezTo>
                    <a:pt x="35" y="129"/>
                    <a:pt x="34" y="127"/>
                    <a:pt x="34" y="127"/>
                  </a:cubicBezTo>
                  <a:cubicBezTo>
                    <a:pt x="34" y="127"/>
                    <a:pt x="34" y="135"/>
                    <a:pt x="33" y="136"/>
                  </a:cubicBezTo>
                  <a:cubicBezTo>
                    <a:pt x="33" y="138"/>
                    <a:pt x="33" y="144"/>
                    <a:pt x="33" y="146"/>
                  </a:cubicBezTo>
                  <a:cubicBezTo>
                    <a:pt x="33" y="148"/>
                    <a:pt x="33" y="153"/>
                    <a:pt x="33" y="155"/>
                  </a:cubicBezTo>
                  <a:cubicBezTo>
                    <a:pt x="33" y="157"/>
                    <a:pt x="34" y="160"/>
                    <a:pt x="34" y="162"/>
                  </a:cubicBezTo>
                  <a:cubicBezTo>
                    <a:pt x="33" y="165"/>
                    <a:pt x="34" y="175"/>
                    <a:pt x="34" y="178"/>
                  </a:cubicBezTo>
                  <a:cubicBezTo>
                    <a:pt x="34" y="180"/>
                    <a:pt x="34" y="183"/>
                    <a:pt x="34" y="185"/>
                  </a:cubicBezTo>
                  <a:cubicBezTo>
                    <a:pt x="33" y="187"/>
                    <a:pt x="33" y="190"/>
                    <a:pt x="33" y="192"/>
                  </a:cubicBezTo>
                  <a:cubicBezTo>
                    <a:pt x="33" y="193"/>
                    <a:pt x="33" y="195"/>
                    <a:pt x="34" y="196"/>
                  </a:cubicBezTo>
                  <a:close/>
                  <a:moveTo>
                    <a:pt x="6" y="118"/>
                  </a:moveTo>
                  <a:cubicBezTo>
                    <a:pt x="6" y="118"/>
                    <a:pt x="6" y="118"/>
                    <a:pt x="5" y="118"/>
                  </a:cubicBezTo>
                  <a:cubicBezTo>
                    <a:pt x="5" y="118"/>
                    <a:pt x="5" y="118"/>
                    <a:pt x="5" y="120"/>
                  </a:cubicBezTo>
                  <a:cubicBezTo>
                    <a:pt x="5" y="121"/>
                    <a:pt x="5" y="122"/>
                    <a:pt x="6" y="122"/>
                  </a:cubicBezTo>
                  <a:cubicBezTo>
                    <a:pt x="6" y="123"/>
                    <a:pt x="6" y="122"/>
                    <a:pt x="6" y="120"/>
                  </a:cubicBezTo>
                  <a:cubicBezTo>
                    <a:pt x="6" y="118"/>
                    <a:pt x="7" y="118"/>
                    <a:pt x="6" y="117"/>
                  </a:cubicBezTo>
                  <a:cubicBezTo>
                    <a:pt x="6" y="117"/>
                    <a:pt x="6" y="117"/>
                    <a:pt x="6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7" name="Freeform 15"/>
            <p:cNvSpPr>
              <a:spLocks noChangeAspect="1"/>
            </p:cNvSpPr>
            <p:nvPr/>
          </p:nvSpPr>
          <p:spPr bwMode="gray">
            <a:xfrm>
              <a:off x="11739563" y="3352800"/>
              <a:ext cx="55563" cy="150813"/>
            </a:xfrm>
            <a:custGeom>
              <a:avLst/>
              <a:gdLst>
                <a:gd name="T0" fmla="*/ 8 w 15"/>
                <a:gd name="T1" fmla="*/ 40 h 40"/>
                <a:gd name="T2" fmla="*/ 15 w 15"/>
                <a:gd name="T3" fmla="*/ 0 h 40"/>
                <a:gd name="T4" fmla="*/ 1 w 15"/>
                <a:gd name="T5" fmla="*/ 4 h 40"/>
                <a:gd name="T6" fmla="*/ 8 w 15"/>
                <a:gd name="T7" fmla="*/ 40 h 4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"/>
                <a:gd name="T13" fmla="*/ 0 h 40"/>
                <a:gd name="T14" fmla="*/ 15 w 15"/>
                <a:gd name="T15" fmla="*/ 40 h 4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" h="40">
                  <a:moveTo>
                    <a:pt x="8" y="40"/>
                  </a:moveTo>
                  <a:cubicBezTo>
                    <a:pt x="8" y="40"/>
                    <a:pt x="15" y="1"/>
                    <a:pt x="15" y="0"/>
                  </a:cubicBezTo>
                  <a:cubicBezTo>
                    <a:pt x="12" y="7"/>
                    <a:pt x="7" y="9"/>
                    <a:pt x="1" y="4"/>
                  </a:cubicBezTo>
                  <a:cubicBezTo>
                    <a:pt x="0" y="2"/>
                    <a:pt x="8" y="40"/>
                    <a:pt x="8" y="40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9" name="Freeform 16"/>
            <p:cNvSpPr>
              <a:spLocks noChangeAspect="1"/>
            </p:cNvSpPr>
            <p:nvPr/>
          </p:nvSpPr>
          <p:spPr bwMode="gray">
            <a:xfrm>
              <a:off x="11758613" y="3379788"/>
              <a:ext cx="19050" cy="123825"/>
            </a:xfrm>
            <a:custGeom>
              <a:avLst/>
              <a:gdLst>
                <a:gd name="T0" fmla="*/ 4 w 5"/>
                <a:gd name="T1" fmla="*/ 3 h 33"/>
                <a:gd name="T2" fmla="*/ 4 w 5"/>
                <a:gd name="T3" fmla="*/ 2 h 33"/>
                <a:gd name="T4" fmla="*/ 3 w 5"/>
                <a:gd name="T5" fmla="*/ 0 h 33"/>
                <a:gd name="T6" fmla="*/ 1 w 5"/>
                <a:gd name="T7" fmla="*/ 1 h 33"/>
                <a:gd name="T8" fmla="*/ 2 w 5"/>
                <a:gd name="T9" fmla="*/ 3 h 33"/>
                <a:gd name="T10" fmla="*/ 0 w 5"/>
                <a:gd name="T11" fmla="*/ 17 h 33"/>
                <a:gd name="T12" fmla="*/ 3 w 5"/>
                <a:gd name="T13" fmla="*/ 33 h 33"/>
                <a:gd name="T14" fmla="*/ 5 w 5"/>
                <a:gd name="T15" fmla="*/ 17 h 33"/>
                <a:gd name="T16" fmla="*/ 4 w 5"/>
                <a:gd name="T17" fmla="*/ 3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3"/>
                <a:gd name="T29" fmla="*/ 5 w 5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3">
                  <a:moveTo>
                    <a:pt x="4" y="3"/>
                  </a:move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1" y="5"/>
                    <a:pt x="0" y="10"/>
                    <a:pt x="0" y="17"/>
                  </a:cubicBezTo>
                  <a:cubicBezTo>
                    <a:pt x="1" y="26"/>
                    <a:pt x="2" y="33"/>
                    <a:pt x="3" y="33"/>
                  </a:cubicBezTo>
                  <a:cubicBezTo>
                    <a:pt x="3" y="33"/>
                    <a:pt x="4" y="25"/>
                    <a:pt x="5" y="17"/>
                  </a:cubicBezTo>
                  <a:cubicBezTo>
                    <a:pt x="5" y="10"/>
                    <a:pt x="5" y="5"/>
                    <a:pt x="4" y="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1" name="Freeform 17"/>
            <p:cNvSpPr>
              <a:spLocks noChangeAspect="1"/>
            </p:cNvSpPr>
            <p:nvPr/>
          </p:nvSpPr>
          <p:spPr bwMode="gray">
            <a:xfrm>
              <a:off x="11758613" y="3379788"/>
              <a:ext cx="11113" cy="14288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0 h 4"/>
                <a:gd name="T4" fmla="*/ 3 w 3"/>
                <a:gd name="T5" fmla="*/ 0 h 4"/>
                <a:gd name="T6" fmla="*/ 3 w 3"/>
                <a:gd name="T7" fmla="*/ 0 h 4"/>
                <a:gd name="T8" fmla="*/ 0 w 3"/>
                <a:gd name="T9" fmla="*/ 4 h 4"/>
                <a:gd name="T10" fmla="*/ 0 w 3"/>
                <a:gd name="T11" fmla="*/ 4 h 4"/>
                <a:gd name="T12" fmla="*/ 0 w 3"/>
                <a:gd name="T13" fmla="*/ 4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4"/>
                <a:gd name="T23" fmla="*/ 3 w 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4">
                  <a:moveTo>
                    <a:pt x="0" y="4"/>
                  </a:move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3" name="Freeform 18"/>
            <p:cNvSpPr>
              <a:spLocks noChangeAspect="1"/>
            </p:cNvSpPr>
            <p:nvPr/>
          </p:nvSpPr>
          <p:spPr bwMode="gray">
            <a:xfrm>
              <a:off x="11769725" y="3379788"/>
              <a:ext cx="11113" cy="14288"/>
            </a:xfrm>
            <a:custGeom>
              <a:avLst/>
              <a:gdLst>
                <a:gd name="T0" fmla="*/ 3 w 3"/>
                <a:gd name="T1" fmla="*/ 4 h 4"/>
                <a:gd name="T2" fmla="*/ 0 w 3"/>
                <a:gd name="T3" fmla="*/ 0 h 4"/>
                <a:gd name="T4" fmla="*/ 0 w 3"/>
                <a:gd name="T5" fmla="*/ 0 h 4"/>
                <a:gd name="T6" fmla="*/ 0 w 3"/>
                <a:gd name="T7" fmla="*/ 0 h 4"/>
                <a:gd name="T8" fmla="*/ 3 w 3"/>
                <a:gd name="T9" fmla="*/ 4 h 4"/>
                <a:gd name="T10" fmla="*/ 3 w 3"/>
                <a:gd name="T11" fmla="*/ 4 h 4"/>
                <a:gd name="T12" fmla="*/ 3 w 3"/>
                <a:gd name="T13" fmla="*/ 4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4"/>
                <a:gd name="T23" fmla="*/ 3 w 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4">
                  <a:moveTo>
                    <a:pt x="3" y="4"/>
                  </a:moveTo>
                  <a:cubicBezTo>
                    <a:pt x="3" y="2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2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4" name="Freeform 19"/>
            <p:cNvSpPr>
              <a:spLocks noChangeAspect="1"/>
            </p:cNvSpPr>
            <p:nvPr/>
          </p:nvSpPr>
          <p:spPr bwMode="gray">
            <a:xfrm>
              <a:off x="11747500" y="3379788"/>
              <a:ext cx="11113" cy="14288"/>
            </a:xfrm>
            <a:custGeom>
              <a:avLst/>
              <a:gdLst>
                <a:gd name="T0" fmla="*/ 0 w 7"/>
                <a:gd name="T1" fmla="*/ 2 h 9"/>
                <a:gd name="T2" fmla="*/ 0 w 7"/>
                <a:gd name="T3" fmla="*/ 0 h 9"/>
                <a:gd name="T4" fmla="*/ 7 w 7"/>
                <a:gd name="T5" fmla="*/ 9 h 9"/>
                <a:gd name="T6" fmla="*/ 7 w 7"/>
                <a:gd name="T7" fmla="*/ 9 h 9"/>
                <a:gd name="T8" fmla="*/ 0 w 7"/>
                <a:gd name="T9" fmla="*/ 2 h 9"/>
                <a:gd name="T10" fmla="*/ 0 w 7"/>
                <a:gd name="T11" fmla="*/ 2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0" y="2"/>
                  </a:moveTo>
                  <a:lnTo>
                    <a:pt x="0" y="0"/>
                  </a:lnTo>
                  <a:lnTo>
                    <a:pt x="7" y="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16" name="Freeform 20"/>
            <p:cNvSpPr>
              <a:spLocks noChangeAspect="1"/>
            </p:cNvSpPr>
            <p:nvPr/>
          </p:nvSpPr>
          <p:spPr bwMode="gray">
            <a:xfrm>
              <a:off x="11780838" y="3375025"/>
              <a:ext cx="11113" cy="19050"/>
            </a:xfrm>
            <a:custGeom>
              <a:avLst/>
              <a:gdLst>
                <a:gd name="T0" fmla="*/ 0 w 7"/>
                <a:gd name="T1" fmla="*/ 12 h 12"/>
                <a:gd name="T2" fmla="*/ 7 w 7"/>
                <a:gd name="T3" fmla="*/ 0 h 12"/>
                <a:gd name="T4" fmla="*/ 7 w 7"/>
                <a:gd name="T5" fmla="*/ 3 h 12"/>
                <a:gd name="T6" fmla="*/ 0 w 7"/>
                <a:gd name="T7" fmla="*/ 12 h 12"/>
                <a:gd name="T8" fmla="*/ 0 w 7"/>
                <a:gd name="T9" fmla="*/ 12 h 12"/>
                <a:gd name="T10" fmla="*/ 0 w 7"/>
                <a:gd name="T11" fmla="*/ 12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2"/>
                <a:gd name="T20" fmla="*/ 7 w 7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2">
                  <a:moveTo>
                    <a:pt x="0" y="12"/>
                  </a:moveTo>
                  <a:lnTo>
                    <a:pt x="7" y="0"/>
                  </a:lnTo>
                  <a:lnTo>
                    <a:pt x="7" y="3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77" name="Gruppieren 14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gray">
          <a:xfrm>
            <a:off x="8398826" y="2063087"/>
            <a:ext cx="205734" cy="589282"/>
            <a:chOff x="11904663" y="2562225"/>
            <a:chExt cx="231775" cy="663575"/>
          </a:xfrm>
        </p:grpSpPr>
        <p:sp>
          <p:nvSpPr>
            <p:cNvPr id="87" name="Freeform 7"/>
            <p:cNvSpPr>
              <a:spLocks noChangeAspect="1" noEditPoints="1"/>
            </p:cNvSpPr>
            <p:nvPr/>
          </p:nvSpPr>
          <p:spPr bwMode="gray">
            <a:xfrm>
              <a:off x="11904663" y="2562225"/>
              <a:ext cx="231775" cy="663575"/>
            </a:xfrm>
            <a:custGeom>
              <a:avLst/>
              <a:gdLst>
                <a:gd name="T0" fmla="*/ 59 w 62"/>
                <a:gd name="T1" fmla="*/ 83 h 177"/>
                <a:gd name="T2" fmla="*/ 50 w 62"/>
                <a:gd name="T3" fmla="*/ 106 h 177"/>
                <a:gd name="T4" fmla="*/ 39 w 62"/>
                <a:gd name="T5" fmla="*/ 155 h 177"/>
                <a:gd name="T6" fmla="*/ 35 w 62"/>
                <a:gd name="T7" fmla="*/ 168 h 177"/>
                <a:gd name="T8" fmla="*/ 23 w 62"/>
                <a:gd name="T9" fmla="*/ 175 h 177"/>
                <a:gd name="T10" fmla="*/ 25 w 62"/>
                <a:gd name="T11" fmla="*/ 166 h 177"/>
                <a:gd name="T12" fmla="*/ 23 w 62"/>
                <a:gd name="T13" fmla="*/ 159 h 177"/>
                <a:gd name="T14" fmla="*/ 18 w 62"/>
                <a:gd name="T15" fmla="*/ 118 h 177"/>
                <a:gd name="T16" fmla="*/ 13 w 62"/>
                <a:gd name="T17" fmla="*/ 101 h 177"/>
                <a:gd name="T18" fmla="*/ 13 w 62"/>
                <a:gd name="T19" fmla="*/ 72 h 177"/>
                <a:gd name="T20" fmla="*/ 12 w 62"/>
                <a:gd name="T21" fmla="*/ 68 h 177"/>
                <a:gd name="T22" fmla="*/ 11 w 62"/>
                <a:gd name="T23" fmla="*/ 90 h 177"/>
                <a:gd name="T24" fmla="*/ 12 w 62"/>
                <a:gd name="T25" fmla="*/ 99 h 177"/>
                <a:gd name="T26" fmla="*/ 11 w 62"/>
                <a:gd name="T27" fmla="*/ 102 h 177"/>
                <a:gd name="T28" fmla="*/ 9 w 62"/>
                <a:gd name="T29" fmla="*/ 105 h 177"/>
                <a:gd name="T30" fmla="*/ 1 w 62"/>
                <a:gd name="T31" fmla="*/ 98 h 177"/>
                <a:gd name="T32" fmla="*/ 1 w 62"/>
                <a:gd name="T33" fmla="*/ 91 h 177"/>
                <a:gd name="T34" fmla="*/ 5 w 62"/>
                <a:gd name="T35" fmla="*/ 36 h 177"/>
                <a:gd name="T36" fmla="*/ 25 w 62"/>
                <a:gd name="T37" fmla="*/ 22 h 177"/>
                <a:gd name="T38" fmla="*/ 25 w 62"/>
                <a:gd name="T39" fmla="*/ 14 h 177"/>
                <a:gd name="T40" fmla="*/ 25 w 62"/>
                <a:gd name="T41" fmla="*/ 4 h 177"/>
                <a:gd name="T42" fmla="*/ 42 w 62"/>
                <a:gd name="T43" fmla="*/ 9 h 177"/>
                <a:gd name="T44" fmla="*/ 40 w 62"/>
                <a:gd name="T45" fmla="*/ 17 h 177"/>
                <a:gd name="T46" fmla="*/ 54 w 62"/>
                <a:gd name="T47" fmla="*/ 29 h 177"/>
                <a:gd name="T48" fmla="*/ 62 w 62"/>
                <a:gd name="T49" fmla="*/ 67 h 177"/>
                <a:gd name="T50" fmla="*/ 50 w 62"/>
                <a:gd name="T51" fmla="*/ 71 h 177"/>
                <a:gd name="T52" fmla="*/ 51 w 62"/>
                <a:gd name="T53" fmla="*/ 59 h 177"/>
                <a:gd name="T54" fmla="*/ 8 w 62"/>
                <a:gd name="T55" fmla="*/ 101 h 177"/>
                <a:gd name="T56" fmla="*/ 8 w 62"/>
                <a:gd name="T57" fmla="*/ 97 h 177"/>
                <a:gd name="T58" fmla="*/ 34 w 62"/>
                <a:gd name="T59" fmla="*/ 125 h 177"/>
                <a:gd name="T60" fmla="*/ 34 w 62"/>
                <a:gd name="T61" fmla="*/ 134 h 177"/>
                <a:gd name="T62" fmla="*/ 35 w 62"/>
                <a:gd name="T63" fmla="*/ 117 h 17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2"/>
                <a:gd name="T97" fmla="*/ 0 h 177"/>
                <a:gd name="T98" fmla="*/ 62 w 62"/>
                <a:gd name="T99" fmla="*/ 177 h 17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2" h="177">
                  <a:moveTo>
                    <a:pt x="62" y="67"/>
                  </a:moveTo>
                  <a:cubicBezTo>
                    <a:pt x="62" y="70"/>
                    <a:pt x="60" y="80"/>
                    <a:pt x="59" y="83"/>
                  </a:cubicBezTo>
                  <a:cubicBezTo>
                    <a:pt x="58" y="86"/>
                    <a:pt x="56" y="88"/>
                    <a:pt x="53" y="93"/>
                  </a:cubicBezTo>
                  <a:cubicBezTo>
                    <a:pt x="50" y="98"/>
                    <a:pt x="49" y="104"/>
                    <a:pt x="50" y="106"/>
                  </a:cubicBezTo>
                  <a:cubicBezTo>
                    <a:pt x="50" y="109"/>
                    <a:pt x="47" y="130"/>
                    <a:pt x="46" y="135"/>
                  </a:cubicBezTo>
                  <a:cubicBezTo>
                    <a:pt x="45" y="139"/>
                    <a:pt x="41" y="149"/>
                    <a:pt x="39" y="155"/>
                  </a:cubicBezTo>
                  <a:cubicBezTo>
                    <a:pt x="36" y="160"/>
                    <a:pt x="37" y="160"/>
                    <a:pt x="37" y="163"/>
                  </a:cubicBezTo>
                  <a:cubicBezTo>
                    <a:pt x="37" y="165"/>
                    <a:pt x="37" y="167"/>
                    <a:pt x="35" y="168"/>
                  </a:cubicBezTo>
                  <a:cubicBezTo>
                    <a:pt x="34" y="169"/>
                    <a:pt x="34" y="171"/>
                    <a:pt x="34" y="174"/>
                  </a:cubicBezTo>
                  <a:cubicBezTo>
                    <a:pt x="34" y="177"/>
                    <a:pt x="25" y="176"/>
                    <a:pt x="23" y="175"/>
                  </a:cubicBezTo>
                  <a:cubicBezTo>
                    <a:pt x="22" y="174"/>
                    <a:pt x="24" y="171"/>
                    <a:pt x="25" y="169"/>
                  </a:cubicBezTo>
                  <a:cubicBezTo>
                    <a:pt x="27" y="167"/>
                    <a:pt x="26" y="167"/>
                    <a:pt x="25" y="166"/>
                  </a:cubicBezTo>
                  <a:cubicBezTo>
                    <a:pt x="24" y="165"/>
                    <a:pt x="24" y="163"/>
                    <a:pt x="24" y="162"/>
                  </a:cubicBezTo>
                  <a:cubicBezTo>
                    <a:pt x="24" y="161"/>
                    <a:pt x="24" y="161"/>
                    <a:pt x="23" y="159"/>
                  </a:cubicBezTo>
                  <a:cubicBezTo>
                    <a:pt x="22" y="157"/>
                    <a:pt x="20" y="147"/>
                    <a:pt x="20" y="142"/>
                  </a:cubicBezTo>
                  <a:cubicBezTo>
                    <a:pt x="19" y="138"/>
                    <a:pt x="18" y="124"/>
                    <a:pt x="18" y="118"/>
                  </a:cubicBezTo>
                  <a:cubicBezTo>
                    <a:pt x="18" y="112"/>
                    <a:pt x="17" y="108"/>
                    <a:pt x="15" y="105"/>
                  </a:cubicBezTo>
                  <a:cubicBezTo>
                    <a:pt x="14" y="102"/>
                    <a:pt x="14" y="101"/>
                    <a:pt x="13" y="101"/>
                  </a:cubicBezTo>
                  <a:cubicBezTo>
                    <a:pt x="12" y="102"/>
                    <a:pt x="12" y="95"/>
                    <a:pt x="12" y="90"/>
                  </a:cubicBezTo>
                  <a:cubicBezTo>
                    <a:pt x="12" y="85"/>
                    <a:pt x="13" y="76"/>
                    <a:pt x="13" y="72"/>
                  </a:cubicBezTo>
                  <a:cubicBezTo>
                    <a:pt x="14" y="68"/>
                    <a:pt x="14" y="65"/>
                    <a:pt x="14" y="60"/>
                  </a:cubicBezTo>
                  <a:cubicBezTo>
                    <a:pt x="15" y="55"/>
                    <a:pt x="13" y="63"/>
                    <a:pt x="12" y="68"/>
                  </a:cubicBezTo>
                  <a:cubicBezTo>
                    <a:pt x="11" y="72"/>
                    <a:pt x="11" y="83"/>
                    <a:pt x="11" y="85"/>
                  </a:cubicBezTo>
                  <a:cubicBezTo>
                    <a:pt x="11" y="87"/>
                    <a:pt x="11" y="90"/>
                    <a:pt x="11" y="90"/>
                  </a:cubicBezTo>
                  <a:cubicBezTo>
                    <a:pt x="10" y="91"/>
                    <a:pt x="10" y="91"/>
                    <a:pt x="10" y="92"/>
                  </a:cubicBezTo>
                  <a:cubicBezTo>
                    <a:pt x="11" y="94"/>
                    <a:pt x="11" y="97"/>
                    <a:pt x="12" y="99"/>
                  </a:cubicBezTo>
                  <a:cubicBezTo>
                    <a:pt x="12" y="100"/>
                    <a:pt x="12" y="101"/>
                    <a:pt x="11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0" y="102"/>
                    <a:pt x="11" y="103"/>
                    <a:pt x="11" y="103"/>
                  </a:cubicBezTo>
                  <a:cubicBezTo>
                    <a:pt x="11" y="104"/>
                    <a:pt x="10" y="105"/>
                    <a:pt x="9" y="105"/>
                  </a:cubicBezTo>
                  <a:cubicBezTo>
                    <a:pt x="7" y="104"/>
                    <a:pt x="6" y="103"/>
                    <a:pt x="5" y="102"/>
                  </a:cubicBezTo>
                  <a:cubicBezTo>
                    <a:pt x="4" y="101"/>
                    <a:pt x="2" y="99"/>
                    <a:pt x="1" y="98"/>
                  </a:cubicBezTo>
                  <a:cubicBezTo>
                    <a:pt x="1" y="96"/>
                    <a:pt x="2" y="94"/>
                    <a:pt x="3" y="92"/>
                  </a:cubicBezTo>
                  <a:cubicBezTo>
                    <a:pt x="3" y="90"/>
                    <a:pt x="2" y="91"/>
                    <a:pt x="1" y="91"/>
                  </a:cubicBezTo>
                  <a:cubicBezTo>
                    <a:pt x="0" y="91"/>
                    <a:pt x="2" y="78"/>
                    <a:pt x="2" y="70"/>
                  </a:cubicBezTo>
                  <a:cubicBezTo>
                    <a:pt x="2" y="62"/>
                    <a:pt x="5" y="42"/>
                    <a:pt x="5" y="36"/>
                  </a:cubicBezTo>
                  <a:cubicBezTo>
                    <a:pt x="6" y="30"/>
                    <a:pt x="10" y="30"/>
                    <a:pt x="16" y="28"/>
                  </a:cubicBezTo>
                  <a:cubicBezTo>
                    <a:pt x="21" y="26"/>
                    <a:pt x="24" y="23"/>
                    <a:pt x="25" y="22"/>
                  </a:cubicBezTo>
                  <a:cubicBezTo>
                    <a:pt x="27" y="22"/>
                    <a:pt x="26" y="16"/>
                    <a:pt x="26" y="16"/>
                  </a:cubicBezTo>
                  <a:cubicBezTo>
                    <a:pt x="25" y="16"/>
                    <a:pt x="25" y="15"/>
                    <a:pt x="25" y="14"/>
                  </a:cubicBezTo>
                  <a:cubicBezTo>
                    <a:pt x="25" y="13"/>
                    <a:pt x="25" y="12"/>
                    <a:pt x="24" y="11"/>
                  </a:cubicBezTo>
                  <a:cubicBezTo>
                    <a:pt x="24" y="10"/>
                    <a:pt x="24" y="8"/>
                    <a:pt x="25" y="4"/>
                  </a:cubicBezTo>
                  <a:cubicBezTo>
                    <a:pt x="26" y="0"/>
                    <a:pt x="33" y="0"/>
                    <a:pt x="37" y="0"/>
                  </a:cubicBezTo>
                  <a:cubicBezTo>
                    <a:pt x="41" y="1"/>
                    <a:pt x="43" y="6"/>
                    <a:pt x="42" y="9"/>
                  </a:cubicBezTo>
                  <a:cubicBezTo>
                    <a:pt x="42" y="12"/>
                    <a:pt x="41" y="13"/>
                    <a:pt x="41" y="14"/>
                  </a:cubicBezTo>
                  <a:cubicBezTo>
                    <a:pt x="41" y="15"/>
                    <a:pt x="41" y="16"/>
                    <a:pt x="40" y="17"/>
                  </a:cubicBezTo>
                  <a:cubicBezTo>
                    <a:pt x="40" y="17"/>
                    <a:pt x="39" y="19"/>
                    <a:pt x="38" y="22"/>
                  </a:cubicBezTo>
                  <a:cubicBezTo>
                    <a:pt x="38" y="25"/>
                    <a:pt x="49" y="27"/>
                    <a:pt x="54" y="29"/>
                  </a:cubicBezTo>
                  <a:cubicBezTo>
                    <a:pt x="59" y="31"/>
                    <a:pt x="61" y="55"/>
                    <a:pt x="62" y="62"/>
                  </a:cubicBezTo>
                  <a:cubicBezTo>
                    <a:pt x="62" y="62"/>
                    <a:pt x="62" y="64"/>
                    <a:pt x="62" y="67"/>
                  </a:cubicBezTo>
                  <a:close/>
                  <a:moveTo>
                    <a:pt x="51" y="59"/>
                  </a:moveTo>
                  <a:cubicBezTo>
                    <a:pt x="50" y="58"/>
                    <a:pt x="50" y="66"/>
                    <a:pt x="50" y="71"/>
                  </a:cubicBezTo>
                  <a:cubicBezTo>
                    <a:pt x="50" y="76"/>
                    <a:pt x="52" y="64"/>
                    <a:pt x="52" y="62"/>
                  </a:cubicBezTo>
                  <a:cubicBezTo>
                    <a:pt x="52" y="62"/>
                    <a:pt x="52" y="59"/>
                    <a:pt x="51" y="59"/>
                  </a:cubicBezTo>
                  <a:close/>
                  <a:moveTo>
                    <a:pt x="8" y="97"/>
                  </a:moveTo>
                  <a:cubicBezTo>
                    <a:pt x="7" y="97"/>
                    <a:pt x="7" y="99"/>
                    <a:pt x="8" y="101"/>
                  </a:cubicBezTo>
                  <a:cubicBezTo>
                    <a:pt x="9" y="102"/>
                    <a:pt x="9" y="99"/>
                    <a:pt x="9" y="97"/>
                  </a:cubicBezTo>
                  <a:cubicBezTo>
                    <a:pt x="9" y="97"/>
                    <a:pt x="8" y="97"/>
                    <a:pt x="8" y="97"/>
                  </a:cubicBezTo>
                  <a:close/>
                  <a:moveTo>
                    <a:pt x="34" y="117"/>
                  </a:moveTo>
                  <a:cubicBezTo>
                    <a:pt x="33" y="117"/>
                    <a:pt x="33" y="122"/>
                    <a:pt x="34" y="125"/>
                  </a:cubicBezTo>
                  <a:cubicBezTo>
                    <a:pt x="34" y="129"/>
                    <a:pt x="33" y="131"/>
                    <a:pt x="33" y="135"/>
                  </a:cubicBezTo>
                  <a:cubicBezTo>
                    <a:pt x="33" y="138"/>
                    <a:pt x="34" y="136"/>
                    <a:pt x="34" y="134"/>
                  </a:cubicBezTo>
                  <a:cubicBezTo>
                    <a:pt x="35" y="133"/>
                    <a:pt x="35" y="129"/>
                    <a:pt x="36" y="126"/>
                  </a:cubicBezTo>
                  <a:cubicBezTo>
                    <a:pt x="36" y="122"/>
                    <a:pt x="35" y="119"/>
                    <a:pt x="35" y="117"/>
                  </a:cubicBezTo>
                  <a:cubicBezTo>
                    <a:pt x="35" y="117"/>
                    <a:pt x="35" y="117"/>
                    <a:pt x="34" y="11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8" name="Freeform 8"/>
            <p:cNvSpPr>
              <a:spLocks noChangeAspect="1"/>
            </p:cNvSpPr>
            <p:nvPr/>
          </p:nvSpPr>
          <p:spPr bwMode="gray">
            <a:xfrm>
              <a:off x="11998325" y="2647950"/>
              <a:ext cx="55563" cy="149225"/>
            </a:xfrm>
            <a:custGeom>
              <a:avLst/>
              <a:gdLst>
                <a:gd name="T0" fmla="*/ 15 w 15"/>
                <a:gd name="T1" fmla="*/ 1 h 40"/>
                <a:gd name="T2" fmla="*/ 0 w 15"/>
                <a:gd name="T3" fmla="*/ 0 h 40"/>
                <a:gd name="T4" fmla="*/ 7 w 15"/>
                <a:gd name="T5" fmla="*/ 40 h 40"/>
                <a:gd name="T6" fmla="*/ 15 w 15"/>
                <a:gd name="T7" fmla="*/ 1 h 4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"/>
                <a:gd name="T13" fmla="*/ 0 h 40"/>
                <a:gd name="T14" fmla="*/ 15 w 15"/>
                <a:gd name="T15" fmla="*/ 40 h 4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" h="40">
                  <a:moveTo>
                    <a:pt x="15" y="1"/>
                  </a:moveTo>
                  <a:cubicBezTo>
                    <a:pt x="14" y="5"/>
                    <a:pt x="5" y="11"/>
                    <a:pt x="0" y="0"/>
                  </a:cubicBezTo>
                  <a:cubicBezTo>
                    <a:pt x="2" y="2"/>
                    <a:pt x="6" y="34"/>
                    <a:pt x="7" y="40"/>
                  </a:cubicBezTo>
                  <a:lnTo>
                    <a:pt x="1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89" name="Freeform 9"/>
            <p:cNvSpPr>
              <a:spLocks noChangeAspect="1"/>
            </p:cNvSpPr>
            <p:nvPr/>
          </p:nvSpPr>
          <p:spPr bwMode="gray">
            <a:xfrm>
              <a:off x="12017375" y="2670175"/>
              <a:ext cx="19050" cy="123825"/>
            </a:xfrm>
            <a:custGeom>
              <a:avLst/>
              <a:gdLst>
                <a:gd name="T0" fmla="*/ 5 w 5"/>
                <a:gd name="T1" fmla="*/ 2 h 33"/>
                <a:gd name="T2" fmla="*/ 3 w 5"/>
                <a:gd name="T3" fmla="*/ 0 h 33"/>
                <a:gd name="T4" fmla="*/ 1 w 5"/>
                <a:gd name="T5" fmla="*/ 2 h 33"/>
                <a:gd name="T6" fmla="*/ 2 w 5"/>
                <a:gd name="T7" fmla="*/ 4 h 33"/>
                <a:gd name="T8" fmla="*/ 0 w 5"/>
                <a:gd name="T9" fmla="*/ 16 h 33"/>
                <a:gd name="T10" fmla="*/ 2 w 5"/>
                <a:gd name="T11" fmla="*/ 33 h 33"/>
                <a:gd name="T12" fmla="*/ 5 w 5"/>
                <a:gd name="T13" fmla="*/ 16 h 33"/>
                <a:gd name="T14" fmla="*/ 4 w 5"/>
                <a:gd name="T15" fmla="*/ 4 h 33"/>
                <a:gd name="T16" fmla="*/ 5 w 5"/>
                <a:gd name="T17" fmla="*/ 2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3"/>
                <a:gd name="T29" fmla="*/ 5 w 5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3">
                  <a:moveTo>
                    <a:pt x="5" y="2"/>
                  </a:move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1" y="7"/>
                    <a:pt x="0" y="11"/>
                    <a:pt x="0" y="16"/>
                  </a:cubicBezTo>
                  <a:cubicBezTo>
                    <a:pt x="0" y="24"/>
                    <a:pt x="2" y="33"/>
                    <a:pt x="2" y="33"/>
                  </a:cubicBezTo>
                  <a:cubicBezTo>
                    <a:pt x="3" y="33"/>
                    <a:pt x="5" y="24"/>
                    <a:pt x="5" y="16"/>
                  </a:cubicBezTo>
                  <a:cubicBezTo>
                    <a:pt x="5" y="11"/>
                    <a:pt x="4" y="7"/>
                    <a:pt x="4" y="4"/>
                  </a:cubicBezTo>
                  <a:cubicBezTo>
                    <a:pt x="4" y="4"/>
                    <a:pt x="5" y="3"/>
                    <a:pt x="5" y="2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0" name="Freeform 10"/>
            <p:cNvSpPr>
              <a:spLocks noChangeAspect="1"/>
            </p:cNvSpPr>
            <p:nvPr/>
          </p:nvSpPr>
          <p:spPr bwMode="gray">
            <a:xfrm>
              <a:off x="12012613" y="2670175"/>
              <a:ext cx="15875" cy="19050"/>
            </a:xfrm>
            <a:custGeom>
              <a:avLst/>
              <a:gdLst>
                <a:gd name="T0" fmla="*/ 0 w 4"/>
                <a:gd name="T1" fmla="*/ 5 h 5"/>
                <a:gd name="T2" fmla="*/ 4 w 4"/>
                <a:gd name="T3" fmla="*/ 0 h 5"/>
                <a:gd name="T4" fmla="*/ 4 w 4"/>
                <a:gd name="T5" fmla="*/ 0 h 5"/>
                <a:gd name="T6" fmla="*/ 0 w 4"/>
                <a:gd name="T7" fmla="*/ 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0" y="5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1" name="Freeform 11"/>
            <p:cNvSpPr>
              <a:spLocks noChangeAspect="1"/>
            </p:cNvSpPr>
            <p:nvPr/>
          </p:nvSpPr>
          <p:spPr bwMode="gray">
            <a:xfrm>
              <a:off x="12028488" y="2670175"/>
              <a:ext cx="11113" cy="19050"/>
            </a:xfrm>
            <a:custGeom>
              <a:avLst/>
              <a:gdLst>
                <a:gd name="T0" fmla="*/ 3 w 3"/>
                <a:gd name="T1" fmla="*/ 5 h 5"/>
                <a:gd name="T2" fmla="*/ 0 w 3"/>
                <a:gd name="T3" fmla="*/ 0 h 5"/>
                <a:gd name="T4" fmla="*/ 0 w 3"/>
                <a:gd name="T5" fmla="*/ 0 h 5"/>
                <a:gd name="T6" fmla="*/ 3 w 3"/>
                <a:gd name="T7" fmla="*/ 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3" y="5"/>
                  </a:moveTo>
                  <a:cubicBezTo>
                    <a:pt x="3" y="2"/>
                    <a:pt x="2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2"/>
                    <a:pt x="3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2" name="Freeform 12"/>
            <p:cNvSpPr>
              <a:spLocks noChangeAspect="1"/>
            </p:cNvSpPr>
            <p:nvPr/>
          </p:nvSpPr>
          <p:spPr bwMode="gray">
            <a:xfrm>
              <a:off x="12006263" y="2674938"/>
              <a:ext cx="6350" cy="14288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0 h 9"/>
                <a:gd name="T4" fmla="*/ 4 w 4"/>
                <a:gd name="T5" fmla="*/ 9 h 9"/>
                <a:gd name="T6" fmla="*/ 4 w 4"/>
                <a:gd name="T7" fmla="*/ 9 h 9"/>
                <a:gd name="T8" fmla="*/ 0 w 4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0" y="0"/>
                  </a:moveTo>
                  <a:lnTo>
                    <a:pt x="0" y="0"/>
                  </a:lnTo>
                  <a:lnTo>
                    <a:pt x="4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93" name="Freeform 13"/>
            <p:cNvSpPr>
              <a:spLocks noChangeAspect="1"/>
            </p:cNvSpPr>
            <p:nvPr/>
          </p:nvSpPr>
          <p:spPr bwMode="gray">
            <a:xfrm>
              <a:off x="12039600" y="2674938"/>
              <a:ext cx="11113" cy="14288"/>
            </a:xfrm>
            <a:custGeom>
              <a:avLst/>
              <a:gdLst>
                <a:gd name="T0" fmla="*/ 0 w 7"/>
                <a:gd name="T1" fmla="*/ 9 h 9"/>
                <a:gd name="T2" fmla="*/ 5 w 7"/>
                <a:gd name="T3" fmla="*/ 0 h 9"/>
                <a:gd name="T4" fmla="*/ 7 w 7"/>
                <a:gd name="T5" fmla="*/ 2 h 9"/>
                <a:gd name="T6" fmla="*/ 0 w 7"/>
                <a:gd name="T7" fmla="*/ 9 h 9"/>
                <a:gd name="T8" fmla="*/ 0 w 7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9"/>
                <a:gd name="T17" fmla="*/ 7 w 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9">
                  <a:moveTo>
                    <a:pt x="0" y="9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17" name="Freeform 79"/>
          <p:cNvSpPr>
            <a:spLocks noEditPoints="1"/>
          </p:cNvSpPr>
          <p:nvPr>
            <p:custDataLst>
              <p:tags r:id="rId7"/>
            </p:custDataLst>
          </p:nvPr>
        </p:nvSpPr>
        <p:spPr bwMode="gray">
          <a:xfrm>
            <a:off x="605989" y="2044035"/>
            <a:ext cx="176212" cy="584200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19" name="Freeform 96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gray">
          <a:xfrm flipH="1">
            <a:off x="829434" y="1941817"/>
            <a:ext cx="149225" cy="465137"/>
          </a:xfrm>
          <a:custGeom>
            <a:avLst/>
            <a:gdLst>
              <a:gd name="T0" fmla="*/ 270 w 306"/>
              <a:gd name="T1" fmla="*/ 314 h 957"/>
              <a:gd name="T2" fmla="*/ 250 w 306"/>
              <a:gd name="T3" fmla="*/ 172 h 957"/>
              <a:gd name="T4" fmla="*/ 224 w 306"/>
              <a:gd name="T5" fmla="*/ 147 h 957"/>
              <a:gd name="T6" fmla="*/ 226 w 306"/>
              <a:gd name="T7" fmla="*/ 102 h 957"/>
              <a:gd name="T8" fmla="*/ 209 w 306"/>
              <a:gd name="T9" fmla="*/ 49 h 957"/>
              <a:gd name="T10" fmla="*/ 191 w 306"/>
              <a:gd name="T11" fmla="*/ 6 h 957"/>
              <a:gd name="T12" fmla="*/ 138 w 306"/>
              <a:gd name="T13" fmla="*/ 8 h 957"/>
              <a:gd name="T14" fmla="*/ 116 w 306"/>
              <a:gd name="T15" fmla="*/ 41 h 957"/>
              <a:gd name="T16" fmla="*/ 101 w 306"/>
              <a:gd name="T17" fmla="*/ 79 h 957"/>
              <a:gd name="T18" fmla="*/ 93 w 306"/>
              <a:gd name="T19" fmla="*/ 113 h 957"/>
              <a:gd name="T20" fmla="*/ 95 w 306"/>
              <a:gd name="T21" fmla="*/ 118 h 957"/>
              <a:gd name="T22" fmla="*/ 97 w 306"/>
              <a:gd name="T23" fmla="*/ 124 h 957"/>
              <a:gd name="T24" fmla="*/ 87 w 306"/>
              <a:gd name="T25" fmla="*/ 154 h 957"/>
              <a:gd name="T26" fmla="*/ 55 w 306"/>
              <a:gd name="T27" fmla="*/ 189 h 957"/>
              <a:gd name="T28" fmla="*/ 53 w 306"/>
              <a:gd name="T29" fmla="*/ 427 h 957"/>
              <a:gd name="T30" fmla="*/ 53 w 306"/>
              <a:gd name="T31" fmla="*/ 488 h 957"/>
              <a:gd name="T32" fmla="*/ 5 w 306"/>
              <a:gd name="T33" fmla="*/ 501 h 957"/>
              <a:gd name="T34" fmla="*/ 8 w 306"/>
              <a:gd name="T35" fmla="*/ 684 h 957"/>
              <a:gd name="T36" fmla="*/ 87 w 306"/>
              <a:gd name="T37" fmla="*/ 838 h 957"/>
              <a:gd name="T38" fmla="*/ 76 w 306"/>
              <a:gd name="T39" fmla="*/ 939 h 957"/>
              <a:gd name="T40" fmla="*/ 94 w 306"/>
              <a:gd name="T41" fmla="*/ 956 h 957"/>
              <a:gd name="T42" fmla="*/ 102 w 306"/>
              <a:gd name="T43" fmla="*/ 870 h 957"/>
              <a:gd name="T44" fmla="*/ 130 w 306"/>
              <a:gd name="T45" fmla="*/ 707 h 957"/>
              <a:gd name="T46" fmla="*/ 183 w 306"/>
              <a:gd name="T47" fmla="*/ 639 h 957"/>
              <a:gd name="T48" fmla="*/ 192 w 306"/>
              <a:gd name="T49" fmla="*/ 741 h 957"/>
              <a:gd name="T50" fmla="*/ 202 w 306"/>
              <a:gd name="T51" fmla="*/ 885 h 957"/>
              <a:gd name="T52" fmla="*/ 211 w 306"/>
              <a:gd name="T53" fmla="*/ 910 h 957"/>
              <a:gd name="T54" fmla="*/ 222 w 306"/>
              <a:gd name="T55" fmla="*/ 941 h 957"/>
              <a:gd name="T56" fmla="*/ 258 w 306"/>
              <a:gd name="T57" fmla="*/ 947 h 957"/>
              <a:gd name="T58" fmla="*/ 227 w 306"/>
              <a:gd name="T59" fmla="*/ 873 h 957"/>
              <a:gd name="T60" fmla="*/ 227 w 306"/>
              <a:gd name="T61" fmla="*/ 657 h 957"/>
              <a:gd name="T62" fmla="*/ 245 w 306"/>
              <a:gd name="T63" fmla="*/ 630 h 957"/>
              <a:gd name="T64" fmla="*/ 258 w 306"/>
              <a:gd name="T65" fmla="*/ 441 h 957"/>
              <a:gd name="T66" fmla="*/ 281 w 306"/>
              <a:gd name="T67" fmla="*/ 481 h 957"/>
              <a:gd name="T68" fmla="*/ 286 w 306"/>
              <a:gd name="T69" fmla="*/ 492 h 957"/>
              <a:gd name="T70" fmla="*/ 295 w 306"/>
              <a:gd name="T71" fmla="*/ 495 h 957"/>
              <a:gd name="T72" fmla="*/ 305 w 306"/>
              <a:gd name="T73" fmla="*/ 497 h 957"/>
              <a:gd name="T74" fmla="*/ 63 w 306"/>
              <a:gd name="T75" fmla="*/ 500 h 957"/>
              <a:gd name="T76" fmla="*/ 74 w 306"/>
              <a:gd name="T77" fmla="*/ 495 h 957"/>
              <a:gd name="T78" fmla="*/ 81 w 306"/>
              <a:gd name="T79" fmla="*/ 479 h 957"/>
              <a:gd name="T80" fmla="*/ 79 w 306"/>
              <a:gd name="T81" fmla="*/ 455 h 957"/>
              <a:gd name="T82" fmla="*/ 87 w 306"/>
              <a:gd name="T83" fmla="*/ 442 h 957"/>
              <a:gd name="T84" fmla="*/ 99 w 306"/>
              <a:gd name="T85" fmla="*/ 126 h 957"/>
              <a:gd name="T86" fmla="*/ 213 w 306"/>
              <a:gd name="T87" fmla="*/ 188 h 957"/>
              <a:gd name="T88" fmla="*/ 187 w 306"/>
              <a:gd name="T89" fmla="*/ 251 h 957"/>
              <a:gd name="T90" fmla="*/ 189 w 306"/>
              <a:gd name="T91" fmla="*/ 382 h 957"/>
              <a:gd name="T92" fmla="*/ 172 w 306"/>
              <a:gd name="T93" fmla="*/ 391 h 957"/>
              <a:gd name="T94" fmla="*/ 146 w 306"/>
              <a:gd name="T95" fmla="*/ 374 h 957"/>
              <a:gd name="T96" fmla="*/ 151 w 306"/>
              <a:gd name="T97" fmla="*/ 232 h 957"/>
              <a:gd name="T98" fmla="*/ 133 w 306"/>
              <a:gd name="T99" fmla="*/ 184 h 957"/>
              <a:gd name="T100" fmla="*/ 122 w 306"/>
              <a:gd name="T101" fmla="*/ 159 h 957"/>
              <a:gd name="T102" fmla="*/ 131 w 306"/>
              <a:gd name="T103" fmla="*/ 151 h 957"/>
              <a:gd name="T104" fmla="*/ 167 w 306"/>
              <a:gd name="T105" fmla="*/ 195 h 957"/>
              <a:gd name="T106" fmla="*/ 190 w 306"/>
              <a:gd name="T107" fmla="*/ 158 h 957"/>
              <a:gd name="T108" fmla="*/ 218 w 306"/>
              <a:gd name="T109" fmla="*/ 87 h 957"/>
              <a:gd name="T110" fmla="*/ 225 w 306"/>
              <a:gd name="T111" fmla="*/ 104 h 957"/>
              <a:gd name="T112" fmla="*/ 226 w 306"/>
              <a:gd name="T113" fmla="*/ 119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6" h="957">
                <a:moveTo>
                  <a:pt x="304" y="482"/>
                </a:moveTo>
                <a:cubicBezTo>
                  <a:pt x="302" y="477"/>
                  <a:pt x="302" y="477"/>
                  <a:pt x="302" y="477"/>
                </a:cubicBezTo>
                <a:cubicBezTo>
                  <a:pt x="293" y="461"/>
                  <a:pt x="293" y="461"/>
                  <a:pt x="293" y="461"/>
                </a:cubicBezTo>
                <a:cubicBezTo>
                  <a:pt x="288" y="453"/>
                  <a:pt x="288" y="453"/>
                  <a:pt x="288" y="453"/>
                </a:cubicBezTo>
                <a:cubicBezTo>
                  <a:pt x="286" y="446"/>
                  <a:pt x="286" y="446"/>
                  <a:pt x="286" y="446"/>
                </a:cubicBezTo>
                <a:cubicBezTo>
                  <a:pt x="275" y="355"/>
                  <a:pt x="275" y="355"/>
                  <a:pt x="275" y="355"/>
                </a:cubicBezTo>
                <a:cubicBezTo>
                  <a:pt x="270" y="314"/>
                  <a:pt x="270" y="314"/>
                  <a:pt x="270" y="314"/>
                </a:cubicBezTo>
                <a:cubicBezTo>
                  <a:pt x="266" y="271"/>
                  <a:pt x="266" y="271"/>
                  <a:pt x="266" y="271"/>
                </a:cubicBezTo>
                <a:cubicBezTo>
                  <a:pt x="262" y="232"/>
                  <a:pt x="262" y="232"/>
                  <a:pt x="262" y="232"/>
                </a:cubicBezTo>
                <a:cubicBezTo>
                  <a:pt x="258" y="204"/>
                  <a:pt x="258" y="204"/>
                  <a:pt x="258" y="204"/>
                </a:cubicBezTo>
                <a:cubicBezTo>
                  <a:pt x="255" y="189"/>
                  <a:pt x="255" y="189"/>
                  <a:pt x="255" y="189"/>
                </a:cubicBezTo>
                <a:cubicBezTo>
                  <a:pt x="254" y="183"/>
                  <a:pt x="254" y="183"/>
                  <a:pt x="254" y="183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0" y="172"/>
                  <a:pt x="250" y="172"/>
                  <a:pt x="250" y="172"/>
                </a:cubicBezTo>
                <a:cubicBezTo>
                  <a:pt x="247" y="167"/>
                  <a:pt x="247" y="167"/>
                  <a:pt x="247" y="167"/>
                </a:cubicBezTo>
                <a:cubicBezTo>
                  <a:pt x="241" y="163"/>
                  <a:pt x="241" y="163"/>
                  <a:pt x="241" y="163"/>
                </a:cubicBezTo>
                <a:cubicBezTo>
                  <a:pt x="233" y="158"/>
                  <a:pt x="233" y="158"/>
                  <a:pt x="233" y="158"/>
                </a:cubicBezTo>
                <a:cubicBezTo>
                  <a:pt x="228" y="156"/>
                  <a:pt x="228" y="156"/>
                  <a:pt x="228" y="156"/>
                </a:cubicBezTo>
                <a:cubicBezTo>
                  <a:pt x="227" y="155"/>
                  <a:pt x="227" y="155"/>
                  <a:pt x="227" y="155"/>
                </a:cubicBezTo>
                <a:cubicBezTo>
                  <a:pt x="225" y="151"/>
                  <a:pt x="225" y="151"/>
                  <a:pt x="225" y="151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224" y="142"/>
                  <a:pt x="224" y="142"/>
                  <a:pt x="224" y="142"/>
                </a:cubicBezTo>
                <a:cubicBezTo>
                  <a:pt x="225" y="135"/>
                  <a:pt x="225" y="135"/>
                  <a:pt x="225" y="135"/>
                </a:cubicBezTo>
                <a:cubicBezTo>
                  <a:pt x="227" y="131"/>
                  <a:pt x="227" y="131"/>
                  <a:pt x="227" y="131"/>
                </a:cubicBezTo>
                <a:cubicBezTo>
                  <a:pt x="229" y="127"/>
                  <a:pt x="229" y="127"/>
                  <a:pt x="229" y="127"/>
                </a:cubicBezTo>
                <a:cubicBezTo>
                  <a:pt x="230" y="118"/>
                  <a:pt x="230" y="118"/>
                  <a:pt x="230" y="118"/>
                </a:cubicBezTo>
                <a:cubicBezTo>
                  <a:pt x="229" y="110"/>
                  <a:pt x="229" y="110"/>
                  <a:pt x="229" y="110"/>
                </a:cubicBezTo>
                <a:cubicBezTo>
                  <a:pt x="226" y="102"/>
                  <a:pt x="226" y="102"/>
                  <a:pt x="226" y="102"/>
                </a:cubicBezTo>
                <a:cubicBezTo>
                  <a:pt x="226" y="97"/>
                  <a:pt x="226" y="97"/>
                  <a:pt x="226" y="97"/>
                </a:cubicBezTo>
                <a:cubicBezTo>
                  <a:pt x="225" y="91"/>
                  <a:pt x="225" y="91"/>
                  <a:pt x="225" y="91"/>
                </a:cubicBezTo>
                <a:cubicBezTo>
                  <a:pt x="222" y="84"/>
                  <a:pt x="222" y="84"/>
                  <a:pt x="222" y="84"/>
                </a:cubicBezTo>
                <a:cubicBezTo>
                  <a:pt x="217" y="75"/>
                  <a:pt x="217" y="75"/>
                  <a:pt x="217" y="75"/>
                </a:cubicBezTo>
                <a:cubicBezTo>
                  <a:pt x="214" y="69"/>
                  <a:pt x="214" y="69"/>
                  <a:pt x="214" y="69"/>
                </a:cubicBezTo>
                <a:cubicBezTo>
                  <a:pt x="212" y="63"/>
                  <a:pt x="212" y="63"/>
                  <a:pt x="212" y="63"/>
                </a:cubicBezTo>
                <a:cubicBezTo>
                  <a:pt x="209" y="49"/>
                  <a:pt x="209" y="49"/>
                  <a:pt x="209" y="49"/>
                </a:cubicBezTo>
                <a:cubicBezTo>
                  <a:pt x="208" y="34"/>
                  <a:pt x="208" y="34"/>
                  <a:pt x="208" y="34"/>
                </a:cubicBezTo>
                <a:cubicBezTo>
                  <a:pt x="207" y="29"/>
                  <a:pt x="207" y="29"/>
                  <a:pt x="207" y="29"/>
                </a:cubicBezTo>
                <a:cubicBezTo>
                  <a:pt x="206" y="25"/>
                  <a:pt x="206" y="25"/>
                  <a:pt x="206" y="25"/>
                </a:cubicBezTo>
                <a:cubicBezTo>
                  <a:pt x="202" y="18"/>
                  <a:pt x="202" y="18"/>
                  <a:pt x="202" y="18"/>
                </a:cubicBezTo>
                <a:cubicBezTo>
                  <a:pt x="199" y="13"/>
                  <a:pt x="199" y="13"/>
                  <a:pt x="199" y="13"/>
                </a:cubicBezTo>
                <a:cubicBezTo>
                  <a:pt x="195" y="9"/>
                  <a:pt x="195" y="9"/>
                  <a:pt x="195" y="9"/>
                </a:cubicBezTo>
                <a:cubicBezTo>
                  <a:pt x="191" y="6"/>
                  <a:pt x="191" y="6"/>
                  <a:pt x="191" y="6"/>
                </a:cubicBezTo>
                <a:cubicBezTo>
                  <a:pt x="185" y="3"/>
                  <a:pt x="185" y="3"/>
                  <a:pt x="185" y="3"/>
                </a:cubicBezTo>
                <a:cubicBezTo>
                  <a:pt x="179" y="1"/>
                  <a:pt x="179" y="1"/>
                  <a:pt x="179" y="1"/>
                </a:cubicBezTo>
                <a:cubicBezTo>
                  <a:pt x="172" y="0"/>
                  <a:pt x="172" y="0"/>
                  <a:pt x="172" y="0"/>
                </a:cubicBezTo>
                <a:cubicBezTo>
                  <a:pt x="165" y="0"/>
                  <a:pt x="165" y="0"/>
                  <a:pt x="165" y="0"/>
                </a:cubicBezTo>
                <a:cubicBezTo>
                  <a:pt x="156" y="1"/>
                  <a:pt x="156" y="1"/>
                  <a:pt x="156" y="1"/>
                </a:cubicBezTo>
                <a:cubicBezTo>
                  <a:pt x="147" y="4"/>
                  <a:pt x="147" y="4"/>
                  <a:pt x="147" y="4"/>
                </a:cubicBezTo>
                <a:cubicBezTo>
                  <a:pt x="138" y="8"/>
                  <a:pt x="138" y="8"/>
                  <a:pt x="138" y="8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0" y="14"/>
                  <a:pt x="130" y="14"/>
                  <a:pt x="130" y="14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5" y="49"/>
                  <a:pt x="115" y="49"/>
                  <a:pt x="115" y="49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06" y="72"/>
                  <a:pt x="106" y="72"/>
                  <a:pt x="106" y="72"/>
                </a:cubicBezTo>
                <a:cubicBezTo>
                  <a:pt x="103" y="76"/>
                  <a:pt x="103" y="76"/>
                  <a:pt x="103" y="76"/>
                </a:cubicBezTo>
                <a:cubicBezTo>
                  <a:pt x="100" y="79"/>
                  <a:pt x="100" y="79"/>
                  <a:pt x="100" y="79"/>
                </a:cubicBezTo>
                <a:cubicBezTo>
                  <a:pt x="101" y="79"/>
                  <a:pt x="101" y="79"/>
                  <a:pt x="101" y="79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8" y="73"/>
                  <a:pt x="108" y="73"/>
                  <a:pt x="108" y="73"/>
                </a:cubicBezTo>
                <a:cubicBezTo>
                  <a:pt x="112" y="65"/>
                  <a:pt x="112" y="65"/>
                  <a:pt x="112" y="65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00" y="92"/>
                  <a:pt x="100" y="92"/>
                  <a:pt x="100" y="92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93" y="113"/>
                  <a:pt x="93" y="113"/>
                  <a:pt x="93" y="113"/>
                </a:cubicBezTo>
                <a:cubicBezTo>
                  <a:pt x="92" y="118"/>
                  <a:pt x="92" y="118"/>
                  <a:pt x="92" y="118"/>
                </a:cubicBezTo>
                <a:cubicBezTo>
                  <a:pt x="92" y="124"/>
                  <a:pt x="92" y="124"/>
                  <a:pt x="92" y="124"/>
                </a:cubicBezTo>
                <a:cubicBezTo>
                  <a:pt x="93" y="131"/>
                  <a:pt x="93" y="131"/>
                  <a:pt x="93" y="131"/>
                </a:cubicBezTo>
                <a:cubicBezTo>
                  <a:pt x="95" y="137"/>
                  <a:pt x="95" y="137"/>
                  <a:pt x="95" y="137"/>
                </a:cubicBezTo>
                <a:cubicBezTo>
                  <a:pt x="95" y="133"/>
                  <a:pt x="95" y="133"/>
                  <a:pt x="95" y="133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95" y="118"/>
                  <a:pt x="95" y="118"/>
                  <a:pt x="95" y="118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99" y="104"/>
                  <a:pt x="99" y="104"/>
                  <a:pt x="99" y="104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101" y="103"/>
                  <a:pt x="101" y="103"/>
                  <a:pt x="101" y="103"/>
                </a:cubicBezTo>
                <a:cubicBezTo>
                  <a:pt x="100" y="109"/>
                  <a:pt x="100" y="109"/>
                  <a:pt x="100" y="109"/>
                </a:cubicBezTo>
                <a:cubicBezTo>
                  <a:pt x="98" y="116"/>
                  <a:pt x="98" y="116"/>
                  <a:pt x="98" y="116"/>
                </a:cubicBezTo>
                <a:cubicBezTo>
                  <a:pt x="97" y="124"/>
                  <a:pt x="97" y="124"/>
                  <a:pt x="97" y="124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1" y="147"/>
                  <a:pt x="101" y="147"/>
                  <a:pt x="101" y="147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5" y="153"/>
                  <a:pt x="95" y="153"/>
                  <a:pt x="95" y="153"/>
                </a:cubicBezTo>
                <a:cubicBezTo>
                  <a:pt x="87" y="154"/>
                  <a:pt x="87" y="154"/>
                  <a:pt x="87" y="154"/>
                </a:cubicBezTo>
                <a:cubicBezTo>
                  <a:pt x="80" y="156"/>
                  <a:pt x="80" y="156"/>
                  <a:pt x="80" y="156"/>
                </a:cubicBezTo>
                <a:cubicBezTo>
                  <a:pt x="73" y="159"/>
                  <a:pt x="73" y="159"/>
                  <a:pt x="73" y="159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63" y="168"/>
                  <a:pt x="63" y="168"/>
                  <a:pt x="63" y="168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57" y="182"/>
                  <a:pt x="57" y="182"/>
                  <a:pt x="57" y="182"/>
                </a:cubicBezTo>
                <a:cubicBezTo>
                  <a:pt x="55" y="189"/>
                  <a:pt x="55" y="189"/>
                  <a:pt x="55" y="189"/>
                </a:cubicBezTo>
                <a:cubicBezTo>
                  <a:pt x="55" y="197"/>
                  <a:pt x="55" y="197"/>
                  <a:pt x="55" y="197"/>
                </a:cubicBezTo>
                <a:cubicBezTo>
                  <a:pt x="51" y="301"/>
                  <a:pt x="51" y="301"/>
                  <a:pt x="51" y="301"/>
                </a:cubicBezTo>
                <a:cubicBezTo>
                  <a:pt x="50" y="366"/>
                  <a:pt x="50" y="366"/>
                  <a:pt x="50" y="366"/>
                </a:cubicBezTo>
                <a:cubicBezTo>
                  <a:pt x="50" y="389"/>
                  <a:pt x="50" y="389"/>
                  <a:pt x="50" y="389"/>
                </a:cubicBezTo>
                <a:cubicBezTo>
                  <a:pt x="50" y="403"/>
                  <a:pt x="50" y="403"/>
                  <a:pt x="50" y="403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53" y="427"/>
                  <a:pt x="53" y="427"/>
                  <a:pt x="53" y="427"/>
                </a:cubicBezTo>
                <a:cubicBezTo>
                  <a:pt x="54" y="444"/>
                  <a:pt x="54" y="444"/>
                  <a:pt x="54" y="444"/>
                </a:cubicBezTo>
                <a:cubicBezTo>
                  <a:pt x="53" y="465"/>
                  <a:pt x="53" y="465"/>
                  <a:pt x="53" y="465"/>
                </a:cubicBezTo>
                <a:cubicBezTo>
                  <a:pt x="53" y="475"/>
                  <a:pt x="53" y="475"/>
                  <a:pt x="53" y="475"/>
                </a:cubicBezTo>
                <a:cubicBezTo>
                  <a:pt x="53" y="479"/>
                  <a:pt x="53" y="479"/>
                  <a:pt x="53" y="479"/>
                </a:cubicBezTo>
                <a:cubicBezTo>
                  <a:pt x="55" y="481"/>
                  <a:pt x="55" y="481"/>
                  <a:pt x="55" y="481"/>
                </a:cubicBezTo>
                <a:cubicBezTo>
                  <a:pt x="56" y="482"/>
                  <a:pt x="56" y="482"/>
                  <a:pt x="56" y="482"/>
                </a:cubicBezTo>
                <a:cubicBezTo>
                  <a:pt x="53" y="488"/>
                  <a:pt x="53" y="488"/>
                  <a:pt x="53" y="488"/>
                </a:cubicBezTo>
                <a:cubicBezTo>
                  <a:pt x="52" y="495"/>
                  <a:pt x="52" y="495"/>
                  <a:pt x="52" y="495"/>
                </a:cubicBezTo>
                <a:cubicBezTo>
                  <a:pt x="27" y="494"/>
                  <a:pt x="27" y="494"/>
                  <a:pt x="27" y="494"/>
                </a:cubicBezTo>
                <a:cubicBezTo>
                  <a:pt x="21" y="494"/>
                  <a:pt x="21" y="494"/>
                  <a:pt x="21" y="494"/>
                </a:cubicBezTo>
                <a:cubicBezTo>
                  <a:pt x="14" y="496"/>
                  <a:pt x="14" y="496"/>
                  <a:pt x="14" y="496"/>
                </a:cubicBezTo>
                <a:cubicBezTo>
                  <a:pt x="8" y="498"/>
                  <a:pt x="8" y="498"/>
                  <a:pt x="8" y="498"/>
                </a:cubicBezTo>
                <a:cubicBezTo>
                  <a:pt x="6" y="500"/>
                  <a:pt x="6" y="500"/>
                  <a:pt x="6" y="500"/>
                </a:cubicBezTo>
                <a:cubicBezTo>
                  <a:pt x="5" y="501"/>
                  <a:pt x="5" y="501"/>
                  <a:pt x="5" y="501"/>
                </a:cubicBezTo>
                <a:cubicBezTo>
                  <a:pt x="2" y="585"/>
                  <a:pt x="2" y="585"/>
                  <a:pt x="2" y="585"/>
                </a:cubicBezTo>
                <a:cubicBezTo>
                  <a:pt x="0" y="643"/>
                  <a:pt x="0" y="643"/>
                  <a:pt x="0" y="643"/>
                </a:cubicBezTo>
                <a:cubicBezTo>
                  <a:pt x="0" y="673"/>
                  <a:pt x="0" y="673"/>
                  <a:pt x="0" y="673"/>
                </a:cubicBezTo>
                <a:cubicBezTo>
                  <a:pt x="1" y="678"/>
                  <a:pt x="1" y="678"/>
                  <a:pt x="1" y="678"/>
                </a:cubicBezTo>
                <a:cubicBezTo>
                  <a:pt x="3" y="681"/>
                  <a:pt x="3" y="681"/>
                  <a:pt x="3" y="681"/>
                </a:cubicBezTo>
                <a:cubicBezTo>
                  <a:pt x="6" y="682"/>
                  <a:pt x="6" y="682"/>
                  <a:pt x="6" y="682"/>
                </a:cubicBezTo>
                <a:cubicBezTo>
                  <a:pt x="8" y="684"/>
                  <a:pt x="8" y="684"/>
                  <a:pt x="8" y="684"/>
                </a:cubicBezTo>
                <a:cubicBezTo>
                  <a:pt x="38" y="692"/>
                  <a:pt x="38" y="692"/>
                  <a:pt x="38" y="692"/>
                </a:cubicBezTo>
                <a:cubicBezTo>
                  <a:pt x="90" y="706"/>
                  <a:pt x="90" y="706"/>
                  <a:pt x="90" y="706"/>
                </a:cubicBezTo>
                <a:cubicBezTo>
                  <a:pt x="88" y="722"/>
                  <a:pt x="88" y="722"/>
                  <a:pt x="88" y="722"/>
                </a:cubicBezTo>
                <a:cubicBezTo>
                  <a:pt x="87" y="740"/>
                  <a:pt x="87" y="740"/>
                  <a:pt x="87" y="740"/>
                </a:cubicBezTo>
                <a:cubicBezTo>
                  <a:pt x="88" y="794"/>
                  <a:pt x="88" y="794"/>
                  <a:pt x="88" y="794"/>
                </a:cubicBezTo>
                <a:cubicBezTo>
                  <a:pt x="87" y="821"/>
                  <a:pt x="87" y="821"/>
                  <a:pt x="87" y="821"/>
                </a:cubicBezTo>
                <a:cubicBezTo>
                  <a:pt x="87" y="838"/>
                  <a:pt x="87" y="838"/>
                  <a:pt x="87" y="838"/>
                </a:cubicBezTo>
                <a:cubicBezTo>
                  <a:pt x="82" y="872"/>
                  <a:pt x="82" y="872"/>
                  <a:pt x="82" y="872"/>
                </a:cubicBezTo>
                <a:cubicBezTo>
                  <a:pt x="80" y="892"/>
                  <a:pt x="80" y="892"/>
                  <a:pt x="80" y="892"/>
                </a:cubicBezTo>
                <a:cubicBezTo>
                  <a:pt x="76" y="907"/>
                  <a:pt x="76" y="907"/>
                  <a:pt x="76" y="907"/>
                </a:cubicBezTo>
                <a:cubicBezTo>
                  <a:pt x="75" y="914"/>
                  <a:pt x="75" y="914"/>
                  <a:pt x="75" y="914"/>
                </a:cubicBezTo>
                <a:cubicBezTo>
                  <a:pt x="75" y="922"/>
                  <a:pt x="75" y="922"/>
                  <a:pt x="75" y="922"/>
                </a:cubicBezTo>
                <a:cubicBezTo>
                  <a:pt x="75" y="930"/>
                  <a:pt x="75" y="930"/>
                  <a:pt x="75" y="930"/>
                </a:cubicBezTo>
                <a:cubicBezTo>
                  <a:pt x="76" y="939"/>
                  <a:pt x="76" y="939"/>
                  <a:pt x="76" y="939"/>
                </a:cubicBezTo>
                <a:cubicBezTo>
                  <a:pt x="78" y="946"/>
                  <a:pt x="78" y="946"/>
                  <a:pt x="78" y="946"/>
                </a:cubicBezTo>
                <a:cubicBezTo>
                  <a:pt x="81" y="952"/>
                  <a:pt x="81" y="952"/>
                  <a:pt x="81" y="952"/>
                </a:cubicBezTo>
                <a:cubicBezTo>
                  <a:pt x="83" y="954"/>
                  <a:pt x="83" y="954"/>
                  <a:pt x="83" y="954"/>
                </a:cubicBezTo>
                <a:cubicBezTo>
                  <a:pt x="86" y="956"/>
                  <a:pt x="86" y="956"/>
                  <a:pt x="86" y="956"/>
                </a:cubicBezTo>
                <a:cubicBezTo>
                  <a:pt x="89" y="957"/>
                  <a:pt x="89" y="957"/>
                  <a:pt x="89" y="957"/>
                </a:cubicBezTo>
                <a:cubicBezTo>
                  <a:pt x="92" y="957"/>
                  <a:pt x="92" y="957"/>
                  <a:pt x="92" y="957"/>
                </a:cubicBezTo>
                <a:cubicBezTo>
                  <a:pt x="94" y="956"/>
                  <a:pt x="94" y="956"/>
                  <a:pt x="94" y="956"/>
                </a:cubicBezTo>
                <a:cubicBezTo>
                  <a:pt x="97" y="954"/>
                  <a:pt x="97" y="954"/>
                  <a:pt x="97" y="954"/>
                </a:cubicBezTo>
                <a:cubicBezTo>
                  <a:pt x="99" y="951"/>
                  <a:pt x="99" y="951"/>
                  <a:pt x="99" y="951"/>
                </a:cubicBezTo>
                <a:cubicBezTo>
                  <a:pt x="100" y="947"/>
                  <a:pt x="100" y="947"/>
                  <a:pt x="100" y="947"/>
                </a:cubicBezTo>
                <a:cubicBezTo>
                  <a:pt x="102" y="939"/>
                  <a:pt x="102" y="939"/>
                  <a:pt x="102" y="939"/>
                </a:cubicBezTo>
                <a:cubicBezTo>
                  <a:pt x="103" y="930"/>
                  <a:pt x="103" y="930"/>
                  <a:pt x="103" y="930"/>
                </a:cubicBezTo>
                <a:cubicBezTo>
                  <a:pt x="102" y="895"/>
                  <a:pt x="102" y="895"/>
                  <a:pt x="102" y="895"/>
                </a:cubicBezTo>
                <a:cubicBezTo>
                  <a:pt x="102" y="870"/>
                  <a:pt x="102" y="870"/>
                  <a:pt x="102" y="870"/>
                </a:cubicBezTo>
                <a:cubicBezTo>
                  <a:pt x="103" y="857"/>
                  <a:pt x="103" y="857"/>
                  <a:pt x="103" y="857"/>
                </a:cubicBezTo>
                <a:cubicBezTo>
                  <a:pt x="105" y="845"/>
                  <a:pt x="105" y="845"/>
                  <a:pt x="105" y="845"/>
                </a:cubicBezTo>
                <a:cubicBezTo>
                  <a:pt x="119" y="775"/>
                  <a:pt x="119" y="775"/>
                  <a:pt x="119" y="775"/>
                </a:cubicBezTo>
                <a:cubicBezTo>
                  <a:pt x="126" y="739"/>
                  <a:pt x="126" y="739"/>
                  <a:pt x="126" y="739"/>
                </a:cubicBezTo>
                <a:cubicBezTo>
                  <a:pt x="129" y="725"/>
                  <a:pt x="129" y="725"/>
                  <a:pt x="129" y="725"/>
                </a:cubicBezTo>
                <a:cubicBezTo>
                  <a:pt x="129" y="717"/>
                  <a:pt x="129" y="717"/>
                  <a:pt x="129" y="717"/>
                </a:cubicBezTo>
                <a:cubicBezTo>
                  <a:pt x="130" y="707"/>
                  <a:pt x="130" y="707"/>
                  <a:pt x="130" y="707"/>
                </a:cubicBezTo>
                <a:cubicBezTo>
                  <a:pt x="133" y="694"/>
                  <a:pt x="133" y="694"/>
                  <a:pt x="133" y="694"/>
                </a:cubicBezTo>
                <a:cubicBezTo>
                  <a:pt x="139" y="670"/>
                  <a:pt x="139" y="670"/>
                  <a:pt x="139" y="670"/>
                </a:cubicBezTo>
                <a:cubicBezTo>
                  <a:pt x="145" y="642"/>
                  <a:pt x="145" y="642"/>
                  <a:pt x="145" y="642"/>
                </a:cubicBezTo>
                <a:cubicBezTo>
                  <a:pt x="166" y="642"/>
                  <a:pt x="166" y="642"/>
                  <a:pt x="166" y="642"/>
                </a:cubicBezTo>
                <a:cubicBezTo>
                  <a:pt x="177" y="641"/>
                  <a:pt x="177" y="641"/>
                  <a:pt x="177" y="641"/>
                </a:cubicBezTo>
                <a:cubicBezTo>
                  <a:pt x="181" y="641"/>
                  <a:pt x="181" y="641"/>
                  <a:pt x="181" y="641"/>
                </a:cubicBezTo>
                <a:cubicBezTo>
                  <a:pt x="183" y="639"/>
                  <a:pt x="183" y="639"/>
                  <a:pt x="183" y="639"/>
                </a:cubicBezTo>
                <a:cubicBezTo>
                  <a:pt x="183" y="640"/>
                  <a:pt x="183" y="640"/>
                  <a:pt x="183" y="640"/>
                </a:cubicBezTo>
                <a:cubicBezTo>
                  <a:pt x="183" y="642"/>
                  <a:pt x="183" y="642"/>
                  <a:pt x="183" y="642"/>
                </a:cubicBezTo>
                <a:cubicBezTo>
                  <a:pt x="184" y="650"/>
                  <a:pt x="184" y="650"/>
                  <a:pt x="184" y="650"/>
                </a:cubicBezTo>
                <a:cubicBezTo>
                  <a:pt x="184" y="667"/>
                  <a:pt x="184" y="667"/>
                  <a:pt x="184" y="667"/>
                </a:cubicBezTo>
                <a:cubicBezTo>
                  <a:pt x="185" y="691"/>
                  <a:pt x="185" y="691"/>
                  <a:pt x="185" y="691"/>
                </a:cubicBezTo>
                <a:cubicBezTo>
                  <a:pt x="188" y="717"/>
                  <a:pt x="188" y="717"/>
                  <a:pt x="188" y="717"/>
                </a:cubicBezTo>
                <a:cubicBezTo>
                  <a:pt x="192" y="741"/>
                  <a:pt x="192" y="741"/>
                  <a:pt x="192" y="741"/>
                </a:cubicBezTo>
                <a:cubicBezTo>
                  <a:pt x="195" y="759"/>
                  <a:pt x="195" y="759"/>
                  <a:pt x="195" y="759"/>
                </a:cubicBezTo>
                <a:cubicBezTo>
                  <a:pt x="199" y="780"/>
                  <a:pt x="199" y="780"/>
                  <a:pt x="199" y="780"/>
                </a:cubicBezTo>
                <a:cubicBezTo>
                  <a:pt x="202" y="810"/>
                  <a:pt x="202" y="810"/>
                  <a:pt x="202" y="810"/>
                </a:cubicBezTo>
                <a:cubicBezTo>
                  <a:pt x="205" y="839"/>
                  <a:pt x="205" y="839"/>
                  <a:pt x="205" y="839"/>
                </a:cubicBezTo>
                <a:cubicBezTo>
                  <a:pt x="205" y="861"/>
                  <a:pt x="205" y="861"/>
                  <a:pt x="205" y="861"/>
                </a:cubicBezTo>
                <a:cubicBezTo>
                  <a:pt x="204" y="875"/>
                  <a:pt x="204" y="875"/>
                  <a:pt x="204" y="875"/>
                </a:cubicBezTo>
                <a:cubicBezTo>
                  <a:pt x="202" y="885"/>
                  <a:pt x="202" y="885"/>
                  <a:pt x="202" y="885"/>
                </a:cubicBezTo>
                <a:cubicBezTo>
                  <a:pt x="201" y="892"/>
                  <a:pt x="201" y="892"/>
                  <a:pt x="201" y="892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911"/>
                  <a:pt x="201" y="911"/>
                  <a:pt x="201" y="911"/>
                </a:cubicBezTo>
                <a:cubicBezTo>
                  <a:pt x="204" y="911"/>
                  <a:pt x="204" y="911"/>
                  <a:pt x="204" y="911"/>
                </a:cubicBezTo>
                <a:cubicBezTo>
                  <a:pt x="205" y="906"/>
                  <a:pt x="206" y="904"/>
                  <a:pt x="206" y="903"/>
                </a:cubicBezTo>
                <a:cubicBezTo>
                  <a:pt x="211" y="910"/>
                  <a:pt x="211" y="910"/>
                  <a:pt x="211" y="910"/>
                </a:cubicBezTo>
                <a:cubicBezTo>
                  <a:pt x="214" y="918"/>
                  <a:pt x="214" y="918"/>
                  <a:pt x="214" y="918"/>
                </a:cubicBezTo>
                <a:cubicBezTo>
                  <a:pt x="215" y="922"/>
                  <a:pt x="215" y="922"/>
                  <a:pt x="215" y="922"/>
                </a:cubicBezTo>
                <a:cubicBezTo>
                  <a:pt x="215" y="925"/>
                  <a:pt x="215" y="925"/>
                  <a:pt x="215" y="925"/>
                </a:cubicBezTo>
                <a:cubicBezTo>
                  <a:pt x="216" y="929"/>
                  <a:pt x="216" y="929"/>
                  <a:pt x="216" y="929"/>
                </a:cubicBezTo>
                <a:cubicBezTo>
                  <a:pt x="217" y="933"/>
                  <a:pt x="217" y="933"/>
                  <a:pt x="217" y="933"/>
                </a:cubicBezTo>
                <a:cubicBezTo>
                  <a:pt x="219" y="937"/>
                  <a:pt x="219" y="937"/>
                  <a:pt x="219" y="937"/>
                </a:cubicBezTo>
                <a:cubicBezTo>
                  <a:pt x="222" y="941"/>
                  <a:pt x="222" y="941"/>
                  <a:pt x="222" y="941"/>
                </a:cubicBezTo>
                <a:cubicBezTo>
                  <a:pt x="227" y="945"/>
                  <a:pt x="227" y="945"/>
                  <a:pt x="227" y="945"/>
                </a:cubicBezTo>
                <a:cubicBezTo>
                  <a:pt x="233" y="947"/>
                  <a:pt x="233" y="947"/>
                  <a:pt x="233" y="947"/>
                </a:cubicBezTo>
                <a:cubicBezTo>
                  <a:pt x="241" y="949"/>
                  <a:pt x="241" y="949"/>
                  <a:pt x="241" y="949"/>
                </a:cubicBezTo>
                <a:cubicBezTo>
                  <a:pt x="252" y="950"/>
                  <a:pt x="252" y="950"/>
                  <a:pt x="252" y="950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7" y="948"/>
                  <a:pt x="257" y="948"/>
                  <a:pt x="257" y="948"/>
                </a:cubicBezTo>
                <a:cubicBezTo>
                  <a:pt x="258" y="947"/>
                  <a:pt x="258" y="947"/>
                  <a:pt x="258" y="947"/>
                </a:cubicBezTo>
                <a:cubicBezTo>
                  <a:pt x="257" y="943"/>
                  <a:pt x="257" y="943"/>
                  <a:pt x="257" y="943"/>
                </a:cubicBezTo>
                <a:cubicBezTo>
                  <a:pt x="256" y="938"/>
                  <a:pt x="256" y="938"/>
                  <a:pt x="256" y="938"/>
                </a:cubicBezTo>
                <a:cubicBezTo>
                  <a:pt x="249" y="927"/>
                  <a:pt x="249" y="927"/>
                  <a:pt x="249" y="927"/>
                </a:cubicBezTo>
                <a:cubicBezTo>
                  <a:pt x="242" y="915"/>
                  <a:pt x="242" y="915"/>
                  <a:pt x="242" y="915"/>
                </a:cubicBezTo>
                <a:cubicBezTo>
                  <a:pt x="235" y="902"/>
                  <a:pt x="235" y="902"/>
                  <a:pt x="235" y="902"/>
                </a:cubicBezTo>
                <a:cubicBezTo>
                  <a:pt x="230" y="887"/>
                  <a:pt x="230" y="887"/>
                  <a:pt x="230" y="887"/>
                </a:cubicBezTo>
                <a:cubicBezTo>
                  <a:pt x="227" y="873"/>
                  <a:pt x="227" y="873"/>
                  <a:pt x="227" y="873"/>
                </a:cubicBezTo>
                <a:cubicBezTo>
                  <a:pt x="226" y="861"/>
                  <a:pt x="226" y="861"/>
                  <a:pt x="226" y="861"/>
                </a:cubicBezTo>
                <a:cubicBezTo>
                  <a:pt x="229" y="795"/>
                  <a:pt x="229" y="795"/>
                  <a:pt x="229" y="795"/>
                </a:cubicBezTo>
                <a:cubicBezTo>
                  <a:pt x="231" y="748"/>
                  <a:pt x="231" y="748"/>
                  <a:pt x="231" y="748"/>
                </a:cubicBezTo>
                <a:cubicBezTo>
                  <a:pt x="231" y="726"/>
                  <a:pt x="231" y="726"/>
                  <a:pt x="231" y="726"/>
                </a:cubicBezTo>
                <a:cubicBezTo>
                  <a:pt x="231" y="709"/>
                  <a:pt x="231" y="709"/>
                  <a:pt x="231" y="709"/>
                </a:cubicBezTo>
                <a:cubicBezTo>
                  <a:pt x="229" y="681"/>
                  <a:pt x="229" y="681"/>
                  <a:pt x="229" y="681"/>
                </a:cubicBezTo>
                <a:cubicBezTo>
                  <a:pt x="227" y="657"/>
                  <a:pt x="227" y="657"/>
                  <a:pt x="227" y="657"/>
                </a:cubicBezTo>
                <a:cubicBezTo>
                  <a:pt x="227" y="641"/>
                  <a:pt x="227" y="641"/>
                  <a:pt x="227" y="641"/>
                </a:cubicBezTo>
                <a:cubicBezTo>
                  <a:pt x="227" y="636"/>
                  <a:pt x="227" y="636"/>
                  <a:pt x="227" y="636"/>
                </a:cubicBezTo>
                <a:cubicBezTo>
                  <a:pt x="228" y="634"/>
                  <a:pt x="228" y="634"/>
                  <a:pt x="228" y="634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1" y="633"/>
                  <a:pt x="241" y="633"/>
                  <a:pt x="241" y="633"/>
                </a:cubicBezTo>
                <a:cubicBezTo>
                  <a:pt x="244" y="632"/>
                  <a:pt x="244" y="632"/>
                  <a:pt x="244" y="632"/>
                </a:cubicBezTo>
                <a:cubicBezTo>
                  <a:pt x="245" y="630"/>
                  <a:pt x="245" y="630"/>
                  <a:pt x="245" y="630"/>
                </a:cubicBezTo>
                <a:cubicBezTo>
                  <a:pt x="246" y="627"/>
                  <a:pt x="246" y="627"/>
                  <a:pt x="246" y="627"/>
                </a:cubicBezTo>
                <a:cubicBezTo>
                  <a:pt x="248" y="530"/>
                  <a:pt x="248" y="530"/>
                  <a:pt x="248" y="530"/>
                </a:cubicBezTo>
                <a:cubicBezTo>
                  <a:pt x="249" y="461"/>
                  <a:pt x="249" y="461"/>
                  <a:pt x="249" y="461"/>
                </a:cubicBezTo>
                <a:cubicBezTo>
                  <a:pt x="249" y="434"/>
                  <a:pt x="249" y="434"/>
                  <a:pt x="249" y="434"/>
                </a:cubicBezTo>
                <a:cubicBezTo>
                  <a:pt x="248" y="418"/>
                  <a:pt x="248" y="418"/>
                  <a:pt x="248" y="418"/>
                </a:cubicBezTo>
                <a:cubicBezTo>
                  <a:pt x="252" y="428"/>
                  <a:pt x="252" y="428"/>
                  <a:pt x="252" y="428"/>
                </a:cubicBezTo>
                <a:cubicBezTo>
                  <a:pt x="258" y="441"/>
                  <a:pt x="258" y="441"/>
                  <a:pt x="258" y="441"/>
                </a:cubicBezTo>
                <a:cubicBezTo>
                  <a:pt x="266" y="458"/>
                  <a:pt x="266" y="458"/>
                  <a:pt x="266" y="458"/>
                </a:cubicBezTo>
                <a:cubicBezTo>
                  <a:pt x="271" y="467"/>
                  <a:pt x="271" y="467"/>
                  <a:pt x="271" y="467"/>
                </a:cubicBezTo>
                <a:cubicBezTo>
                  <a:pt x="275" y="474"/>
                  <a:pt x="275" y="474"/>
                  <a:pt x="275" y="474"/>
                </a:cubicBezTo>
                <a:cubicBezTo>
                  <a:pt x="279" y="477"/>
                  <a:pt x="279" y="477"/>
                  <a:pt x="279" y="477"/>
                </a:cubicBezTo>
                <a:cubicBezTo>
                  <a:pt x="281" y="479"/>
                  <a:pt x="281" y="479"/>
                  <a:pt x="281" y="479"/>
                </a:cubicBezTo>
                <a:cubicBezTo>
                  <a:pt x="282" y="480"/>
                  <a:pt x="282" y="480"/>
                  <a:pt x="282" y="480"/>
                </a:cubicBezTo>
                <a:cubicBezTo>
                  <a:pt x="281" y="481"/>
                  <a:pt x="281" y="481"/>
                  <a:pt x="281" y="481"/>
                </a:cubicBezTo>
                <a:cubicBezTo>
                  <a:pt x="279" y="483"/>
                  <a:pt x="279" y="483"/>
                  <a:pt x="279" y="483"/>
                </a:cubicBezTo>
                <a:cubicBezTo>
                  <a:pt x="276" y="486"/>
                  <a:pt x="276" y="486"/>
                  <a:pt x="276" y="486"/>
                </a:cubicBezTo>
                <a:cubicBezTo>
                  <a:pt x="276" y="488"/>
                  <a:pt x="276" y="488"/>
                  <a:pt x="276" y="488"/>
                </a:cubicBezTo>
                <a:cubicBezTo>
                  <a:pt x="280" y="488"/>
                  <a:pt x="280" y="488"/>
                  <a:pt x="280" y="488"/>
                </a:cubicBezTo>
                <a:cubicBezTo>
                  <a:pt x="283" y="488"/>
                  <a:pt x="283" y="488"/>
                  <a:pt x="283" y="488"/>
                </a:cubicBezTo>
                <a:cubicBezTo>
                  <a:pt x="285" y="490"/>
                  <a:pt x="285" y="490"/>
                  <a:pt x="285" y="490"/>
                </a:cubicBezTo>
                <a:cubicBezTo>
                  <a:pt x="286" y="492"/>
                  <a:pt x="286" y="492"/>
                  <a:pt x="286" y="492"/>
                </a:cubicBezTo>
                <a:cubicBezTo>
                  <a:pt x="284" y="495"/>
                  <a:pt x="284" y="495"/>
                  <a:pt x="284" y="495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3" y="498"/>
                  <a:pt x="283" y="498"/>
                  <a:pt x="283" y="498"/>
                </a:cubicBezTo>
                <a:cubicBezTo>
                  <a:pt x="285" y="499"/>
                  <a:pt x="285" y="499"/>
                  <a:pt x="285" y="499"/>
                </a:cubicBezTo>
                <a:cubicBezTo>
                  <a:pt x="288" y="499"/>
                  <a:pt x="288" y="499"/>
                  <a:pt x="288" y="499"/>
                </a:cubicBezTo>
                <a:cubicBezTo>
                  <a:pt x="295" y="495"/>
                  <a:pt x="295" y="495"/>
                  <a:pt x="295" y="495"/>
                </a:cubicBezTo>
                <a:cubicBezTo>
                  <a:pt x="298" y="494"/>
                  <a:pt x="298" y="494"/>
                  <a:pt x="298" y="494"/>
                </a:cubicBezTo>
                <a:cubicBezTo>
                  <a:pt x="299" y="495"/>
                  <a:pt x="299" y="495"/>
                  <a:pt x="299" y="495"/>
                </a:cubicBezTo>
                <a:cubicBezTo>
                  <a:pt x="299" y="496"/>
                  <a:pt x="299" y="496"/>
                  <a:pt x="299" y="496"/>
                </a:cubicBezTo>
                <a:cubicBezTo>
                  <a:pt x="299" y="499"/>
                  <a:pt x="299" y="499"/>
                  <a:pt x="299" y="499"/>
                </a:cubicBezTo>
                <a:cubicBezTo>
                  <a:pt x="301" y="501"/>
                  <a:pt x="301" y="501"/>
                  <a:pt x="301" y="501"/>
                </a:cubicBezTo>
                <a:cubicBezTo>
                  <a:pt x="303" y="501"/>
                  <a:pt x="303" y="501"/>
                  <a:pt x="303" y="501"/>
                </a:cubicBezTo>
                <a:cubicBezTo>
                  <a:pt x="305" y="497"/>
                  <a:pt x="305" y="497"/>
                  <a:pt x="305" y="497"/>
                </a:cubicBezTo>
                <a:cubicBezTo>
                  <a:pt x="306" y="492"/>
                  <a:pt x="306" y="492"/>
                  <a:pt x="306" y="492"/>
                </a:cubicBezTo>
                <a:cubicBezTo>
                  <a:pt x="306" y="487"/>
                  <a:pt x="306" y="487"/>
                  <a:pt x="306" y="487"/>
                </a:cubicBezTo>
                <a:lnTo>
                  <a:pt x="304" y="482"/>
                </a:lnTo>
                <a:close/>
                <a:moveTo>
                  <a:pt x="68" y="502"/>
                </a:moveTo>
                <a:cubicBezTo>
                  <a:pt x="66" y="503"/>
                  <a:pt x="66" y="503"/>
                  <a:pt x="66" y="503"/>
                </a:cubicBezTo>
                <a:cubicBezTo>
                  <a:pt x="64" y="502"/>
                  <a:pt x="64" y="502"/>
                  <a:pt x="64" y="502"/>
                </a:cubicBezTo>
                <a:cubicBezTo>
                  <a:pt x="63" y="500"/>
                  <a:pt x="63" y="500"/>
                  <a:pt x="63" y="500"/>
                </a:cubicBezTo>
                <a:cubicBezTo>
                  <a:pt x="63" y="491"/>
                  <a:pt x="63" y="491"/>
                  <a:pt x="63" y="491"/>
                </a:cubicBezTo>
                <a:cubicBezTo>
                  <a:pt x="71" y="501"/>
                  <a:pt x="71" y="501"/>
                  <a:pt x="71" y="501"/>
                </a:cubicBezTo>
                <a:lnTo>
                  <a:pt x="68" y="502"/>
                </a:lnTo>
                <a:close/>
                <a:moveTo>
                  <a:pt x="76" y="497"/>
                </a:moveTo>
                <a:cubicBezTo>
                  <a:pt x="75" y="500"/>
                  <a:pt x="75" y="500"/>
                  <a:pt x="75" y="500"/>
                </a:cubicBezTo>
                <a:cubicBezTo>
                  <a:pt x="73" y="500"/>
                  <a:pt x="73" y="500"/>
                  <a:pt x="73" y="500"/>
                </a:cubicBezTo>
                <a:cubicBezTo>
                  <a:pt x="74" y="495"/>
                  <a:pt x="74" y="495"/>
                  <a:pt x="74" y="495"/>
                </a:cubicBezTo>
                <a:cubicBezTo>
                  <a:pt x="75" y="490"/>
                  <a:pt x="75" y="490"/>
                  <a:pt x="75" y="490"/>
                </a:cubicBezTo>
                <a:cubicBezTo>
                  <a:pt x="76" y="494"/>
                  <a:pt x="76" y="494"/>
                  <a:pt x="76" y="494"/>
                </a:cubicBezTo>
                <a:lnTo>
                  <a:pt x="76" y="497"/>
                </a:lnTo>
                <a:close/>
                <a:moveTo>
                  <a:pt x="87" y="471"/>
                </a:moveTo>
                <a:cubicBezTo>
                  <a:pt x="86" y="486"/>
                  <a:pt x="86" y="486"/>
                  <a:pt x="86" y="486"/>
                </a:cubicBezTo>
                <a:cubicBezTo>
                  <a:pt x="84" y="482"/>
                  <a:pt x="84" y="482"/>
                  <a:pt x="84" y="482"/>
                </a:cubicBezTo>
                <a:cubicBezTo>
                  <a:pt x="81" y="479"/>
                  <a:pt x="81" y="479"/>
                  <a:pt x="81" y="479"/>
                </a:cubicBezTo>
                <a:cubicBezTo>
                  <a:pt x="79" y="478"/>
                  <a:pt x="79" y="478"/>
                  <a:pt x="79" y="478"/>
                </a:cubicBezTo>
                <a:cubicBezTo>
                  <a:pt x="76" y="472"/>
                  <a:pt x="76" y="472"/>
                  <a:pt x="76" y="472"/>
                </a:cubicBezTo>
                <a:cubicBezTo>
                  <a:pt x="75" y="470"/>
                  <a:pt x="75" y="470"/>
                  <a:pt x="75" y="470"/>
                </a:cubicBezTo>
                <a:cubicBezTo>
                  <a:pt x="75" y="468"/>
                  <a:pt x="75" y="468"/>
                  <a:pt x="75" y="468"/>
                </a:cubicBezTo>
                <a:cubicBezTo>
                  <a:pt x="76" y="463"/>
                  <a:pt x="76" y="463"/>
                  <a:pt x="76" y="463"/>
                </a:cubicBezTo>
                <a:cubicBezTo>
                  <a:pt x="79" y="458"/>
                  <a:pt x="79" y="458"/>
                  <a:pt x="79" y="458"/>
                </a:cubicBezTo>
                <a:cubicBezTo>
                  <a:pt x="79" y="455"/>
                  <a:pt x="79" y="455"/>
                  <a:pt x="79" y="455"/>
                </a:cubicBezTo>
                <a:cubicBezTo>
                  <a:pt x="80" y="451"/>
                  <a:pt x="80" y="451"/>
                  <a:pt x="80" y="451"/>
                </a:cubicBezTo>
                <a:cubicBezTo>
                  <a:pt x="81" y="406"/>
                  <a:pt x="81" y="406"/>
                  <a:pt x="81" y="406"/>
                </a:cubicBezTo>
                <a:cubicBezTo>
                  <a:pt x="82" y="384"/>
                  <a:pt x="82" y="384"/>
                  <a:pt x="82" y="384"/>
                </a:cubicBezTo>
                <a:cubicBezTo>
                  <a:pt x="83" y="379"/>
                  <a:pt x="83" y="379"/>
                  <a:pt x="83" y="379"/>
                </a:cubicBezTo>
                <a:cubicBezTo>
                  <a:pt x="83" y="380"/>
                  <a:pt x="83" y="380"/>
                  <a:pt x="83" y="380"/>
                </a:cubicBezTo>
                <a:cubicBezTo>
                  <a:pt x="86" y="412"/>
                  <a:pt x="86" y="412"/>
                  <a:pt x="86" y="412"/>
                </a:cubicBezTo>
                <a:cubicBezTo>
                  <a:pt x="87" y="442"/>
                  <a:pt x="87" y="442"/>
                  <a:pt x="87" y="442"/>
                </a:cubicBezTo>
                <a:cubicBezTo>
                  <a:pt x="88" y="458"/>
                  <a:pt x="88" y="458"/>
                  <a:pt x="88" y="458"/>
                </a:cubicBezTo>
                <a:lnTo>
                  <a:pt x="87" y="471"/>
                </a:lnTo>
                <a:close/>
                <a:moveTo>
                  <a:pt x="100" y="138"/>
                </a:moveTo>
                <a:cubicBezTo>
                  <a:pt x="99" y="132"/>
                  <a:pt x="99" y="132"/>
                  <a:pt x="99" y="132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43"/>
                  <a:pt x="101" y="143"/>
                  <a:pt x="101" y="143"/>
                </a:cubicBezTo>
                <a:lnTo>
                  <a:pt x="100" y="138"/>
                </a:lnTo>
                <a:close/>
                <a:moveTo>
                  <a:pt x="218" y="174"/>
                </a:moveTo>
                <a:cubicBezTo>
                  <a:pt x="217" y="184"/>
                  <a:pt x="217" y="184"/>
                  <a:pt x="217" y="184"/>
                </a:cubicBezTo>
                <a:cubicBezTo>
                  <a:pt x="216" y="192"/>
                  <a:pt x="216" y="192"/>
                  <a:pt x="216" y="192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99" y="192"/>
                  <a:pt x="199" y="192"/>
                  <a:pt x="199" y="192"/>
                </a:cubicBezTo>
                <a:cubicBezTo>
                  <a:pt x="197" y="205"/>
                  <a:pt x="197" y="205"/>
                  <a:pt x="197" y="205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190" y="233"/>
                  <a:pt x="190" y="233"/>
                  <a:pt x="190" y="233"/>
                </a:cubicBezTo>
                <a:cubicBezTo>
                  <a:pt x="187" y="251"/>
                  <a:pt x="187" y="251"/>
                  <a:pt x="187" y="251"/>
                </a:cubicBezTo>
                <a:cubicBezTo>
                  <a:pt x="183" y="287"/>
                  <a:pt x="183" y="287"/>
                  <a:pt x="183" y="287"/>
                </a:cubicBezTo>
                <a:cubicBezTo>
                  <a:pt x="182" y="305"/>
                  <a:pt x="182" y="305"/>
                  <a:pt x="182" y="305"/>
                </a:cubicBezTo>
                <a:cubicBezTo>
                  <a:pt x="183" y="322"/>
                  <a:pt x="183" y="322"/>
                  <a:pt x="183" y="322"/>
                </a:cubicBezTo>
                <a:cubicBezTo>
                  <a:pt x="186" y="356"/>
                  <a:pt x="186" y="356"/>
                  <a:pt x="186" y="356"/>
                </a:cubicBezTo>
                <a:cubicBezTo>
                  <a:pt x="187" y="369"/>
                  <a:pt x="187" y="369"/>
                  <a:pt x="187" y="369"/>
                </a:cubicBezTo>
                <a:cubicBezTo>
                  <a:pt x="188" y="375"/>
                  <a:pt x="188" y="375"/>
                  <a:pt x="188" y="375"/>
                </a:cubicBezTo>
                <a:cubicBezTo>
                  <a:pt x="189" y="382"/>
                  <a:pt x="189" y="382"/>
                  <a:pt x="189" y="382"/>
                </a:cubicBezTo>
                <a:cubicBezTo>
                  <a:pt x="192" y="389"/>
                  <a:pt x="192" y="389"/>
                  <a:pt x="192" y="389"/>
                </a:cubicBezTo>
                <a:cubicBezTo>
                  <a:pt x="193" y="392"/>
                  <a:pt x="193" y="392"/>
                  <a:pt x="193" y="392"/>
                </a:cubicBezTo>
                <a:cubicBezTo>
                  <a:pt x="194" y="396"/>
                  <a:pt x="194" y="396"/>
                  <a:pt x="194" y="396"/>
                </a:cubicBezTo>
                <a:cubicBezTo>
                  <a:pt x="190" y="396"/>
                  <a:pt x="190" y="396"/>
                  <a:pt x="190" y="396"/>
                </a:cubicBezTo>
                <a:cubicBezTo>
                  <a:pt x="186" y="395"/>
                  <a:pt x="186" y="395"/>
                  <a:pt x="186" y="395"/>
                </a:cubicBezTo>
                <a:cubicBezTo>
                  <a:pt x="179" y="393"/>
                  <a:pt x="179" y="393"/>
                  <a:pt x="179" y="393"/>
                </a:cubicBezTo>
                <a:cubicBezTo>
                  <a:pt x="172" y="391"/>
                  <a:pt x="172" y="391"/>
                  <a:pt x="172" y="391"/>
                </a:cubicBezTo>
                <a:cubicBezTo>
                  <a:pt x="165" y="389"/>
                  <a:pt x="165" y="389"/>
                  <a:pt x="165" y="389"/>
                </a:cubicBezTo>
                <a:cubicBezTo>
                  <a:pt x="159" y="389"/>
                  <a:pt x="159" y="389"/>
                  <a:pt x="159" y="389"/>
                </a:cubicBezTo>
                <a:cubicBezTo>
                  <a:pt x="153" y="390"/>
                  <a:pt x="153" y="390"/>
                  <a:pt x="153" y="390"/>
                </a:cubicBezTo>
                <a:cubicBezTo>
                  <a:pt x="140" y="393"/>
                  <a:pt x="140" y="393"/>
                  <a:pt x="140" y="393"/>
                </a:cubicBezTo>
                <a:cubicBezTo>
                  <a:pt x="141" y="389"/>
                  <a:pt x="141" y="389"/>
                  <a:pt x="141" y="389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6" y="374"/>
                  <a:pt x="146" y="374"/>
                  <a:pt x="146" y="374"/>
                </a:cubicBezTo>
                <a:cubicBezTo>
                  <a:pt x="150" y="358"/>
                  <a:pt x="150" y="358"/>
                  <a:pt x="150" y="358"/>
                </a:cubicBezTo>
                <a:cubicBezTo>
                  <a:pt x="152" y="342"/>
                  <a:pt x="152" y="342"/>
                  <a:pt x="152" y="342"/>
                </a:cubicBezTo>
                <a:cubicBezTo>
                  <a:pt x="153" y="324"/>
                  <a:pt x="153" y="324"/>
                  <a:pt x="153" y="324"/>
                </a:cubicBezTo>
                <a:cubicBezTo>
                  <a:pt x="153" y="305"/>
                  <a:pt x="153" y="305"/>
                  <a:pt x="153" y="305"/>
                </a:cubicBezTo>
                <a:cubicBezTo>
                  <a:pt x="152" y="268"/>
                  <a:pt x="152" y="268"/>
                  <a:pt x="152" y="268"/>
                </a:cubicBezTo>
                <a:cubicBezTo>
                  <a:pt x="152" y="250"/>
                  <a:pt x="152" y="250"/>
                  <a:pt x="152" y="250"/>
                </a:cubicBezTo>
                <a:cubicBezTo>
                  <a:pt x="151" y="232"/>
                  <a:pt x="151" y="232"/>
                  <a:pt x="151" y="232"/>
                </a:cubicBezTo>
                <a:cubicBezTo>
                  <a:pt x="149" y="216"/>
                  <a:pt x="149" y="216"/>
                  <a:pt x="149" y="216"/>
                </a:cubicBezTo>
                <a:cubicBezTo>
                  <a:pt x="147" y="207"/>
                  <a:pt x="147" y="207"/>
                  <a:pt x="147" y="207"/>
                </a:cubicBezTo>
                <a:cubicBezTo>
                  <a:pt x="144" y="198"/>
                  <a:pt x="144" y="198"/>
                  <a:pt x="144" y="198"/>
                </a:cubicBezTo>
                <a:cubicBezTo>
                  <a:pt x="140" y="190"/>
                  <a:pt x="140" y="190"/>
                  <a:pt x="140" y="190"/>
                </a:cubicBezTo>
                <a:cubicBezTo>
                  <a:pt x="138" y="186"/>
                  <a:pt x="138" y="186"/>
                  <a:pt x="138" y="186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31" y="185"/>
                  <a:pt x="131" y="185"/>
                  <a:pt x="131" y="185"/>
                </a:cubicBezTo>
                <a:cubicBezTo>
                  <a:pt x="128" y="189"/>
                  <a:pt x="128" y="189"/>
                  <a:pt x="128" y="189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74"/>
                  <a:pt x="126" y="174"/>
                  <a:pt x="126" y="174"/>
                </a:cubicBezTo>
                <a:cubicBezTo>
                  <a:pt x="125" y="167"/>
                  <a:pt x="125" y="167"/>
                  <a:pt x="125" y="167"/>
                </a:cubicBezTo>
                <a:cubicBezTo>
                  <a:pt x="124" y="163"/>
                  <a:pt x="124" y="163"/>
                  <a:pt x="124" y="163"/>
                </a:cubicBezTo>
                <a:cubicBezTo>
                  <a:pt x="122" y="159"/>
                  <a:pt x="122" y="159"/>
                  <a:pt x="122" y="159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18" y="155"/>
                  <a:pt x="118" y="155"/>
                  <a:pt x="118" y="155"/>
                </a:cubicBezTo>
                <a:cubicBezTo>
                  <a:pt x="114" y="154"/>
                  <a:pt x="114" y="154"/>
                  <a:pt x="114" y="15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03" y="151"/>
                  <a:pt x="103" y="151"/>
                  <a:pt x="103" y="151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31" y="151"/>
                  <a:pt x="131" y="151"/>
                  <a:pt x="131" y="151"/>
                </a:cubicBezTo>
                <a:cubicBezTo>
                  <a:pt x="134" y="153"/>
                  <a:pt x="134" y="153"/>
                  <a:pt x="134" y="153"/>
                </a:cubicBezTo>
                <a:cubicBezTo>
                  <a:pt x="137" y="156"/>
                  <a:pt x="137" y="156"/>
                  <a:pt x="137" y="156"/>
                </a:cubicBezTo>
                <a:cubicBezTo>
                  <a:pt x="141" y="160"/>
                  <a:pt x="141" y="160"/>
                  <a:pt x="141" y="160"/>
                </a:cubicBezTo>
                <a:cubicBezTo>
                  <a:pt x="144" y="163"/>
                  <a:pt x="144" y="163"/>
                  <a:pt x="144" y="163"/>
                </a:cubicBezTo>
                <a:cubicBezTo>
                  <a:pt x="148" y="168"/>
                  <a:pt x="148" y="168"/>
                  <a:pt x="148" y="168"/>
                </a:cubicBezTo>
                <a:cubicBezTo>
                  <a:pt x="157" y="180"/>
                  <a:pt x="157" y="180"/>
                  <a:pt x="157" y="180"/>
                </a:cubicBezTo>
                <a:cubicBezTo>
                  <a:pt x="167" y="195"/>
                  <a:pt x="167" y="195"/>
                  <a:pt x="167" y="195"/>
                </a:cubicBezTo>
                <a:cubicBezTo>
                  <a:pt x="168" y="194"/>
                  <a:pt x="168" y="194"/>
                  <a:pt x="168" y="194"/>
                </a:cubicBezTo>
                <a:cubicBezTo>
                  <a:pt x="171" y="190"/>
                  <a:pt x="171" y="190"/>
                  <a:pt x="171" y="190"/>
                </a:cubicBezTo>
                <a:cubicBezTo>
                  <a:pt x="176" y="180"/>
                  <a:pt x="176" y="180"/>
                  <a:pt x="176" y="180"/>
                </a:cubicBezTo>
                <a:cubicBezTo>
                  <a:pt x="181" y="168"/>
                  <a:pt x="181" y="168"/>
                  <a:pt x="181" y="168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7" y="161"/>
                  <a:pt x="187" y="161"/>
                  <a:pt x="187" y="161"/>
                </a:cubicBezTo>
                <a:cubicBezTo>
                  <a:pt x="190" y="158"/>
                  <a:pt x="190" y="158"/>
                  <a:pt x="190" y="158"/>
                </a:cubicBezTo>
                <a:cubicBezTo>
                  <a:pt x="194" y="157"/>
                  <a:pt x="194" y="157"/>
                  <a:pt x="194" y="157"/>
                </a:cubicBezTo>
                <a:cubicBezTo>
                  <a:pt x="197" y="156"/>
                  <a:pt x="197" y="156"/>
                  <a:pt x="197" y="156"/>
                </a:cubicBezTo>
                <a:cubicBezTo>
                  <a:pt x="201" y="156"/>
                  <a:pt x="201" y="156"/>
                  <a:pt x="201" y="156"/>
                </a:cubicBezTo>
                <a:cubicBezTo>
                  <a:pt x="209" y="156"/>
                  <a:pt x="209" y="156"/>
                  <a:pt x="209" y="156"/>
                </a:cubicBezTo>
                <a:cubicBezTo>
                  <a:pt x="218" y="157"/>
                  <a:pt x="218" y="157"/>
                  <a:pt x="218" y="157"/>
                </a:cubicBezTo>
                <a:lnTo>
                  <a:pt x="218" y="174"/>
                </a:lnTo>
                <a:close/>
                <a:moveTo>
                  <a:pt x="218" y="87"/>
                </a:moveTo>
                <a:cubicBezTo>
                  <a:pt x="215" y="77"/>
                  <a:pt x="215" y="77"/>
                  <a:pt x="215" y="77"/>
                </a:cubicBezTo>
                <a:cubicBezTo>
                  <a:pt x="218" y="82"/>
                  <a:pt x="218" y="82"/>
                  <a:pt x="218" y="82"/>
                </a:cubicBezTo>
                <a:cubicBezTo>
                  <a:pt x="221" y="87"/>
                  <a:pt x="221" y="87"/>
                  <a:pt x="221" y="87"/>
                </a:cubicBezTo>
                <a:cubicBezTo>
                  <a:pt x="224" y="97"/>
                  <a:pt x="224" y="97"/>
                  <a:pt x="224" y="97"/>
                </a:cubicBezTo>
                <a:lnTo>
                  <a:pt x="218" y="87"/>
                </a:lnTo>
                <a:close/>
                <a:moveTo>
                  <a:pt x="222" y="98"/>
                </a:moveTo>
                <a:cubicBezTo>
                  <a:pt x="225" y="104"/>
                  <a:pt x="225" y="104"/>
                  <a:pt x="225" y="104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8" y="115"/>
                  <a:pt x="228" y="115"/>
                  <a:pt x="228" y="115"/>
                </a:cubicBezTo>
                <a:cubicBezTo>
                  <a:pt x="228" y="120"/>
                  <a:pt x="228" y="120"/>
                  <a:pt x="228" y="120"/>
                </a:cubicBezTo>
                <a:cubicBezTo>
                  <a:pt x="227" y="128"/>
                  <a:pt x="227" y="128"/>
                  <a:pt x="227" y="128"/>
                </a:cubicBezTo>
                <a:cubicBezTo>
                  <a:pt x="225" y="134"/>
                  <a:pt x="225" y="134"/>
                  <a:pt x="225" y="134"/>
                </a:cubicBezTo>
                <a:cubicBezTo>
                  <a:pt x="226" y="127"/>
                  <a:pt x="226" y="127"/>
                  <a:pt x="226" y="127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5" y="109"/>
                  <a:pt x="225" y="109"/>
                  <a:pt x="225" y="109"/>
                </a:cubicBezTo>
                <a:cubicBezTo>
                  <a:pt x="222" y="99"/>
                  <a:pt x="222" y="99"/>
                  <a:pt x="222" y="99"/>
                </a:cubicBezTo>
                <a:lnTo>
                  <a:pt x="222" y="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28" name="Freeform 75"/>
          <p:cNvSpPr>
            <a:spLocks noEditPoints="1"/>
          </p:cNvSpPr>
          <p:nvPr>
            <p:custDataLst>
              <p:tags r:id="rId9"/>
            </p:custDataLst>
          </p:nvPr>
        </p:nvSpPr>
        <p:spPr bwMode="gray">
          <a:xfrm>
            <a:off x="3194927" y="2124212"/>
            <a:ext cx="146050" cy="620712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30" name="Freeform 88"/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 flipH="1">
            <a:off x="1943848" y="2058481"/>
            <a:ext cx="211137" cy="581025"/>
          </a:xfrm>
          <a:custGeom>
            <a:avLst/>
            <a:gdLst>
              <a:gd name="T0" fmla="*/ 699 w 741"/>
              <a:gd name="T1" fmla="*/ 1191 h 2046"/>
              <a:gd name="T2" fmla="*/ 642 w 741"/>
              <a:gd name="T3" fmla="*/ 1149 h 2046"/>
              <a:gd name="T4" fmla="*/ 652 w 741"/>
              <a:gd name="T5" fmla="*/ 1033 h 2046"/>
              <a:gd name="T6" fmla="*/ 623 w 741"/>
              <a:gd name="T7" fmla="*/ 553 h 2046"/>
              <a:gd name="T8" fmla="*/ 581 w 741"/>
              <a:gd name="T9" fmla="*/ 374 h 2046"/>
              <a:gd name="T10" fmla="*/ 408 w 741"/>
              <a:gd name="T11" fmla="*/ 298 h 2046"/>
              <a:gd name="T12" fmla="*/ 321 w 741"/>
              <a:gd name="T13" fmla="*/ 504 h 2046"/>
              <a:gd name="T14" fmla="*/ 307 w 741"/>
              <a:gd name="T15" fmla="*/ 350 h 2046"/>
              <a:gd name="T16" fmla="*/ 340 w 741"/>
              <a:gd name="T17" fmla="*/ 305 h 2046"/>
              <a:gd name="T18" fmla="*/ 392 w 741"/>
              <a:gd name="T19" fmla="*/ 260 h 2046"/>
              <a:gd name="T20" fmla="*/ 420 w 741"/>
              <a:gd name="T21" fmla="*/ 175 h 2046"/>
              <a:gd name="T22" fmla="*/ 432 w 741"/>
              <a:gd name="T23" fmla="*/ 71 h 2046"/>
              <a:gd name="T24" fmla="*/ 359 w 741"/>
              <a:gd name="T25" fmla="*/ 3 h 2046"/>
              <a:gd name="T26" fmla="*/ 224 w 741"/>
              <a:gd name="T27" fmla="*/ 52 h 2046"/>
              <a:gd name="T28" fmla="*/ 198 w 741"/>
              <a:gd name="T29" fmla="*/ 126 h 2046"/>
              <a:gd name="T30" fmla="*/ 186 w 741"/>
              <a:gd name="T31" fmla="*/ 189 h 2046"/>
              <a:gd name="T32" fmla="*/ 196 w 741"/>
              <a:gd name="T33" fmla="*/ 230 h 2046"/>
              <a:gd name="T34" fmla="*/ 205 w 741"/>
              <a:gd name="T35" fmla="*/ 277 h 2046"/>
              <a:gd name="T36" fmla="*/ 257 w 741"/>
              <a:gd name="T37" fmla="*/ 308 h 2046"/>
              <a:gd name="T38" fmla="*/ 283 w 741"/>
              <a:gd name="T39" fmla="*/ 329 h 2046"/>
              <a:gd name="T40" fmla="*/ 278 w 741"/>
              <a:gd name="T41" fmla="*/ 367 h 2046"/>
              <a:gd name="T42" fmla="*/ 245 w 741"/>
              <a:gd name="T43" fmla="*/ 317 h 2046"/>
              <a:gd name="T44" fmla="*/ 78 w 741"/>
              <a:gd name="T45" fmla="*/ 390 h 2046"/>
              <a:gd name="T46" fmla="*/ 52 w 741"/>
              <a:gd name="T47" fmla="*/ 489 h 2046"/>
              <a:gd name="T48" fmla="*/ 0 w 741"/>
              <a:gd name="T49" fmla="*/ 1073 h 2046"/>
              <a:gd name="T50" fmla="*/ 16 w 741"/>
              <a:gd name="T51" fmla="*/ 1123 h 2046"/>
              <a:gd name="T52" fmla="*/ 30 w 741"/>
              <a:gd name="T53" fmla="*/ 1229 h 2046"/>
              <a:gd name="T54" fmla="*/ 54 w 741"/>
              <a:gd name="T55" fmla="*/ 1227 h 2046"/>
              <a:gd name="T56" fmla="*/ 94 w 741"/>
              <a:gd name="T57" fmla="*/ 1238 h 2046"/>
              <a:gd name="T58" fmla="*/ 82 w 741"/>
              <a:gd name="T59" fmla="*/ 1208 h 2046"/>
              <a:gd name="T60" fmla="*/ 68 w 741"/>
              <a:gd name="T61" fmla="*/ 1153 h 2046"/>
              <a:gd name="T62" fmla="*/ 85 w 741"/>
              <a:gd name="T63" fmla="*/ 1196 h 2046"/>
              <a:gd name="T64" fmla="*/ 99 w 741"/>
              <a:gd name="T65" fmla="*/ 1094 h 2046"/>
              <a:gd name="T66" fmla="*/ 96 w 741"/>
              <a:gd name="T67" fmla="*/ 1021 h 2046"/>
              <a:gd name="T68" fmla="*/ 125 w 741"/>
              <a:gd name="T69" fmla="*/ 1255 h 2046"/>
              <a:gd name="T70" fmla="*/ 148 w 741"/>
              <a:gd name="T71" fmla="*/ 1817 h 2046"/>
              <a:gd name="T72" fmla="*/ 139 w 741"/>
              <a:gd name="T73" fmla="*/ 1923 h 2046"/>
              <a:gd name="T74" fmla="*/ 120 w 741"/>
              <a:gd name="T75" fmla="*/ 1990 h 2046"/>
              <a:gd name="T76" fmla="*/ 132 w 741"/>
              <a:gd name="T77" fmla="*/ 2030 h 2046"/>
              <a:gd name="T78" fmla="*/ 224 w 741"/>
              <a:gd name="T79" fmla="*/ 2030 h 2046"/>
              <a:gd name="T80" fmla="*/ 259 w 741"/>
              <a:gd name="T81" fmla="*/ 1973 h 2046"/>
              <a:gd name="T82" fmla="*/ 269 w 741"/>
              <a:gd name="T83" fmla="*/ 1897 h 2046"/>
              <a:gd name="T84" fmla="*/ 257 w 741"/>
              <a:gd name="T85" fmla="*/ 1775 h 2046"/>
              <a:gd name="T86" fmla="*/ 293 w 741"/>
              <a:gd name="T87" fmla="*/ 1373 h 2046"/>
              <a:gd name="T88" fmla="*/ 316 w 741"/>
              <a:gd name="T89" fmla="*/ 1224 h 2046"/>
              <a:gd name="T90" fmla="*/ 352 w 741"/>
              <a:gd name="T91" fmla="*/ 1458 h 2046"/>
              <a:gd name="T92" fmla="*/ 382 w 741"/>
              <a:gd name="T93" fmla="*/ 1697 h 2046"/>
              <a:gd name="T94" fmla="*/ 363 w 741"/>
              <a:gd name="T95" fmla="*/ 1810 h 2046"/>
              <a:gd name="T96" fmla="*/ 349 w 741"/>
              <a:gd name="T97" fmla="*/ 1921 h 2046"/>
              <a:gd name="T98" fmla="*/ 368 w 741"/>
              <a:gd name="T99" fmla="*/ 1966 h 2046"/>
              <a:gd name="T100" fmla="*/ 352 w 741"/>
              <a:gd name="T101" fmla="*/ 2030 h 2046"/>
              <a:gd name="T102" fmla="*/ 427 w 741"/>
              <a:gd name="T103" fmla="*/ 2044 h 2046"/>
              <a:gd name="T104" fmla="*/ 474 w 741"/>
              <a:gd name="T105" fmla="*/ 1997 h 2046"/>
              <a:gd name="T106" fmla="*/ 491 w 741"/>
              <a:gd name="T107" fmla="*/ 1919 h 2046"/>
              <a:gd name="T108" fmla="*/ 503 w 741"/>
              <a:gd name="T109" fmla="*/ 1824 h 2046"/>
              <a:gd name="T110" fmla="*/ 635 w 741"/>
              <a:gd name="T111" fmla="*/ 1597 h 2046"/>
              <a:gd name="T112" fmla="*/ 741 w 741"/>
              <a:gd name="T113" fmla="*/ 1491 h 2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41" h="2046">
                <a:moveTo>
                  <a:pt x="739" y="1375"/>
                </a:moveTo>
                <a:lnTo>
                  <a:pt x="732" y="1205"/>
                </a:lnTo>
                <a:lnTo>
                  <a:pt x="730" y="1203"/>
                </a:lnTo>
                <a:lnTo>
                  <a:pt x="725" y="1198"/>
                </a:lnTo>
                <a:lnTo>
                  <a:pt x="713" y="1193"/>
                </a:lnTo>
                <a:lnTo>
                  <a:pt x="699" y="1191"/>
                </a:lnTo>
                <a:lnTo>
                  <a:pt x="687" y="1191"/>
                </a:lnTo>
                <a:lnTo>
                  <a:pt x="635" y="1193"/>
                </a:lnTo>
                <a:lnTo>
                  <a:pt x="633" y="1179"/>
                </a:lnTo>
                <a:lnTo>
                  <a:pt x="628" y="1165"/>
                </a:lnTo>
                <a:lnTo>
                  <a:pt x="640" y="1156"/>
                </a:lnTo>
                <a:lnTo>
                  <a:pt x="642" y="1149"/>
                </a:lnTo>
                <a:lnTo>
                  <a:pt x="645" y="1139"/>
                </a:lnTo>
                <a:lnTo>
                  <a:pt x="647" y="1113"/>
                </a:lnTo>
                <a:lnTo>
                  <a:pt x="647" y="1080"/>
                </a:lnTo>
                <a:lnTo>
                  <a:pt x="649" y="1066"/>
                </a:lnTo>
                <a:lnTo>
                  <a:pt x="652" y="1052"/>
                </a:lnTo>
                <a:lnTo>
                  <a:pt x="652" y="1033"/>
                </a:lnTo>
                <a:lnTo>
                  <a:pt x="652" y="957"/>
                </a:lnTo>
                <a:lnTo>
                  <a:pt x="649" y="846"/>
                </a:lnTo>
                <a:lnTo>
                  <a:pt x="642" y="730"/>
                </a:lnTo>
                <a:lnTo>
                  <a:pt x="637" y="676"/>
                </a:lnTo>
                <a:lnTo>
                  <a:pt x="633" y="629"/>
                </a:lnTo>
                <a:lnTo>
                  <a:pt x="623" y="553"/>
                </a:lnTo>
                <a:lnTo>
                  <a:pt x="619" y="494"/>
                </a:lnTo>
                <a:lnTo>
                  <a:pt x="614" y="423"/>
                </a:lnTo>
                <a:lnTo>
                  <a:pt x="611" y="409"/>
                </a:lnTo>
                <a:lnTo>
                  <a:pt x="604" y="395"/>
                </a:lnTo>
                <a:lnTo>
                  <a:pt x="595" y="386"/>
                </a:lnTo>
                <a:lnTo>
                  <a:pt x="581" y="374"/>
                </a:lnTo>
                <a:lnTo>
                  <a:pt x="567" y="367"/>
                </a:lnTo>
                <a:lnTo>
                  <a:pt x="550" y="357"/>
                </a:lnTo>
                <a:lnTo>
                  <a:pt x="512" y="345"/>
                </a:lnTo>
                <a:lnTo>
                  <a:pt x="477" y="334"/>
                </a:lnTo>
                <a:lnTo>
                  <a:pt x="444" y="317"/>
                </a:lnTo>
                <a:lnTo>
                  <a:pt x="408" y="298"/>
                </a:lnTo>
                <a:lnTo>
                  <a:pt x="399" y="310"/>
                </a:lnTo>
                <a:lnTo>
                  <a:pt x="389" y="326"/>
                </a:lnTo>
                <a:lnTo>
                  <a:pt x="373" y="360"/>
                </a:lnTo>
                <a:lnTo>
                  <a:pt x="356" y="400"/>
                </a:lnTo>
                <a:lnTo>
                  <a:pt x="340" y="445"/>
                </a:lnTo>
                <a:lnTo>
                  <a:pt x="321" y="504"/>
                </a:lnTo>
                <a:lnTo>
                  <a:pt x="300" y="369"/>
                </a:lnTo>
                <a:lnTo>
                  <a:pt x="300" y="367"/>
                </a:lnTo>
                <a:lnTo>
                  <a:pt x="304" y="364"/>
                </a:lnTo>
                <a:lnTo>
                  <a:pt x="309" y="360"/>
                </a:lnTo>
                <a:lnTo>
                  <a:pt x="309" y="355"/>
                </a:lnTo>
                <a:lnTo>
                  <a:pt x="307" y="350"/>
                </a:lnTo>
                <a:lnTo>
                  <a:pt x="304" y="341"/>
                </a:lnTo>
                <a:lnTo>
                  <a:pt x="302" y="334"/>
                </a:lnTo>
                <a:lnTo>
                  <a:pt x="297" y="326"/>
                </a:lnTo>
                <a:lnTo>
                  <a:pt x="309" y="322"/>
                </a:lnTo>
                <a:lnTo>
                  <a:pt x="326" y="315"/>
                </a:lnTo>
                <a:lnTo>
                  <a:pt x="340" y="305"/>
                </a:lnTo>
                <a:lnTo>
                  <a:pt x="356" y="293"/>
                </a:lnTo>
                <a:lnTo>
                  <a:pt x="361" y="289"/>
                </a:lnTo>
                <a:lnTo>
                  <a:pt x="370" y="284"/>
                </a:lnTo>
                <a:lnTo>
                  <a:pt x="385" y="277"/>
                </a:lnTo>
                <a:lnTo>
                  <a:pt x="389" y="270"/>
                </a:lnTo>
                <a:lnTo>
                  <a:pt x="392" y="260"/>
                </a:lnTo>
                <a:lnTo>
                  <a:pt x="392" y="234"/>
                </a:lnTo>
                <a:lnTo>
                  <a:pt x="394" y="223"/>
                </a:lnTo>
                <a:lnTo>
                  <a:pt x="396" y="213"/>
                </a:lnTo>
                <a:lnTo>
                  <a:pt x="401" y="201"/>
                </a:lnTo>
                <a:lnTo>
                  <a:pt x="411" y="189"/>
                </a:lnTo>
                <a:lnTo>
                  <a:pt x="420" y="175"/>
                </a:lnTo>
                <a:lnTo>
                  <a:pt x="430" y="159"/>
                </a:lnTo>
                <a:lnTo>
                  <a:pt x="434" y="135"/>
                </a:lnTo>
                <a:lnTo>
                  <a:pt x="439" y="111"/>
                </a:lnTo>
                <a:lnTo>
                  <a:pt x="439" y="97"/>
                </a:lnTo>
                <a:lnTo>
                  <a:pt x="437" y="85"/>
                </a:lnTo>
                <a:lnTo>
                  <a:pt x="432" y="71"/>
                </a:lnTo>
                <a:lnTo>
                  <a:pt x="425" y="57"/>
                </a:lnTo>
                <a:lnTo>
                  <a:pt x="420" y="48"/>
                </a:lnTo>
                <a:lnTo>
                  <a:pt x="401" y="29"/>
                </a:lnTo>
                <a:lnTo>
                  <a:pt x="389" y="19"/>
                </a:lnTo>
                <a:lnTo>
                  <a:pt x="375" y="10"/>
                </a:lnTo>
                <a:lnTo>
                  <a:pt x="359" y="3"/>
                </a:lnTo>
                <a:lnTo>
                  <a:pt x="342" y="0"/>
                </a:lnTo>
                <a:lnTo>
                  <a:pt x="255" y="15"/>
                </a:lnTo>
                <a:lnTo>
                  <a:pt x="233" y="26"/>
                </a:lnTo>
                <a:lnTo>
                  <a:pt x="224" y="34"/>
                </a:lnTo>
                <a:lnTo>
                  <a:pt x="222" y="41"/>
                </a:lnTo>
                <a:lnTo>
                  <a:pt x="224" y="52"/>
                </a:lnTo>
                <a:lnTo>
                  <a:pt x="226" y="60"/>
                </a:lnTo>
                <a:lnTo>
                  <a:pt x="226" y="64"/>
                </a:lnTo>
                <a:lnTo>
                  <a:pt x="224" y="69"/>
                </a:lnTo>
                <a:lnTo>
                  <a:pt x="205" y="107"/>
                </a:lnTo>
                <a:lnTo>
                  <a:pt x="200" y="116"/>
                </a:lnTo>
                <a:lnTo>
                  <a:pt x="198" y="126"/>
                </a:lnTo>
                <a:lnTo>
                  <a:pt x="198" y="133"/>
                </a:lnTo>
                <a:lnTo>
                  <a:pt x="198" y="142"/>
                </a:lnTo>
                <a:lnTo>
                  <a:pt x="184" y="173"/>
                </a:lnTo>
                <a:lnTo>
                  <a:pt x="181" y="182"/>
                </a:lnTo>
                <a:lnTo>
                  <a:pt x="181" y="187"/>
                </a:lnTo>
                <a:lnTo>
                  <a:pt x="186" y="189"/>
                </a:lnTo>
                <a:lnTo>
                  <a:pt x="193" y="192"/>
                </a:lnTo>
                <a:lnTo>
                  <a:pt x="196" y="194"/>
                </a:lnTo>
                <a:lnTo>
                  <a:pt x="198" y="199"/>
                </a:lnTo>
                <a:lnTo>
                  <a:pt x="196" y="215"/>
                </a:lnTo>
                <a:lnTo>
                  <a:pt x="196" y="227"/>
                </a:lnTo>
                <a:lnTo>
                  <a:pt x="196" y="230"/>
                </a:lnTo>
                <a:lnTo>
                  <a:pt x="198" y="239"/>
                </a:lnTo>
                <a:lnTo>
                  <a:pt x="198" y="248"/>
                </a:lnTo>
                <a:lnTo>
                  <a:pt x="196" y="256"/>
                </a:lnTo>
                <a:lnTo>
                  <a:pt x="198" y="265"/>
                </a:lnTo>
                <a:lnTo>
                  <a:pt x="198" y="267"/>
                </a:lnTo>
                <a:lnTo>
                  <a:pt x="205" y="277"/>
                </a:lnTo>
                <a:lnTo>
                  <a:pt x="210" y="279"/>
                </a:lnTo>
                <a:lnTo>
                  <a:pt x="219" y="284"/>
                </a:lnTo>
                <a:lnTo>
                  <a:pt x="238" y="286"/>
                </a:lnTo>
                <a:lnTo>
                  <a:pt x="248" y="286"/>
                </a:lnTo>
                <a:lnTo>
                  <a:pt x="262" y="286"/>
                </a:lnTo>
                <a:lnTo>
                  <a:pt x="257" y="308"/>
                </a:lnTo>
                <a:lnTo>
                  <a:pt x="257" y="312"/>
                </a:lnTo>
                <a:lnTo>
                  <a:pt x="259" y="317"/>
                </a:lnTo>
                <a:lnTo>
                  <a:pt x="271" y="329"/>
                </a:lnTo>
                <a:lnTo>
                  <a:pt x="276" y="331"/>
                </a:lnTo>
                <a:lnTo>
                  <a:pt x="281" y="329"/>
                </a:lnTo>
                <a:lnTo>
                  <a:pt x="283" y="329"/>
                </a:lnTo>
                <a:lnTo>
                  <a:pt x="278" y="331"/>
                </a:lnTo>
                <a:lnTo>
                  <a:pt x="274" y="341"/>
                </a:lnTo>
                <a:lnTo>
                  <a:pt x="271" y="345"/>
                </a:lnTo>
                <a:lnTo>
                  <a:pt x="269" y="350"/>
                </a:lnTo>
                <a:lnTo>
                  <a:pt x="274" y="360"/>
                </a:lnTo>
                <a:lnTo>
                  <a:pt x="278" y="367"/>
                </a:lnTo>
                <a:lnTo>
                  <a:pt x="250" y="456"/>
                </a:lnTo>
                <a:lnTo>
                  <a:pt x="245" y="471"/>
                </a:lnTo>
                <a:lnTo>
                  <a:pt x="245" y="456"/>
                </a:lnTo>
                <a:lnTo>
                  <a:pt x="243" y="362"/>
                </a:lnTo>
                <a:lnTo>
                  <a:pt x="243" y="331"/>
                </a:lnTo>
                <a:lnTo>
                  <a:pt x="245" y="317"/>
                </a:lnTo>
                <a:lnTo>
                  <a:pt x="248" y="315"/>
                </a:lnTo>
                <a:lnTo>
                  <a:pt x="229" y="322"/>
                </a:lnTo>
                <a:lnTo>
                  <a:pt x="172" y="345"/>
                </a:lnTo>
                <a:lnTo>
                  <a:pt x="115" y="369"/>
                </a:lnTo>
                <a:lnTo>
                  <a:pt x="92" y="381"/>
                </a:lnTo>
                <a:lnTo>
                  <a:pt x="78" y="390"/>
                </a:lnTo>
                <a:lnTo>
                  <a:pt x="70" y="397"/>
                </a:lnTo>
                <a:lnTo>
                  <a:pt x="66" y="407"/>
                </a:lnTo>
                <a:lnTo>
                  <a:pt x="61" y="419"/>
                </a:lnTo>
                <a:lnTo>
                  <a:pt x="59" y="430"/>
                </a:lnTo>
                <a:lnTo>
                  <a:pt x="56" y="459"/>
                </a:lnTo>
                <a:lnTo>
                  <a:pt x="52" y="489"/>
                </a:lnTo>
                <a:lnTo>
                  <a:pt x="37" y="650"/>
                </a:lnTo>
                <a:lnTo>
                  <a:pt x="28" y="726"/>
                </a:lnTo>
                <a:lnTo>
                  <a:pt x="21" y="785"/>
                </a:lnTo>
                <a:lnTo>
                  <a:pt x="16" y="851"/>
                </a:lnTo>
                <a:lnTo>
                  <a:pt x="7" y="990"/>
                </a:lnTo>
                <a:lnTo>
                  <a:pt x="0" y="1073"/>
                </a:lnTo>
                <a:lnTo>
                  <a:pt x="2" y="1078"/>
                </a:lnTo>
                <a:lnTo>
                  <a:pt x="2" y="1082"/>
                </a:lnTo>
                <a:lnTo>
                  <a:pt x="9" y="1089"/>
                </a:lnTo>
                <a:lnTo>
                  <a:pt x="16" y="1094"/>
                </a:lnTo>
                <a:lnTo>
                  <a:pt x="18" y="1097"/>
                </a:lnTo>
                <a:lnTo>
                  <a:pt x="16" y="1123"/>
                </a:lnTo>
                <a:lnTo>
                  <a:pt x="14" y="1158"/>
                </a:lnTo>
                <a:lnTo>
                  <a:pt x="16" y="1193"/>
                </a:lnTo>
                <a:lnTo>
                  <a:pt x="18" y="1210"/>
                </a:lnTo>
                <a:lnTo>
                  <a:pt x="21" y="1217"/>
                </a:lnTo>
                <a:lnTo>
                  <a:pt x="23" y="1222"/>
                </a:lnTo>
                <a:lnTo>
                  <a:pt x="30" y="1229"/>
                </a:lnTo>
                <a:lnTo>
                  <a:pt x="33" y="1234"/>
                </a:lnTo>
                <a:lnTo>
                  <a:pt x="35" y="1231"/>
                </a:lnTo>
                <a:lnTo>
                  <a:pt x="37" y="1229"/>
                </a:lnTo>
                <a:lnTo>
                  <a:pt x="35" y="1205"/>
                </a:lnTo>
                <a:lnTo>
                  <a:pt x="40" y="1215"/>
                </a:lnTo>
                <a:lnTo>
                  <a:pt x="54" y="1227"/>
                </a:lnTo>
                <a:lnTo>
                  <a:pt x="68" y="1241"/>
                </a:lnTo>
                <a:lnTo>
                  <a:pt x="78" y="1248"/>
                </a:lnTo>
                <a:lnTo>
                  <a:pt x="85" y="1248"/>
                </a:lnTo>
                <a:lnTo>
                  <a:pt x="87" y="1243"/>
                </a:lnTo>
                <a:lnTo>
                  <a:pt x="87" y="1238"/>
                </a:lnTo>
                <a:lnTo>
                  <a:pt x="94" y="1238"/>
                </a:lnTo>
                <a:lnTo>
                  <a:pt x="101" y="1238"/>
                </a:lnTo>
                <a:lnTo>
                  <a:pt x="104" y="1236"/>
                </a:lnTo>
                <a:lnTo>
                  <a:pt x="106" y="1234"/>
                </a:lnTo>
                <a:lnTo>
                  <a:pt x="104" y="1229"/>
                </a:lnTo>
                <a:lnTo>
                  <a:pt x="92" y="1217"/>
                </a:lnTo>
                <a:lnTo>
                  <a:pt x="82" y="1208"/>
                </a:lnTo>
                <a:lnTo>
                  <a:pt x="73" y="1196"/>
                </a:lnTo>
                <a:lnTo>
                  <a:pt x="66" y="1184"/>
                </a:lnTo>
                <a:lnTo>
                  <a:pt x="63" y="1172"/>
                </a:lnTo>
                <a:lnTo>
                  <a:pt x="63" y="1163"/>
                </a:lnTo>
                <a:lnTo>
                  <a:pt x="66" y="1156"/>
                </a:lnTo>
                <a:lnTo>
                  <a:pt x="68" y="1153"/>
                </a:lnTo>
                <a:lnTo>
                  <a:pt x="73" y="1153"/>
                </a:lnTo>
                <a:lnTo>
                  <a:pt x="78" y="1156"/>
                </a:lnTo>
                <a:lnTo>
                  <a:pt x="80" y="1165"/>
                </a:lnTo>
                <a:lnTo>
                  <a:pt x="82" y="1186"/>
                </a:lnTo>
                <a:lnTo>
                  <a:pt x="82" y="1191"/>
                </a:lnTo>
                <a:lnTo>
                  <a:pt x="85" y="1196"/>
                </a:lnTo>
                <a:lnTo>
                  <a:pt x="92" y="1201"/>
                </a:lnTo>
                <a:lnTo>
                  <a:pt x="99" y="1201"/>
                </a:lnTo>
                <a:lnTo>
                  <a:pt x="104" y="1201"/>
                </a:lnTo>
                <a:lnTo>
                  <a:pt x="101" y="1137"/>
                </a:lnTo>
                <a:lnTo>
                  <a:pt x="99" y="1108"/>
                </a:lnTo>
                <a:lnTo>
                  <a:pt x="99" y="1094"/>
                </a:lnTo>
                <a:lnTo>
                  <a:pt x="99" y="1087"/>
                </a:lnTo>
                <a:lnTo>
                  <a:pt x="96" y="1075"/>
                </a:lnTo>
                <a:lnTo>
                  <a:pt x="94" y="1064"/>
                </a:lnTo>
                <a:lnTo>
                  <a:pt x="92" y="1054"/>
                </a:lnTo>
                <a:lnTo>
                  <a:pt x="94" y="1030"/>
                </a:lnTo>
                <a:lnTo>
                  <a:pt x="96" y="1021"/>
                </a:lnTo>
                <a:lnTo>
                  <a:pt x="96" y="1026"/>
                </a:lnTo>
                <a:lnTo>
                  <a:pt x="99" y="1052"/>
                </a:lnTo>
                <a:lnTo>
                  <a:pt x="99" y="1087"/>
                </a:lnTo>
                <a:lnTo>
                  <a:pt x="106" y="1120"/>
                </a:lnTo>
                <a:lnTo>
                  <a:pt x="113" y="1167"/>
                </a:lnTo>
                <a:lnTo>
                  <a:pt x="125" y="1255"/>
                </a:lnTo>
                <a:lnTo>
                  <a:pt x="132" y="1349"/>
                </a:lnTo>
                <a:lnTo>
                  <a:pt x="137" y="1420"/>
                </a:lnTo>
                <a:lnTo>
                  <a:pt x="139" y="1503"/>
                </a:lnTo>
                <a:lnTo>
                  <a:pt x="144" y="1623"/>
                </a:lnTo>
                <a:lnTo>
                  <a:pt x="151" y="1803"/>
                </a:lnTo>
                <a:lnTo>
                  <a:pt x="148" y="1817"/>
                </a:lnTo>
                <a:lnTo>
                  <a:pt x="146" y="1831"/>
                </a:lnTo>
                <a:lnTo>
                  <a:pt x="139" y="1867"/>
                </a:lnTo>
                <a:lnTo>
                  <a:pt x="137" y="1883"/>
                </a:lnTo>
                <a:lnTo>
                  <a:pt x="134" y="1900"/>
                </a:lnTo>
                <a:lnTo>
                  <a:pt x="134" y="1914"/>
                </a:lnTo>
                <a:lnTo>
                  <a:pt x="139" y="1923"/>
                </a:lnTo>
                <a:lnTo>
                  <a:pt x="146" y="1940"/>
                </a:lnTo>
                <a:lnTo>
                  <a:pt x="151" y="1949"/>
                </a:lnTo>
                <a:lnTo>
                  <a:pt x="148" y="1959"/>
                </a:lnTo>
                <a:lnTo>
                  <a:pt x="141" y="1966"/>
                </a:lnTo>
                <a:lnTo>
                  <a:pt x="127" y="1978"/>
                </a:lnTo>
                <a:lnTo>
                  <a:pt x="120" y="1990"/>
                </a:lnTo>
                <a:lnTo>
                  <a:pt x="118" y="1999"/>
                </a:lnTo>
                <a:lnTo>
                  <a:pt x="115" y="2011"/>
                </a:lnTo>
                <a:lnTo>
                  <a:pt x="118" y="2016"/>
                </a:lnTo>
                <a:lnTo>
                  <a:pt x="120" y="2023"/>
                </a:lnTo>
                <a:lnTo>
                  <a:pt x="125" y="2027"/>
                </a:lnTo>
                <a:lnTo>
                  <a:pt x="132" y="2030"/>
                </a:lnTo>
                <a:lnTo>
                  <a:pt x="141" y="2034"/>
                </a:lnTo>
                <a:lnTo>
                  <a:pt x="153" y="2037"/>
                </a:lnTo>
                <a:lnTo>
                  <a:pt x="174" y="2039"/>
                </a:lnTo>
                <a:lnTo>
                  <a:pt x="193" y="2037"/>
                </a:lnTo>
                <a:lnTo>
                  <a:pt x="210" y="2034"/>
                </a:lnTo>
                <a:lnTo>
                  <a:pt x="224" y="2030"/>
                </a:lnTo>
                <a:lnTo>
                  <a:pt x="233" y="2023"/>
                </a:lnTo>
                <a:lnTo>
                  <a:pt x="243" y="2016"/>
                </a:lnTo>
                <a:lnTo>
                  <a:pt x="255" y="2001"/>
                </a:lnTo>
                <a:lnTo>
                  <a:pt x="259" y="1997"/>
                </a:lnTo>
                <a:lnTo>
                  <a:pt x="259" y="1990"/>
                </a:lnTo>
                <a:lnTo>
                  <a:pt x="259" y="1973"/>
                </a:lnTo>
                <a:lnTo>
                  <a:pt x="257" y="1956"/>
                </a:lnTo>
                <a:lnTo>
                  <a:pt x="259" y="1945"/>
                </a:lnTo>
                <a:lnTo>
                  <a:pt x="264" y="1931"/>
                </a:lnTo>
                <a:lnTo>
                  <a:pt x="269" y="1919"/>
                </a:lnTo>
                <a:lnTo>
                  <a:pt x="271" y="1907"/>
                </a:lnTo>
                <a:lnTo>
                  <a:pt x="269" y="1897"/>
                </a:lnTo>
                <a:lnTo>
                  <a:pt x="269" y="1886"/>
                </a:lnTo>
                <a:lnTo>
                  <a:pt x="262" y="1867"/>
                </a:lnTo>
                <a:lnTo>
                  <a:pt x="252" y="1850"/>
                </a:lnTo>
                <a:lnTo>
                  <a:pt x="250" y="1838"/>
                </a:lnTo>
                <a:lnTo>
                  <a:pt x="250" y="1819"/>
                </a:lnTo>
                <a:lnTo>
                  <a:pt x="257" y="1775"/>
                </a:lnTo>
                <a:lnTo>
                  <a:pt x="264" y="1720"/>
                </a:lnTo>
                <a:lnTo>
                  <a:pt x="269" y="1668"/>
                </a:lnTo>
                <a:lnTo>
                  <a:pt x="274" y="1614"/>
                </a:lnTo>
                <a:lnTo>
                  <a:pt x="278" y="1548"/>
                </a:lnTo>
                <a:lnTo>
                  <a:pt x="285" y="1470"/>
                </a:lnTo>
                <a:lnTo>
                  <a:pt x="293" y="1373"/>
                </a:lnTo>
                <a:lnTo>
                  <a:pt x="295" y="1328"/>
                </a:lnTo>
                <a:lnTo>
                  <a:pt x="297" y="1293"/>
                </a:lnTo>
                <a:lnTo>
                  <a:pt x="302" y="1264"/>
                </a:lnTo>
                <a:lnTo>
                  <a:pt x="307" y="1245"/>
                </a:lnTo>
                <a:lnTo>
                  <a:pt x="311" y="1231"/>
                </a:lnTo>
                <a:lnTo>
                  <a:pt x="316" y="1224"/>
                </a:lnTo>
                <a:lnTo>
                  <a:pt x="318" y="1219"/>
                </a:lnTo>
                <a:lnTo>
                  <a:pt x="321" y="1243"/>
                </a:lnTo>
                <a:lnTo>
                  <a:pt x="323" y="1271"/>
                </a:lnTo>
                <a:lnTo>
                  <a:pt x="335" y="1340"/>
                </a:lnTo>
                <a:lnTo>
                  <a:pt x="344" y="1406"/>
                </a:lnTo>
                <a:lnTo>
                  <a:pt x="352" y="1458"/>
                </a:lnTo>
                <a:lnTo>
                  <a:pt x="356" y="1498"/>
                </a:lnTo>
                <a:lnTo>
                  <a:pt x="363" y="1534"/>
                </a:lnTo>
                <a:lnTo>
                  <a:pt x="370" y="1571"/>
                </a:lnTo>
                <a:lnTo>
                  <a:pt x="375" y="1609"/>
                </a:lnTo>
                <a:lnTo>
                  <a:pt x="380" y="1652"/>
                </a:lnTo>
                <a:lnTo>
                  <a:pt x="382" y="1697"/>
                </a:lnTo>
                <a:lnTo>
                  <a:pt x="382" y="1718"/>
                </a:lnTo>
                <a:lnTo>
                  <a:pt x="380" y="1737"/>
                </a:lnTo>
                <a:lnTo>
                  <a:pt x="378" y="1756"/>
                </a:lnTo>
                <a:lnTo>
                  <a:pt x="370" y="1772"/>
                </a:lnTo>
                <a:lnTo>
                  <a:pt x="363" y="1793"/>
                </a:lnTo>
                <a:lnTo>
                  <a:pt x="363" y="1810"/>
                </a:lnTo>
                <a:lnTo>
                  <a:pt x="366" y="1824"/>
                </a:lnTo>
                <a:lnTo>
                  <a:pt x="368" y="1843"/>
                </a:lnTo>
                <a:lnTo>
                  <a:pt x="363" y="1864"/>
                </a:lnTo>
                <a:lnTo>
                  <a:pt x="359" y="1886"/>
                </a:lnTo>
                <a:lnTo>
                  <a:pt x="352" y="1905"/>
                </a:lnTo>
                <a:lnTo>
                  <a:pt x="349" y="1921"/>
                </a:lnTo>
                <a:lnTo>
                  <a:pt x="349" y="1926"/>
                </a:lnTo>
                <a:lnTo>
                  <a:pt x="352" y="1933"/>
                </a:lnTo>
                <a:lnTo>
                  <a:pt x="361" y="1945"/>
                </a:lnTo>
                <a:lnTo>
                  <a:pt x="370" y="1956"/>
                </a:lnTo>
                <a:lnTo>
                  <a:pt x="370" y="1961"/>
                </a:lnTo>
                <a:lnTo>
                  <a:pt x="368" y="1966"/>
                </a:lnTo>
                <a:lnTo>
                  <a:pt x="359" y="1973"/>
                </a:lnTo>
                <a:lnTo>
                  <a:pt x="354" y="1985"/>
                </a:lnTo>
                <a:lnTo>
                  <a:pt x="349" y="1997"/>
                </a:lnTo>
                <a:lnTo>
                  <a:pt x="349" y="2011"/>
                </a:lnTo>
                <a:lnTo>
                  <a:pt x="349" y="2025"/>
                </a:lnTo>
                <a:lnTo>
                  <a:pt x="352" y="2030"/>
                </a:lnTo>
                <a:lnTo>
                  <a:pt x="356" y="2034"/>
                </a:lnTo>
                <a:lnTo>
                  <a:pt x="363" y="2039"/>
                </a:lnTo>
                <a:lnTo>
                  <a:pt x="375" y="2044"/>
                </a:lnTo>
                <a:lnTo>
                  <a:pt x="389" y="2044"/>
                </a:lnTo>
                <a:lnTo>
                  <a:pt x="408" y="2046"/>
                </a:lnTo>
                <a:lnTo>
                  <a:pt x="427" y="2044"/>
                </a:lnTo>
                <a:lnTo>
                  <a:pt x="444" y="2039"/>
                </a:lnTo>
                <a:lnTo>
                  <a:pt x="453" y="2034"/>
                </a:lnTo>
                <a:lnTo>
                  <a:pt x="463" y="2027"/>
                </a:lnTo>
                <a:lnTo>
                  <a:pt x="470" y="2020"/>
                </a:lnTo>
                <a:lnTo>
                  <a:pt x="472" y="2011"/>
                </a:lnTo>
                <a:lnTo>
                  <a:pt x="474" y="1997"/>
                </a:lnTo>
                <a:lnTo>
                  <a:pt x="472" y="1973"/>
                </a:lnTo>
                <a:lnTo>
                  <a:pt x="472" y="1964"/>
                </a:lnTo>
                <a:lnTo>
                  <a:pt x="474" y="1956"/>
                </a:lnTo>
                <a:lnTo>
                  <a:pt x="479" y="1949"/>
                </a:lnTo>
                <a:lnTo>
                  <a:pt x="486" y="1935"/>
                </a:lnTo>
                <a:lnTo>
                  <a:pt x="491" y="1919"/>
                </a:lnTo>
                <a:lnTo>
                  <a:pt x="491" y="1900"/>
                </a:lnTo>
                <a:lnTo>
                  <a:pt x="491" y="1879"/>
                </a:lnTo>
                <a:lnTo>
                  <a:pt x="491" y="1869"/>
                </a:lnTo>
                <a:lnTo>
                  <a:pt x="493" y="1862"/>
                </a:lnTo>
                <a:lnTo>
                  <a:pt x="498" y="1848"/>
                </a:lnTo>
                <a:lnTo>
                  <a:pt x="503" y="1824"/>
                </a:lnTo>
                <a:lnTo>
                  <a:pt x="507" y="1803"/>
                </a:lnTo>
                <a:lnTo>
                  <a:pt x="510" y="1777"/>
                </a:lnTo>
                <a:lnTo>
                  <a:pt x="510" y="1704"/>
                </a:lnTo>
                <a:lnTo>
                  <a:pt x="507" y="1628"/>
                </a:lnTo>
                <a:lnTo>
                  <a:pt x="564" y="1616"/>
                </a:lnTo>
                <a:lnTo>
                  <a:pt x="635" y="1597"/>
                </a:lnTo>
                <a:lnTo>
                  <a:pt x="725" y="1571"/>
                </a:lnTo>
                <a:lnTo>
                  <a:pt x="730" y="1569"/>
                </a:lnTo>
                <a:lnTo>
                  <a:pt x="734" y="1567"/>
                </a:lnTo>
                <a:lnTo>
                  <a:pt x="739" y="1560"/>
                </a:lnTo>
                <a:lnTo>
                  <a:pt x="741" y="1550"/>
                </a:lnTo>
                <a:lnTo>
                  <a:pt x="741" y="1491"/>
                </a:lnTo>
                <a:lnTo>
                  <a:pt x="739" y="137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32" name="Freeform 76"/>
          <p:cNvSpPr>
            <a:spLocks noEditPoints="1"/>
          </p:cNvSpPr>
          <p:nvPr>
            <p:custDataLst>
              <p:tags r:id="rId11"/>
            </p:custDataLst>
          </p:nvPr>
        </p:nvSpPr>
        <p:spPr bwMode="gray">
          <a:xfrm flipH="1">
            <a:off x="7999323" y="1520788"/>
            <a:ext cx="139700" cy="461962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36" name="Freeform 97"/>
          <p:cNvSpPr>
            <a:spLocks noChangeAspect="1" noEditPoints="1"/>
          </p:cNvSpPr>
          <p:nvPr/>
        </p:nvSpPr>
        <p:spPr bwMode="gray">
          <a:xfrm>
            <a:off x="7889507" y="1347868"/>
            <a:ext cx="161777" cy="432194"/>
          </a:xfrm>
          <a:custGeom>
            <a:avLst/>
            <a:gdLst>
              <a:gd name="T0" fmla="*/ 707 w 714"/>
              <a:gd name="T1" fmla="*/ 888 h 1901"/>
              <a:gd name="T2" fmla="*/ 676 w 714"/>
              <a:gd name="T3" fmla="*/ 628 h 1901"/>
              <a:gd name="T4" fmla="*/ 648 w 714"/>
              <a:gd name="T5" fmla="*/ 361 h 1901"/>
              <a:gd name="T6" fmla="*/ 553 w 714"/>
              <a:gd name="T7" fmla="*/ 309 h 1901"/>
              <a:gd name="T8" fmla="*/ 489 w 714"/>
              <a:gd name="T9" fmla="*/ 335 h 1901"/>
              <a:gd name="T10" fmla="*/ 451 w 714"/>
              <a:gd name="T11" fmla="*/ 500 h 1901"/>
              <a:gd name="T12" fmla="*/ 437 w 714"/>
              <a:gd name="T13" fmla="*/ 340 h 1901"/>
              <a:gd name="T14" fmla="*/ 416 w 714"/>
              <a:gd name="T15" fmla="*/ 314 h 1901"/>
              <a:gd name="T16" fmla="*/ 411 w 714"/>
              <a:gd name="T17" fmla="*/ 349 h 1901"/>
              <a:gd name="T18" fmla="*/ 376 w 714"/>
              <a:gd name="T19" fmla="*/ 370 h 1901"/>
              <a:gd name="T20" fmla="*/ 340 w 714"/>
              <a:gd name="T21" fmla="*/ 293 h 1901"/>
              <a:gd name="T22" fmla="*/ 201 w 714"/>
              <a:gd name="T23" fmla="*/ 354 h 1901"/>
              <a:gd name="T24" fmla="*/ 142 w 714"/>
              <a:gd name="T25" fmla="*/ 581 h 1901"/>
              <a:gd name="T26" fmla="*/ 137 w 714"/>
              <a:gd name="T27" fmla="*/ 685 h 1901"/>
              <a:gd name="T28" fmla="*/ 161 w 714"/>
              <a:gd name="T29" fmla="*/ 841 h 1901"/>
              <a:gd name="T30" fmla="*/ 182 w 714"/>
              <a:gd name="T31" fmla="*/ 852 h 1901"/>
              <a:gd name="T32" fmla="*/ 208 w 714"/>
              <a:gd name="T33" fmla="*/ 945 h 1901"/>
              <a:gd name="T34" fmla="*/ 123 w 714"/>
              <a:gd name="T35" fmla="*/ 921 h 1901"/>
              <a:gd name="T36" fmla="*/ 57 w 714"/>
              <a:gd name="T37" fmla="*/ 978 h 1901"/>
              <a:gd name="T38" fmla="*/ 5 w 714"/>
              <a:gd name="T39" fmla="*/ 1263 h 1901"/>
              <a:gd name="T40" fmla="*/ 229 w 714"/>
              <a:gd name="T41" fmla="*/ 1372 h 1901"/>
              <a:gd name="T42" fmla="*/ 222 w 714"/>
              <a:gd name="T43" fmla="*/ 1812 h 1901"/>
              <a:gd name="T44" fmla="*/ 241 w 714"/>
              <a:gd name="T45" fmla="*/ 1830 h 1901"/>
              <a:gd name="T46" fmla="*/ 213 w 714"/>
              <a:gd name="T47" fmla="*/ 1889 h 1901"/>
              <a:gd name="T48" fmla="*/ 286 w 714"/>
              <a:gd name="T49" fmla="*/ 1899 h 1901"/>
              <a:gd name="T50" fmla="*/ 329 w 714"/>
              <a:gd name="T51" fmla="*/ 1849 h 1901"/>
              <a:gd name="T52" fmla="*/ 348 w 714"/>
              <a:gd name="T53" fmla="*/ 1663 h 1901"/>
              <a:gd name="T54" fmla="*/ 378 w 714"/>
              <a:gd name="T55" fmla="*/ 1318 h 1901"/>
              <a:gd name="T56" fmla="*/ 421 w 714"/>
              <a:gd name="T57" fmla="*/ 1074 h 1901"/>
              <a:gd name="T58" fmla="*/ 428 w 714"/>
              <a:gd name="T59" fmla="*/ 1034 h 1901"/>
              <a:gd name="T60" fmla="*/ 473 w 714"/>
              <a:gd name="T61" fmla="*/ 1393 h 1901"/>
              <a:gd name="T62" fmla="*/ 492 w 714"/>
              <a:gd name="T63" fmla="*/ 1797 h 1901"/>
              <a:gd name="T64" fmla="*/ 494 w 714"/>
              <a:gd name="T65" fmla="*/ 1859 h 1901"/>
              <a:gd name="T66" fmla="*/ 586 w 714"/>
              <a:gd name="T67" fmla="*/ 1892 h 1901"/>
              <a:gd name="T68" fmla="*/ 648 w 714"/>
              <a:gd name="T69" fmla="*/ 1887 h 1901"/>
              <a:gd name="T70" fmla="*/ 600 w 714"/>
              <a:gd name="T71" fmla="*/ 1823 h 1901"/>
              <a:gd name="T72" fmla="*/ 629 w 714"/>
              <a:gd name="T73" fmla="*/ 1712 h 1901"/>
              <a:gd name="T74" fmla="*/ 614 w 714"/>
              <a:gd name="T75" fmla="*/ 1521 h 1901"/>
              <a:gd name="T76" fmla="*/ 617 w 714"/>
              <a:gd name="T77" fmla="*/ 980 h 1901"/>
              <a:gd name="T78" fmla="*/ 633 w 714"/>
              <a:gd name="T79" fmla="*/ 885 h 1901"/>
              <a:gd name="T80" fmla="*/ 652 w 714"/>
              <a:gd name="T81" fmla="*/ 940 h 1901"/>
              <a:gd name="T82" fmla="*/ 659 w 714"/>
              <a:gd name="T83" fmla="*/ 985 h 1901"/>
              <a:gd name="T84" fmla="*/ 652 w 714"/>
              <a:gd name="T85" fmla="*/ 1027 h 1901"/>
              <a:gd name="T86" fmla="*/ 674 w 714"/>
              <a:gd name="T87" fmla="*/ 1039 h 1901"/>
              <a:gd name="T88" fmla="*/ 714 w 714"/>
              <a:gd name="T89" fmla="*/ 975 h 1901"/>
              <a:gd name="T90" fmla="*/ 239 w 714"/>
              <a:gd name="T91" fmla="*/ 730 h 1901"/>
              <a:gd name="T92" fmla="*/ 225 w 714"/>
              <a:gd name="T93" fmla="*/ 817 h 1901"/>
              <a:gd name="T94" fmla="*/ 232 w 714"/>
              <a:gd name="T95" fmla="*/ 793 h 1901"/>
              <a:gd name="T96" fmla="*/ 220 w 714"/>
              <a:gd name="T97" fmla="*/ 678 h 1901"/>
              <a:gd name="T98" fmla="*/ 246 w 714"/>
              <a:gd name="T99" fmla="*/ 578 h 1901"/>
              <a:gd name="T100" fmla="*/ 362 w 714"/>
              <a:gd name="T101" fmla="*/ 210 h 1901"/>
              <a:gd name="T102" fmla="*/ 362 w 714"/>
              <a:gd name="T103" fmla="*/ 267 h 1901"/>
              <a:gd name="T104" fmla="*/ 409 w 714"/>
              <a:gd name="T105" fmla="*/ 307 h 1901"/>
              <a:gd name="T106" fmla="*/ 470 w 714"/>
              <a:gd name="T107" fmla="*/ 290 h 1901"/>
              <a:gd name="T108" fmla="*/ 487 w 714"/>
              <a:gd name="T109" fmla="*/ 248 h 1901"/>
              <a:gd name="T110" fmla="*/ 527 w 714"/>
              <a:gd name="T111" fmla="*/ 174 h 1901"/>
              <a:gd name="T112" fmla="*/ 537 w 714"/>
              <a:gd name="T113" fmla="*/ 111 h 1901"/>
              <a:gd name="T114" fmla="*/ 513 w 714"/>
              <a:gd name="T115" fmla="*/ 23 h 1901"/>
              <a:gd name="T116" fmla="*/ 423 w 714"/>
              <a:gd name="T117" fmla="*/ 0 h 1901"/>
              <a:gd name="T118" fmla="*/ 362 w 714"/>
              <a:gd name="T119" fmla="*/ 49 h 1901"/>
              <a:gd name="T120" fmla="*/ 343 w 714"/>
              <a:gd name="T121" fmla="*/ 130 h 1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4" h="1901">
                <a:moveTo>
                  <a:pt x="709" y="940"/>
                </a:moveTo>
                <a:lnTo>
                  <a:pt x="702" y="919"/>
                </a:lnTo>
                <a:lnTo>
                  <a:pt x="702" y="909"/>
                </a:lnTo>
                <a:lnTo>
                  <a:pt x="704" y="907"/>
                </a:lnTo>
                <a:lnTo>
                  <a:pt x="707" y="902"/>
                </a:lnTo>
                <a:lnTo>
                  <a:pt x="707" y="888"/>
                </a:lnTo>
                <a:lnTo>
                  <a:pt x="707" y="867"/>
                </a:lnTo>
                <a:lnTo>
                  <a:pt x="704" y="843"/>
                </a:lnTo>
                <a:lnTo>
                  <a:pt x="697" y="796"/>
                </a:lnTo>
                <a:lnTo>
                  <a:pt x="692" y="770"/>
                </a:lnTo>
                <a:lnTo>
                  <a:pt x="685" y="715"/>
                </a:lnTo>
                <a:lnTo>
                  <a:pt x="676" y="628"/>
                </a:lnTo>
                <a:lnTo>
                  <a:pt x="669" y="543"/>
                </a:lnTo>
                <a:lnTo>
                  <a:pt x="666" y="482"/>
                </a:lnTo>
                <a:lnTo>
                  <a:pt x="664" y="444"/>
                </a:lnTo>
                <a:lnTo>
                  <a:pt x="657" y="389"/>
                </a:lnTo>
                <a:lnTo>
                  <a:pt x="652" y="373"/>
                </a:lnTo>
                <a:lnTo>
                  <a:pt x="648" y="361"/>
                </a:lnTo>
                <a:lnTo>
                  <a:pt x="640" y="352"/>
                </a:lnTo>
                <a:lnTo>
                  <a:pt x="633" y="342"/>
                </a:lnTo>
                <a:lnTo>
                  <a:pt x="617" y="330"/>
                </a:lnTo>
                <a:lnTo>
                  <a:pt x="605" y="326"/>
                </a:lnTo>
                <a:lnTo>
                  <a:pt x="572" y="316"/>
                </a:lnTo>
                <a:lnTo>
                  <a:pt x="553" y="309"/>
                </a:lnTo>
                <a:lnTo>
                  <a:pt x="534" y="300"/>
                </a:lnTo>
                <a:lnTo>
                  <a:pt x="506" y="283"/>
                </a:lnTo>
                <a:lnTo>
                  <a:pt x="506" y="283"/>
                </a:lnTo>
                <a:lnTo>
                  <a:pt x="503" y="300"/>
                </a:lnTo>
                <a:lnTo>
                  <a:pt x="499" y="316"/>
                </a:lnTo>
                <a:lnTo>
                  <a:pt x="489" y="335"/>
                </a:lnTo>
                <a:lnTo>
                  <a:pt x="485" y="354"/>
                </a:lnTo>
                <a:lnTo>
                  <a:pt x="477" y="385"/>
                </a:lnTo>
                <a:lnTo>
                  <a:pt x="463" y="465"/>
                </a:lnTo>
                <a:lnTo>
                  <a:pt x="456" y="508"/>
                </a:lnTo>
                <a:lnTo>
                  <a:pt x="454" y="522"/>
                </a:lnTo>
                <a:lnTo>
                  <a:pt x="451" y="500"/>
                </a:lnTo>
                <a:lnTo>
                  <a:pt x="442" y="413"/>
                </a:lnTo>
                <a:lnTo>
                  <a:pt x="440" y="394"/>
                </a:lnTo>
                <a:lnTo>
                  <a:pt x="435" y="378"/>
                </a:lnTo>
                <a:lnTo>
                  <a:pt x="428" y="359"/>
                </a:lnTo>
                <a:lnTo>
                  <a:pt x="430" y="352"/>
                </a:lnTo>
                <a:lnTo>
                  <a:pt x="437" y="340"/>
                </a:lnTo>
                <a:lnTo>
                  <a:pt x="444" y="323"/>
                </a:lnTo>
                <a:lnTo>
                  <a:pt x="442" y="321"/>
                </a:lnTo>
                <a:lnTo>
                  <a:pt x="437" y="316"/>
                </a:lnTo>
                <a:lnTo>
                  <a:pt x="430" y="314"/>
                </a:lnTo>
                <a:lnTo>
                  <a:pt x="423" y="311"/>
                </a:lnTo>
                <a:lnTo>
                  <a:pt x="416" y="314"/>
                </a:lnTo>
                <a:lnTo>
                  <a:pt x="409" y="319"/>
                </a:lnTo>
                <a:lnTo>
                  <a:pt x="404" y="326"/>
                </a:lnTo>
                <a:lnTo>
                  <a:pt x="404" y="328"/>
                </a:lnTo>
                <a:lnTo>
                  <a:pt x="404" y="333"/>
                </a:lnTo>
                <a:lnTo>
                  <a:pt x="411" y="345"/>
                </a:lnTo>
                <a:lnTo>
                  <a:pt x="411" y="349"/>
                </a:lnTo>
                <a:lnTo>
                  <a:pt x="411" y="356"/>
                </a:lnTo>
                <a:lnTo>
                  <a:pt x="402" y="460"/>
                </a:lnTo>
                <a:lnTo>
                  <a:pt x="402" y="479"/>
                </a:lnTo>
                <a:lnTo>
                  <a:pt x="390" y="427"/>
                </a:lnTo>
                <a:lnTo>
                  <a:pt x="383" y="394"/>
                </a:lnTo>
                <a:lnTo>
                  <a:pt x="376" y="370"/>
                </a:lnTo>
                <a:lnTo>
                  <a:pt x="366" y="354"/>
                </a:lnTo>
                <a:lnTo>
                  <a:pt x="359" y="340"/>
                </a:lnTo>
                <a:lnTo>
                  <a:pt x="348" y="321"/>
                </a:lnTo>
                <a:lnTo>
                  <a:pt x="343" y="311"/>
                </a:lnTo>
                <a:lnTo>
                  <a:pt x="340" y="304"/>
                </a:lnTo>
                <a:lnTo>
                  <a:pt x="340" y="293"/>
                </a:lnTo>
                <a:lnTo>
                  <a:pt x="343" y="285"/>
                </a:lnTo>
                <a:lnTo>
                  <a:pt x="319" y="297"/>
                </a:lnTo>
                <a:lnTo>
                  <a:pt x="300" y="304"/>
                </a:lnTo>
                <a:lnTo>
                  <a:pt x="220" y="337"/>
                </a:lnTo>
                <a:lnTo>
                  <a:pt x="210" y="342"/>
                </a:lnTo>
                <a:lnTo>
                  <a:pt x="201" y="354"/>
                </a:lnTo>
                <a:lnTo>
                  <a:pt x="194" y="370"/>
                </a:lnTo>
                <a:lnTo>
                  <a:pt x="189" y="385"/>
                </a:lnTo>
                <a:lnTo>
                  <a:pt x="175" y="460"/>
                </a:lnTo>
                <a:lnTo>
                  <a:pt x="163" y="508"/>
                </a:lnTo>
                <a:lnTo>
                  <a:pt x="154" y="541"/>
                </a:lnTo>
                <a:lnTo>
                  <a:pt x="142" y="581"/>
                </a:lnTo>
                <a:lnTo>
                  <a:pt x="135" y="611"/>
                </a:lnTo>
                <a:lnTo>
                  <a:pt x="133" y="623"/>
                </a:lnTo>
                <a:lnTo>
                  <a:pt x="130" y="637"/>
                </a:lnTo>
                <a:lnTo>
                  <a:pt x="130" y="652"/>
                </a:lnTo>
                <a:lnTo>
                  <a:pt x="133" y="663"/>
                </a:lnTo>
                <a:lnTo>
                  <a:pt x="137" y="685"/>
                </a:lnTo>
                <a:lnTo>
                  <a:pt x="142" y="718"/>
                </a:lnTo>
                <a:lnTo>
                  <a:pt x="147" y="772"/>
                </a:lnTo>
                <a:lnTo>
                  <a:pt x="149" y="791"/>
                </a:lnTo>
                <a:lnTo>
                  <a:pt x="151" y="815"/>
                </a:lnTo>
                <a:lnTo>
                  <a:pt x="156" y="836"/>
                </a:lnTo>
                <a:lnTo>
                  <a:pt x="161" y="841"/>
                </a:lnTo>
                <a:lnTo>
                  <a:pt x="166" y="843"/>
                </a:lnTo>
                <a:lnTo>
                  <a:pt x="173" y="838"/>
                </a:lnTo>
                <a:lnTo>
                  <a:pt x="175" y="838"/>
                </a:lnTo>
                <a:lnTo>
                  <a:pt x="177" y="838"/>
                </a:lnTo>
                <a:lnTo>
                  <a:pt x="182" y="845"/>
                </a:lnTo>
                <a:lnTo>
                  <a:pt x="182" y="852"/>
                </a:lnTo>
                <a:lnTo>
                  <a:pt x="185" y="871"/>
                </a:lnTo>
                <a:lnTo>
                  <a:pt x="185" y="890"/>
                </a:lnTo>
                <a:lnTo>
                  <a:pt x="187" y="904"/>
                </a:lnTo>
                <a:lnTo>
                  <a:pt x="192" y="916"/>
                </a:lnTo>
                <a:lnTo>
                  <a:pt x="199" y="933"/>
                </a:lnTo>
                <a:lnTo>
                  <a:pt x="208" y="945"/>
                </a:lnTo>
                <a:lnTo>
                  <a:pt x="225" y="956"/>
                </a:lnTo>
                <a:lnTo>
                  <a:pt x="248" y="966"/>
                </a:lnTo>
                <a:lnTo>
                  <a:pt x="248" y="973"/>
                </a:lnTo>
                <a:lnTo>
                  <a:pt x="175" y="940"/>
                </a:lnTo>
                <a:lnTo>
                  <a:pt x="140" y="926"/>
                </a:lnTo>
                <a:lnTo>
                  <a:pt x="123" y="921"/>
                </a:lnTo>
                <a:lnTo>
                  <a:pt x="95" y="923"/>
                </a:lnTo>
                <a:lnTo>
                  <a:pt x="85" y="926"/>
                </a:lnTo>
                <a:lnTo>
                  <a:pt x="73" y="933"/>
                </a:lnTo>
                <a:lnTo>
                  <a:pt x="71" y="935"/>
                </a:lnTo>
                <a:lnTo>
                  <a:pt x="66" y="947"/>
                </a:lnTo>
                <a:lnTo>
                  <a:pt x="57" y="978"/>
                </a:lnTo>
                <a:lnTo>
                  <a:pt x="33" y="1072"/>
                </a:lnTo>
                <a:lnTo>
                  <a:pt x="12" y="1169"/>
                </a:lnTo>
                <a:lnTo>
                  <a:pt x="0" y="1230"/>
                </a:lnTo>
                <a:lnTo>
                  <a:pt x="0" y="1252"/>
                </a:lnTo>
                <a:lnTo>
                  <a:pt x="3" y="1259"/>
                </a:lnTo>
                <a:lnTo>
                  <a:pt x="5" y="1263"/>
                </a:lnTo>
                <a:lnTo>
                  <a:pt x="12" y="1271"/>
                </a:lnTo>
                <a:lnTo>
                  <a:pt x="26" y="1282"/>
                </a:lnTo>
                <a:lnTo>
                  <a:pt x="47" y="1294"/>
                </a:lnTo>
                <a:lnTo>
                  <a:pt x="88" y="1313"/>
                </a:lnTo>
                <a:lnTo>
                  <a:pt x="199" y="1360"/>
                </a:lnTo>
                <a:lnTo>
                  <a:pt x="229" y="1372"/>
                </a:lnTo>
                <a:lnTo>
                  <a:pt x="227" y="1384"/>
                </a:lnTo>
                <a:lnTo>
                  <a:pt x="222" y="1438"/>
                </a:lnTo>
                <a:lnTo>
                  <a:pt x="222" y="1497"/>
                </a:lnTo>
                <a:lnTo>
                  <a:pt x="218" y="1800"/>
                </a:lnTo>
                <a:lnTo>
                  <a:pt x="220" y="1809"/>
                </a:lnTo>
                <a:lnTo>
                  <a:pt x="222" y="1812"/>
                </a:lnTo>
                <a:lnTo>
                  <a:pt x="225" y="1812"/>
                </a:lnTo>
                <a:lnTo>
                  <a:pt x="232" y="1816"/>
                </a:lnTo>
                <a:lnTo>
                  <a:pt x="236" y="1819"/>
                </a:lnTo>
                <a:lnTo>
                  <a:pt x="241" y="1823"/>
                </a:lnTo>
                <a:lnTo>
                  <a:pt x="244" y="1828"/>
                </a:lnTo>
                <a:lnTo>
                  <a:pt x="241" y="1830"/>
                </a:lnTo>
                <a:lnTo>
                  <a:pt x="236" y="1840"/>
                </a:lnTo>
                <a:lnTo>
                  <a:pt x="220" y="1861"/>
                </a:lnTo>
                <a:lnTo>
                  <a:pt x="213" y="1873"/>
                </a:lnTo>
                <a:lnTo>
                  <a:pt x="210" y="1882"/>
                </a:lnTo>
                <a:lnTo>
                  <a:pt x="210" y="1885"/>
                </a:lnTo>
                <a:lnTo>
                  <a:pt x="213" y="1889"/>
                </a:lnTo>
                <a:lnTo>
                  <a:pt x="220" y="1894"/>
                </a:lnTo>
                <a:lnTo>
                  <a:pt x="227" y="1897"/>
                </a:lnTo>
                <a:lnTo>
                  <a:pt x="246" y="1899"/>
                </a:lnTo>
                <a:lnTo>
                  <a:pt x="262" y="1901"/>
                </a:lnTo>
                <a:lnTo>
                  <a:pt x="274" y="1901"/>
                </a:lnTo>
                <a:lnTo>
                  <a:pt x="286" y="1899"/>
                </a:lnTo>
                <a:lnTo>
                  <a:pt x="298" y="1894"/>
                </a:lnTo>
                <a:lnTo>
                  <a:pt x="305" y="1889"/>
                </a:lnTo>
                <a:lnTo>
                  <a:pt x="312" y="1885"/>
                </a:lnTo>
                <a:lnTo>
                  <a:pt x="317" y="1878"/>
                </a:lnTo>
                <a:lnTo>
                  <a:pt x="324" y="1864"/>
                </a:lnTo>
                <a:lnTo>
                  <a:pt x="329" y="1849"/>
                </a:lnTo>
                <a:lnTo>
                  <a:pt x="329" y="1830"/>
                </a:lnTo>
                <a:lnTo>
                  <a:pt x="333" y="1807"/>
                </a:lnTo>
                <a:lnTo>
                  <a:pt x="338" y="1795"/>
                </a:lnTo>
                <a:lnTo>
                  <a:pt x="340" y="1774"/>
                </a:lnTo>
                <a:lnTo>
                  <a:pt x="345" y="1719"/>
                </a:lnTo>
                <a:lnTo>
                  <a:pt x="348" y="1663"/>
                </a:lnTo>
                <a:lnTo>
                  <a:pt x="350" y="1623"/>
                </a:lnTo>
                <a:lnTo>
                  <a:pt x="352" y="1585"/>
                </a:lnTo>
                <a:lnTo>
                  <a:pt x="355" y="1526"/>
                </a:lnTo>
                <a:lnTo>
                  <a:pt x="362" y="1462"/>
                </a:lnTo>
                <a:lnTo>
                  <a:pt x="369" y="1400"/>
                </a:lnTo>
                <a:lnTo>
                  <a:pt x="378" y="1318"/>
                </a:lnTo>
                <a:lnTo>
                  <a:pt x="383" y="1301"/>
                </a:lnTo>
                <a:lnTo>
                  <a:pt x="399" y="1230"/>
                </a:lnTo>
                <a:lnTo>
                  <a:pt x="414" y="1160"/>
                </a:lnTo>
                <a:lnTo>
                  <a:pt x="418" y="1129"/>
                </a:lnTo>
                <a:lnTo>
                  <a:pt x="421" y="1098"/>
                </a:lnTo>
                <a:lnTo>
                  <a:pt x="421" y="1074"/>
                </a:lnTo>
                <a:lnTo>
                  <a:pt x="418" y="1056"/>
                </a:lnTo>
                <a:lnTo>
                  <a:pt x="416" y="1048"/>
                </a:lnTo>
                <a:lnTo>
                  <a:pt x="416" y="1046"/>
                </a:lnTo>
                <a:lnTo>
                  <a:pt x="416" y="1041"/>
                </a:lnTo>
                <a:lnTo>
                  <a:pt x="428" y="1001"/>
                </a:lnTo>
                <a:lnTo>
                  <a:pt x="428" y="1034"/>
                </a:lnTo>
                <a:lnTo>
                  <a:pt x="433" y="1067"/>
                </a:lnTo>
                <a:lnTo>
                  <a:pt x="440" y="1131"/>
                </a:lnTo>
                <a:lnTo>
                  <a:pt x="451" y="1188"/>
                </a:lnTo>
                <a:lnTo>
                  <a:pt x="459" y="1240"/>
                </a:lnTo>
                <a:lnTo>
                  <a:pt x="468" y="1349"/>
                </a:lnTo>
                <a:lnTo>
                  <a:pt x="473" y="1393"/>
                </a:lnTo>
                <a:lnTo>
                  <a:pt x="477" y="1422"/>
                </a:lnTo>
                <a:lnTo>
                  <a:pt x="480" y="1441"/>
                </a:lnTo>
                <a:lnTo>
                  <a:pt x="482" y="1476"/>
                </a:lnTo>
                <a:lnTo>
                  <a:pt x="487" y="1582"/>
                </a:lnTo>
                <a:lnTo>
                  <a:pt x="492" y="1755"/>
                </a:lnTo>
                <a:lnTo>
                  <a:pt x="492" y="1797"/>
                </a:lnTo>
                <a:lnTo>
                  <a:pt x="492" y="1814"/>
                </a:lnTo>
                <a:lnTo>
                  <a:pt x="496" y="1828"/>
                </a:lnTo>
                <a:lnTo>
                  <a:pt x="496" y="1840"/>
                </a:lnTo>
                <a:lnTo>
                  <a:pt x="496" y="1847"/>
                </a:lnTo>
                <a:lnTo>
                  <a:pt x="494" y="1852"/>
                </a:lnTo>
                <a:lnTo>
                  <a:pt x="494" y="1859"/>
                </a:lnTo>
                <a:lnTo>
                  <a:pt x="496" y="1861"/>
                </a:lnTo>
                <a:lnTo>
                  <a:pt x="503" y="1866"/>
                </a:lnTo>
                <a:lnTo>
                  <a:pt x="520" y="1871"/>
                </a:lnTo>
                <a:lnTo>
                  <a:pt x="546" y="1878"/>
                </a:lnTo>
                <a:lnTo>
                  <a:pt x="572" y="1887"/>
                </a:lnTo>
                <a:lnTo>
                  <a:pt x="586" y="1892"/>
                </a:lnTo>
                <a:lnTo>
                  <a:pt x="598" y="1894"/>
                </a:lnTo>
                <a:lnTo>
                  <a:pt x="612" y="1897"/>
                </a:lnTo>
                <a:lnTo>
                  <a:pt x="622" y="1897"/>
                </a:lnTo>
                <a:lnTo>
                  <a:pt x="633" y="1894"/>
                </a:lnTo>
                <a:lnTo>
                  <a:pt x="640" y="1889"/>
                </a:lnTo>
                <a:lnTo>
                  <a:pt x="648" y="1887"/>
                </a:lnTo>
                <a:lnTo>
                  <a:pt x="652" y="1880"/>
                </a:lnTo>
                <a:lnTo>
                  <a:pt x="652" y="1875"/>
                </a:lnTo>
                <a:lnTo>
                  <a:pt x="648" y="1866"/>
                </a:lnTo>
                <a:lnTo>
                  <a:pt x="640" y="1859"/>
                </a:lnTo>
                <a:lnTo>
                  <a:pt x="631" y="1849"/>
                </a:lnTo>
                <a:lnTo>
                  <a:pt x="600" y="1823"/>
                </a:lnTo>
                <a:lnTo>
                  <a:pt x="600" y="1819"/>
                </a:lnTo>
                <a:lnTo>
                  <a:pt x="600" y="1812"/>
                </a:lnTo>
                <a:lnTo>
                  <a:pt x="607" y="1786"/>
                </a:lnTo>
                <a:lnTo>
                  <a:pt x="626" y="1731"/>
                </a:lnTo>
                <a:lnTo>
                  <a:pt x="626" y="1722"/>
                </a:lnTo>
                <a:lnTo>
                  <a:pt x="629" y="1712"/>
                </a:lnTo>
                <a:lnTo>
                  <a:pt x="626" y="1693"/>
                </a:lnTo>
                <a:lnTo>
                  <a:pt x="619" y="1672"/>
                </a:lnTo>
                <a:lnTo>
                  <a:pt x="614" y="1641"/>
                </a:lnTo>
                <a:lnTo>
                  <a:pt x="612" y="1620"/>
                </a:lnTo>
                <a:lnTo>
                  <a:pt x="612" y="1589"/>
                </a:lnTo>
                <a:lnTo>
                  <a:pt x="614" y="1521"/>
                </a:lnTo>
                <a:lnTo>
                  <a:pt x="617" y="1455"/>
                </a:lnTo>
                <a:lnTo>
                  <a:pt x="619" y="1408"/>
                </a:lnTo>
                <a:lnTo>
                  <a:pt x="617" y="1216"/>
                </a:lnTo>
                <a:lnTo>
                  <a:pt x="614" y="1030"/>
                </a:lnTo>
                <a:lnTo>
                  <a:pt x="614" y="1004"/>
                </a:lnTo>
                <a:lnTo>
                  <a:pt x="617" y="980"/>
                </a:lnTo>
                <a:lnTo>
                  <a:pt x="619" y="959"/>
                </a:lnTo>
                <a:lnTo>
                  <a:pt x="624" y="937"/>
                </a:lnTo>
                <a:lnTo>
                  <a:pt x="626" y="911"/>
                </a:lnTo>
                <a:lnTo>
                  <a:pt x="626" y="897"/>
                </a:lnTo>
                <a:lnTo>
                  <a:pt x="629" y="890"/>
                </a:lnTo>
                <a:lnTo>
                  <a:pt x="633" y="885"/>
                </a:lnTo>
                <a:lnTo>
                  <a:pt x="636" y="900"/>
                </a:lnTo>
                <a:lnTo>
                  <a:pt x="640" y="911"/>
                </a:lnTo>
                <a:lnTo>
                  <a:pt x="650" y="923"/>
                </a:lnTo>
                <a:lnTo>
                  <a:pt x="655" y="928"/>
                </a:lnTo>
                <a:lnTo>
                  <a:pt x="655" y="933"/>
                </a:lnTo>
                <a:lnTo>
                  <a:pt x="652" y="940"/>
                </a:lnTo>
                <a:lnTo>
                  <a:pt x="652" y="945"/>
                </a:lnTo>
                <a:lnTo>
                  <a:pt x="652" y="949"/>
                </a:lnTo>
                <a:lnTo>
                  <a:pt x="655" y="961"/>
                </a:lnTo>
                <a:lnTo>
                  <a:pt x="659" y="973"/>
                </a:lnTo>
                <a:lnTo>
                  <a:pt x="659" y="978"/>
                </a:lnTo>
                <a:lnTo>
                  <a:pt x="659" y="985"/>
                </a:lnTo>
                <a:lnTo>
                  <a:pt x="659" y="994"/>
                </a:lnTo>
                <a:lnTo>
                  <a:pt x="659" y="1001"/>
                </a:lnTo>
                <a:lnTo>
                  <a:pt x="662" y="1006"/>
                </a:lnTo>
                <a:lnTo>
                  <a:pt x="662" y="1011"/>
                </a:lnTo>
                <a:lnTo>
                  <a:pt x="659" y="1018"/>
                </a:lnTo>
                <a:lnTo>
                  <a:pt x="652" y="1027"/>
                </a:lnTo>
                <a:lnTo>
                  <a:pt x="648" y="1034"/>
                </a:lnTo>
                <a:lnTo>
                  <a:pt x="648" y="1039"/>
                </a:lnTo>
                <a:lnTo>
                  <a:pt x="648" y="1041"/>
                </a:lnTo>
                <a:lnTo>
                  <a:pt x="652" y="1044"/>
                </a:lnTo>
                <a:lnTo>
                  <a:pt x="657" y="1044"/>
                </a:lnTo>
                <a:lnTo>
                  <a:pt x="674" y="1039"/>
                </a:lnTo>
                <a:lnTo>
                  <a:pt x="692" y="1027"/>
                </a:lnTo>
                <a:lnTo>
                  <a:pt x="700" y="1020"/>
                </a:lnTo>
                <a:lnTo>
                  <a:pt x="707" y="1013"/>
                </a:lnTo>
                <a:lnTo>
                  <a:pt x="709" y="1004"/>
                </a:lnTo>
                <a:lnTo>
                  <a:pt x="714" y="997"/>
                </a:lnTo>
                <a:lnTo>
                  <a:pt x="714" y="975"/>
                </a:lnTo>
                <a:lnTo>
                  <a:pt x="714" y="956"/>
                </a:lnTo>
                <a:lnTo>
                  <a:pt x="709" y="940"/>
                </a:lnTo>
                <a:close/>
                <a:moveTo>
                  <a:pt x="248" y="609"/>
                </a:moveTo>
                <a:lnTo>
                  <a:pt x="244" y="647"/>
                </a:lnTo>
                <a:lnTo>
                  <a:pt x="241" y="685"/>
                </a:lnTo>
                <a:lnTo>
                  <a:pt x="239" y="730"/>
                </a:lnTo>
                <a:lnTo>
                  <a:pt x="239" y="786"/>
                </a:lnTo>
                <a:lnTo>
                  <a:pt x="244" y="822"/>
                </a:lnTo>
                <a:lnTo>
                  <a:pt x="236" y="822"/>
                </a:lnTo>
                <a:lnTo>
                  <a:pt x="229" y="819"/>
                </a:lnTo>
                <a:lnTo>
                  <a:pt x="225" y="819"/>
                </a:lnTo>
                <a:lnTo>
                  <a:pt x="225" y="817"/>
                </a:lnTo>
                <a:lnTo>
                  <a:pt x="222" y="812"/>
                </a:lnTo>
                <a:lnTo>
                  <a:pt x="225" y="808"/>
                </a:lnTo>
                <a:lnTo>
                  <a:pt x="227" y="805"/>
                </a:lnTo>
                <a:lnTo>
                  <a:pt x="229" y="800"/>
                </a:lnTo>
                <a:lnTo>
                  <a:pt x="232" y="798"/>
                </a:lnTo>
                <a:lnTo>
                  <a:pt x="232" y="793"/>
                </a:lnTo>
                <a:lnTo>
                  <a:pt x="232" y="777"/>
                </a:lnTo>
                <a:lnTo>
                  <a:pt x="229" y="753"/>
                </a:lnTo>
                <a:lnTo>
                  <a:pt x="227" y="732"/>
                </a:lnTo>
                <a:lnTo>
                  <a:pt x="225" y="711"/>
                </a:lnTo>
                <a:lnTo>
                  <a:pt x="222" y="694"/>
                </a:lnTo>
                <a:lnTo>
                  <a:pt x="220" y="678"/>
                </a:lnTo>
                <a:lnTo>
                  <a:pt x="220" y="659"/>
                </a:lnTo>
                <a:lnTo>
                  <a:pt x="220" y="637"/>
                </a:lnTo>
                <a:lnTo>
                  <a:pt x="225" y="619"/>
                </a:lnTo>
                <a:lnTo>
                  <a:pt x="232" y="600"/>
                </a:lnTo>
                <a:lnTo>
                  <a:pt x="241" y="583"/>
                </a:lnTo>
                <a:lnTo>
                  <a:pt x="246" y="578"/>
                </a:lnTo>
                <a:lnTo>
                  <a:pt x="251" y="576"/>
                </a:lnTo>
                <a:lnTo>
                  <a:pt x="248" y="609"/>
                </a:lnTo>
                <a:close/>
                <a:moveTo>
                  <a:pt x="350" y="189"/>
                </a:moveTo>
                <a:lnTo>
                  <a:pt x="355" y="200"/>
                </a:lnTo>
                <a:lnTo>
                  <a:pt x="359" y="205"/>
                </a:lnTo>
                <a:lnTo>
                  <a:pt x="362" y="210"/>
                </a:lnTo>
                <a:lnTo>
                  <a:pt x="364" y="215"/>
                </a:lnTo>
                <a:lnTo>
                  <a:pt x="366" y="229"/>
                </a:lnTo>
                <a:lnTo>
                  <a:pt x="366" y="248"/>
                </a:lnTo>
                <a:lnTo>
                  <a:pt x="364" y="252"/>
                </a:lnTo>
                <a:lnTo>
                  <a:pt x="362" y="264"/>
                </a:lnTo>
                <a:lnTo>
                  <a:pt x="362" y="267"/>
                </a:lnTo>
                <a:lnTo>
                  <a:pt x="362" y="269"/>
                </a:lnTo>
                <a:lnTo>
                  <a:pt x="364" y="274"/>
                </a:lnTo>
                <a:lnTo>
                  <a:pt x="371" y="281"/>
                </a:lnTo>
                <a:lnTo>
                  <a:pt x="388" y="293"/>
                </a:lnTo>
                <a:lnTo>
                  <a:pt x="402" y="304"/>
                </a:lnTo>
                <a:lnTo>
                  <a:pt x="409" y="307"/>
                </a:lnTo>
                <a:lnTo>
                  <a:pt x="416" y="309"/>
                </a:lnTo>
                <a:lnTo>
                  <a:pt x="425" y="309"/>
                </a:lnTo>
                <a:lnTo>
                  <a:pt x="435" y="307"/>
                </a:lnTo>
                <a:lnTo>
                  <a:pt x="449" y="302"/>
                </a:lnTo>
                <a:lnTo>
                  <a:pt x="461" y="297"/>
                </a:lnTo>
                <a:lnTo>
                  <a:pt x="470" y="290"/>
                </a:lnTo>
                <a:lnTo>
                  <a:pt x="477" y="283"/>
                </a:lnTo>
                <a:lnTo>
                  <a:pt x="485" y="271"/>
                </a:lnTo>
                <a:lnTo>
                  <a:pt x="487" y="262"/>
                </a:lnTo>
                <a:lnTo>
                  <a:pt x="489" y="262"/>
                </a:lnTo>
                <a:lnTo>
                  <a:pt x="487" y="257"/>
                </a:lnTo>
                <a:lnTo>
                  <a:pt x="487" y="248"/>
                </a:lnTo>
                <a:lnTo>
                  <a:pt x="494" y="224"/>
                </a:lnTo>
                <a:lnTo>
                  <a:pt x="496" y="222"/>
                </a:lnTo>
                <a:lnTo>
                  <a:pt x="501" y="219"/>
                </a:lnTo>
                <a:lnTo>
                  <a:pt x="508" y="212"/>
                </a:lnTo>
                <a:lnTo>
                  <a:pt x="518" y="198"/>
                </a:lnTo>
                <a:lnTo>
                  <a:pt x="527" y="174"/>
                </a:lnTo>
                <a:lnTo>
                  <a:pt x="534" y="153"/>
                </a:lnTo>
                <a:lnTo>
                  <a:pt x="534" y="148"/>
                </a:lnTo>
                <a:lnTo>
                  <a:pt x="532" y="146"/>
                </a:lnTo>
                <a:lnTo>
                  <a:pt x="529" y="144"/>
                </a:lnTo>
                <a:lnTo>
                  <a:pt x="534" y="127"/>
                </a:lnTo>
                <a:lnTo>
                  <a:pt x="537" y="111"/>
                </a:lnTo>
                <a:lnTo>
                  <a:pt x="539" y="89"/>
                </a:lnTo>
                <a:lnTo>
                  <a:pt x="539" y="78"/>
                </a:lnTo>
                <a:lnTo>
                  <a:pt x="537" y="66"/>
                </a:lnTo>
                <a:lnTo>
                  <a:pt x="529" y="44"/>
                </a:lnTo>
                <a:lnTo>
                  <a:pt x="520" y="30"/>
                </a:lnTo>
                <a:lnTo>
                  <a:pt x="513" y="23"/>
                </a:lnTo>
                <a:lnTo>
                  <a:pt x="501" y="14"/>
                </a:lnTo>
                <a:lnTo>
                  <a:pt x="485" y="7"/>
                </a:lnTo>
                <a:lnTo>
                  <a:pt x="473" y="2"/>
                </a:lnTo>
                <a:lnTo>
                  <a:pt x="459" y="0"/>
                </a:lnTo>
                <a:lnTo>
                  <a:pt x="442" y="0"/>
                </a:lnTo>
                <a:lnTo>
                  <a:pt x="423" y="0"/>
                </a:lnTo>
                <a:lnTo>
                  <a:pt x="407" y="4"/>
                </a:lnTo>
                <a:lnTo>
                  <a:pt x="395" y="9"/>
                </a:lnTo>
                <a:lnTo>
                  <a:pt x="383" y="18"/>
                </a:lnTo>
                <a:lnTo>
                  <a:pt x="374" y="28"/>
                </a:lnTo>
                <a:lnTo>
                  <a:pt x="366" y="37"/>
                </a:lnTo>
                <a:lnTo>
                  <a:pt x="362" y="49"/>
                </a:lnTo>
                <a:lnTo>
                  <a:pt x="352" y="68"/>
                </a:lnTo>
                <a:lnTo>
                  <a:pt x="348" y="89"/>
                </a:lnTo>
                <a:lnTo>
                  <a:pt x="348" y="106"/>
                </a:lnTo>
                <a:lnTo>
                  <a:pt x="350" y="125"/>
                </a:lnTo>
                <a:lnTo>
                  <a:pt x="345" y="127"/>
                </a:lnTo>
                <a:lnTo>
                  <a:pt x="343" y="130"/>
                </a:lnTo>
                <a:lnTo>
                  <a:pt x="340" y="137"/>
                </a:lnTo>
                <a:lnTo>
                  <a:pt x="340" y="148"/>
                </a:lnTo>
                <a:lnTo>
                  <a:pt x="343" y="163"/>
                </a:lnTo>
                <a:lnTo>
                  <a:pt x="350" y="189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137" name="Gruppieren 55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gray">
          <a:xfrm>
            <a:off x="7772379" y="1545383"/>
            <a:ext cx="154936" cy="371449"/>
            <a:chOff x="11957050" y="3071813"/>
            <a:chExt cx="311150" cy="749300"/>
          </a:xfrm>
        </p:grpSpPr>
        <p:sp>
          <p:nvSpPr>
            <p:cNvPr id="138" name="Freeform 33"/>
            <p:cNvSpPr>
              <a:spLocks noChangeAspect="1" noEditPoints="1"/>
            </p:cNvSpPr>
            <p:nvPr/>
          </p:nvSpPr>
          <p:spPr bwMode="gray">
            <a:xfrm>
              <a:off x="11957050" y="3071813"/>
              <a:ext cx="311150" cy="749300"/>
            </a:xfrm>
            <a:custGeom>
              <a:avLst/>
              <a:gdLst>
                <a:gd name="T0" fmla="*/ 72 w 83"/>
                <a:gd name="T1" fmla="*/ 141 h 200"/>
                <a:gd name="T2" fmla="*/ 72 w 83"/>
                <a:gd name="T3" fmla="*/ 189 h 200"/>
                <a:gd name="T4" fmla="*/ 69 w 83"/>
                <a:gd name="T5" fmla="*/ 191 h 200"/>
                <a:gd name="T6" fmla="*/ 71 w 83"/>
                <a:gd name="T7" fmla="*/ 198 h 200"/>
                <a:gd name="T8" fmla="*/ 63 w 83"/>
                <a:gd name="T9" fmla="*/ 195 h 200"/>
                <a:gd name="T10" fmla="*/ 60 w 83"/>
                <a:gd name="T11" fmla="*/ 190 h 200"/>
                <a:gd name="T12" fmla="*/ 59 w 83"/>
                <a:gd name="T13" fmla="*/ 186 h 200"/>
                <a:gd name="T14" fmla="*/ 56 w 83"/>
                <a:gd name="T15" fmla="*/ 122 h 200"/>
                <a:gd name="T16" fmla="*/ 52 w 83"/>
                <a:gd name="T17" fmla="*/ 108 h 200"/>
                <a:gd name="T18" fmla="*/ 47 w 83"/>
                <a:gd name="T19" fmla="*/ 114 h 200"/>
                <a:gd name="T20" fmla="*/ 38 w 83"/>
                <a:gd name="T21" fmla="*/ 132 h 200"/>
                <a:gd name="T22" fmla="*/ 23 w 83"/>
                <a:gd name="T23" fmla="*/ 190 h 200"/>
                <a:gd name="T24" fmla="*/ 19 w 83"/>
                <a:gd name="T25" fmla="*/ 190 h 200"/>
                <a:gd name="T26" fmla="*/ 8 w 83"/>
                <a:gd name="T27" fmla="*/ 197 h 200"/>
                <a:gd name="T28" fmla="*/ 3 w 83"/>
                <a:gd name="T29" fmla="*/ 194 h 200"/>
                <a:gd name="T30" fmla="*/ 9 w 83"/>
                <a:gd name="T31" fmla="*/ 188 h 200"/>
                <a:gd name="T32" fmla="*/ 10 w 83"/>
                <a:gd name="T33" fmla="*/ 181 h 200"/>
                <a:gd name="T34" fmla="*/ 24 w 83"/>
                <a:gd name="T35" fmla="*/ 135 h 200"/>
                <a:gd name="T36" fmla="*/ 27 w 83"/>
                <a:gd name="T37" fmla="*/ 112 h 200"/>
                <a:gd name="T38" fmla="*/ 25 w 83"/>
                <a:gd name="T39" fmla="*/ 105 h 200"/>
                <a:gd name="T40" fmla="*/ 25 w 83"/>
                <a:gd name="T41" fmla="*/ 98 h 200"/>
                <a:gd name="T42" fmla="*/ 23 w 83"/>
                <a:gd name="T43" fmla="*/ 75 h 200"/>
                <a:gd name="T44" fmla="*/ 23 w 83"/>
                <a:gd name="T45" fmla="*/ 61 h 200"/>
                <a:gd name="T46" fmla="*/ 18 w 83"/>
                <a:gd name="T47" fmla="*/ 52 h 200"/>
                <a:gd name="T48" fmla="*/ 23 w 83"/>
                <a:gd name="T49" fmla="*/ 43 h 200"/>
                <a:gd name="T50" fmla="*/ 27 w 83"/>
                <a:gd name="T51" fmla="*/ 32 h 200"/>
                <a:gd name="T52" fmla="*/ 31 w 83"/>
                <a:gd name="T53" fmla="*/ 29 h 200"/>
                <a:gd name="T54" fmla="*/ 31 w 83"/>
                <a:gd name="T55" fmla="*/ 27 h 200"/>
                <a:gd name="T56" fmla="*/ 32 w 83"/>
                <a:gd name="T57" fmla="*/ 25 h 200"/>
                <a:gd name="T58" fmla="*/ 30 w 83"/>
                <a:gd name="T59" fmla="*/ 25 h 200"/>
                <a:gd name="T60" fmla="*/ 31 w 83"/>
                <a:gd name="T61" fmla="*/ 24 h 200"/>
                <a:gd name="T62" fmla="*/ 31 w 83"/>
                <a:gd name="T63" fmla="*/ 23 h 200"/>
                <a:gd name="T64" fmla="*/ 33 w 83"/>
                <a:gd name="T65" fmla="*/ 21 h 200"/>
                <a:gd name="T66" fmla="*/ 32 w 83"/>
                <a:gd name="T67" fmla="*/ 20 h 200"/>
                <a:gd name="T68" fmla="*/ 36 w 83"/>
                <a:gd name="T69" fmla="*/ 18 h 200"/>
                <a:gd name="T70" fmla="*/ 42 w 83"/>
                <a:gd name="T71" fmla="*/ 4 h 200"/>
                <a:gd name="T72" fmla="*/ 57 w 83"/>
                <a:gd name="T73" fmla="*/ 4 h 200"/>
                <a:gd name="T74" fmla="*/ 66 w 83"/>
                <a:gd name="T75" fmla="*/ 19 h 200"/>
                <a:gd name="T76" fmla="*/ 65 w 83"/>
                <a:gd name="T77" fmla="*/ 29 h 200"/>
                <a:gd name="T78" fmla="*/ 69 w 83"/>
                <a:gd name="T79" fmla="*/ 31 h 200"/>
                <a:gd name="T80" fmla="*/ 68 w 83"/>
                <a:gd name="T81" fmla="*/ 34 h 200"/>
                <a:gd name="T82" fmla="*/ 75 w 83"/>
                <a:gd name="T83" fmla="*/ 42 h 200"/>
                <a:gd name="T84" fmla="*/ 74 w 83"/>
                <a:gd name="T85" fmla="*/ 44 h 200"/>
                <a:gd name="T86" fmla="*/ 78 w 83"/>
                <a:gd name="T87" fmla="*/ 46 h 200"/>
                <a:gd name="T88" fmla="*/ 72 w 83"/>
                <a:gd name="T89" fmla="*/ 48 h 200"/>
                <a:gd name="T90" fmla="*/ 72 w 83"/>
                <a:gd name="T91" fmla="*/ 55 h 200"/>
                <a:gd name="T92" fmla="*/ 76 w 83"/>
                <a:gd name="T93" fmla="*/ 65 h 200"/>
                <a:gd name="T94" fmla="*/ 69 w 83"/>
                <a:gd name="T95" fmla="*/ 73 h 200"/>
                <a:gd name="T96" fmla="*/ 78 w 83"/>
                <a:gd name="T97" fmla="*/ 107 h 200"/>
                <a:gd name="T98" fmla="*/ 79 w 83"/>
                <a:gd name="T99" fmla="*/ 115 h 200"/>
                <a:gd name="T100" fmla="*/ 75 w 83"/>
                <a:gd name="T101" fmla="*/ 117 h 200"/>
                <a:gd name="T102" fmla="*/ 74 w 83"/>
                <a:gd name="T103" fmla="*/ 117 h 200"/>
                <a:gd name="T104" fmla="*/ 73 w 83"/>
                <a:gd name="T105" fmla="*/ 116 h 200"/>
                <a:gd name="T106" fmla="*/ 72 w 83"/>
                <a:gd name="T107" fmla="*/ 141 h 200"/>
                <a:gd name="T108" fmla="*/ 31 w 83"/>
                <a:gd name="T109" fmla="*/ 80 h 200"/>
                <a:gd name="T110" fmla="*/ 30 w 83"/>
                <a:gd name="T111" fmla="*/ 96 h 200"/>
                <a:gd name="T112" fmla="*/ 32 w 83"/>
                <a:gd name="T113" fmla="*/ 70 h 200"/>
                <a:gd name="T114" fmla="*/ 31 w 83"/>
                <a:gd name="T115" fmla="*/ 80 h 2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3"/>
                <a:gd name="T175" fmla="*/ 0 h 200"/>
                <a:gd name="T176" fmla="*/ 83 w 83"/>
                <a:gd name="T177" fmla="*/ 200 h 2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3" h="200">
                  <a:moveTo>
                    <a:pt x="72" y="141"/>
                  </a:moveTo>
                  <a:cubicBezTo>
                    <a:pt x="72" y="154"/>
                    <a:pt x="73" y="189"/>
                    <a:pt x="72" y="189"/>
                  </a:cubicBezTo>
                  <a:cubicBezTo>
                    <a:pt x="70" y="189"/>
                    <a:pt x="69" y="189"/>
                    <a:pt x="69" y="191"/>
                  </a:cubicBezTo>
                  <a:cubicBezTo>
                    <a:pt x="69" y="192"/>
                    <a:pt x="71" y="195"/>
                    <a:pt x="71" y="198"/>
                  </a:cubicBezTo>
                  <a:cubicBezTo>
                    <a:pt x="70" y="200"/>
                    <a:pt x="64" y="199"/>
                    <a:pt x="63" y="195"/>
                  </a:cubicBezTo>
                  <a:cubicBezTo>
                    <a:pt x="61" y="192"/>
                    <a:pt x="61" y="190"/>
                    <a:pt x="60" y="190"/>
                  </a:cubicBezTo>
                  <a:cubicBezTo>
                    <a:pt x="59" y="189"/>
                    <a:pt x="59" y="188"/>
                    <a:pt x="59" y="186"/>
                  </a:cubicBezTo>
                  <a:cubicBezTo>
                    <a:pt x="59" y="183"/>
                    <a:pt x="58" y="128"/>
                    <a:pt x="56" y="122"/>
                  </a:cubicBezTo>
                  <a:cubicBezTo>
                    <a:pt x="54" y="115"/>
                    <a:pt x="53" y="108"/>
                    <a:pt x="52" y="108"/>
                  </a:cubicBezTo>
                  <a:cubicBezTo>
                    <a:pt x="51" y="108"/>
                    <a:pt x="50" y="108"/>
                    <a:pt x="47" y="114"/>
                  </a:cubicBezTo>
                  <a:cubicBezTo>
                    <a:pt x="45" y="119"/>
                    <a:pt x="40" y="125"/>
                    <a:pt x="38" y="132"/>
                  </a:cubicBezTo>
                  <a:cubicBezTo>
                    <a:pt x="37" y="140"/>
                    <a:pt x="26" y="190"/>
                    <a:pt x="23" y="190"/>
                  </a:cubicBezTo>
                  <a:cubicBezTo>
                    <a:pt x="21" y="191"/>
                    <a:pt x="19" y="189"/>
                    <a:pt x="19" y="190"/>
                  </a:cubicBezTo>
                  <a:cubicBezTo>
                    <a:pt x="19" y="192"/>
                    <a:pt x="11" y="195"/>
                    <a:pt x="8" y="197"/>
                  </a:cubicBezTo>
                  <a:cubicBezTo>
                    <a:pt x="5" y="198"/>
                    <a:pt x="0" y="198"/>
                    <a:pt x="3" y="194"/>
                  </a:cubicBezTo>
                  <a:cubicBezTo>
                    <a:pt x="6" y="191"/>
                    <a:pt x="10" y="188"/>
                    <a:pt x="9" y="188"/>
                  </a:cubicBezTo>
                  <a:cubicBezTo>
                    <a:pt x="7" y="187"/>
                    <a:pt x="9" y="184"/>
                    <a:pt x="10" y="181"/>
                  </a:cubicBezTo>
                  <a:cubicBezTo>
                    <a:pt x="11" y="178"/>
                    <a:pt x="21" y="146"/>
                    <a:pt x="24" y="135"/>
                  </a:cubicBezTo>
                  <a:cubicBezTo>
                    <a:pt x="26" y="123"/>
                    <a:pt x="28" y="114"/>
                    <a:pt x="27" y="112"/>
                  </a:cubicBezTo>
                  <a:cubicBezTo>
                    <a:pt x="26" y="110"/>
                    <a:pt x="25" y="107"/>
                    <a:pt x="25" y="105"/>
                  </a:cubicBezTo>
                  <a:cubicBezTo>
                    <a:pt x="26" y="104"/>
                    <a:pt x="26" y="101"/>
                    <a:pt x="25" y="98"/>
                  </a:cubicBezTo>
                  <a:cubicBezTo>
                    <a:pt x="25" y="94"/>
                    <a:pt x="22" y="78"/>
                    <a:pt x="23" y="75"/>
                  </a:cubicBezTo>
                  <a:cubicBezTo>
                    <a:pt x="23" y="71"/>
                    <a:pt x="24" y="62"/>
                    <a:pt x="23" y="61"/>
                  </a:cubicBezTo>
                  <a:cubicBezTo>
                    <a:pt x="23" y="60"/>
                    <a:pt x="17" y="53"/>
                    <a:pt x="18" y="52"/>
                  </a:cubicBezTo>
                  <a:cubicBezTo>
                    <a:pt x="20" y="50"/>
                    <a:pt x="22" y="47"/>
                    <a:pt x="23" y="43"/>
                  </a:cubicBezTo>
                  <a:cubicBezTo>
                    <a:pt x="24" y="38"/>
                    <a:pt x="25" y="33"/>
                    <a:pt x="27" y="32"/>
                  </a:cubicBezTo>
                  <a:cubicBezTo>
                    <a:pt x="29" y="31"/>
                    <a:pt x="32" y="29"/>
                    <a:pt x="31" y="29"/>
                  </a:cubicBezTo>
                  <a:cubicBezTo>
                    <a:pt x="30" y="28"/>
                    <a:pt x="30" y="27"/>
                    <a:pt x="31" y="27"/>
                  </a:cubicBezTo>
                  <a:cubicBezTo>
                    <a:pt x="31" y="27"/>
                    <a:pt x="33" y="25"/>
                    <a:pt x="32" y="25"/>
                  </a:cubicBezTo>
                  <a:cubicBezTo>
                    <a:pt x="30" y="26"/>
                    <a:pt x="29" y="25"/>
                    <a:pt x="30" y="25"/>
                  </a:cubicBezTo>
                  <a:cubicBezTo>
                    <a:pt x="31" y="25"/>
                    <a:pt x="32" y="24"/>
                    <a:pt x="31" y="24"/>
                  </a:cubicBezTo>
                  <a:cubicBezTo>
                    <a:pt x="30" y="24"/>
                    <a:pt x="30" y="23"/>
                    <a:pt x="31" y="23"/>
                  </a:cubicBezTo>
                  <a:cubicBezTo>
                    <a:pt x="32" y="23"/>
                    <a:pt x="34" y="21"/>
                    <a:pt x="33" y="21"/>
                  </a:cubicBezTo>
                  <a:cubicBezTo>
                    <a:pt x="32" y="21"/>
                    <a:pt x="30" y="20"/>
                    <a:pt x="32" y="20"/>
                  </a:cubicBezTo>
                  <a:cubicBezTo>
                    <a:pt x="34" y="20"/>
                    <a:pt x="36" y="21"/>
                    <a:pt x="36" y="18"/>
                  </a:cubicBezTo>
                  <a:cubicBezTo>
                    <a:pt x="35" y="15"/>
                    <a:pt x="37" y="6"/>
                    <a:pt x="42" y="4"/>
                  </a:cubicBezTo>
                  <a:cubicBezTo>
                    <a:pt x="47" y="1"/>
                    <a:pt x="53" y="0"/>
                    <a:pt x="57" y="4"/>
                  </a:cubicBezTo>
                  <a:cubicBezTo>
                    <a:pt x="61" y="8"/>
                    <a:pt x="67" y="17"/>
                    <a:pt x="66" y="19"/>
                  </a:cubicBezTo>
                  <a:cubicBezTo>
                    <a:pt x="65" y="22"/>
                    <a:pt x="63" y="27"/>
                    <a:pt x="65" y="29"/>
                  </a:cubicBezTo>
                  <a:cubicBezTo>
                    <a:pt x="67" y="31"/>
                    <a:pt x="73" y="32"/>
                    <a:pt x="69" y="31"/>
                  </a:cubicBezTo>
                  <a:cubicBezTo>
                    <a:pt x="65" y="30"/>
                    <a:pt x="63" y="30"/>
                    <a:pt x="68" y="34"/>
                  </a:cubicBezTo>
                  <a:cubicBezTo>
                    <a:pt x="72" y="38"/>
                    <a:pt x="78" y="42"/>
                    <a:pt x="75" y="42"/>
                  </a:cubicBezTo>
                  <a:cubicBezTo>
                    <a:pt x="73" y="42"/>
                    <a:pt x="72" y="42"/>
                    <a:pt x="74" y="44"/>
                  </a:cubicBezTo>
                  <a:cubicBezTo>
                    <a:pt x="77" y="45"/>
                    <a:pt x="83" y="48"/>
                    <a:pt x="78" y="46"/>
                  </a:cubicBezTo>
                  <a:cubicBezTo>
                    <a:pt x="73" y="44"/>
                    <a:pt x="71" y="44"/>
                    <a:pt x="72" y="48"/>
                  </a:cubicBezTo>
                  <a:cubicBezTo>
                    <a:pt x="73" y="51"/>
                    <a:pt x="72" y="52"/>
                    <a:pt x="72" y="55"/>
                  </a:cubicBezTo>
                  <a:cubicBezTo>
                    <a:pt x="72" y="58"/>
                    <a:pt x="78" y="63"/>
                    <a:pt x="76" y="65"/>
                  </a:cubicBezTo>
                  <a:cubicBezTo>
                    <a:pt x="74" y="67"/>
                    <a:pt x="67" y="70"/>
                    <a:pt x="69" y="73"/>
                  </a:cubicBezTo>
                  <a:cubicBezTo>
                    <a:pt x="70" y="77"/>
                    <a:pt x="76" y="103"/>
                    <a:pt x="78" y="107"/>
                  </a:cubicBezTo>
                  <a:cubicBezTo>
                    <a:pt x="80" y="110"/>
                    <a:pt x="80" y="115"/>
                    <a:pt x="79" y="115"/>
                  </a:cubicBezTo>
                  <a:cubicBezTo>
                    <a:pt x="79" y="116"/>
                    <a:pt x="76" y="118"/>
                    <a:pt x="75" y="117"/>
                  </a:cubicBezTo>
                  <a:cubicBezTo>
                    <a:pt x="75" y="117"/>
                    <a:pt x="74" y="117"/>
                    <a:pt x="74" y="117"/>
                  </a:cubicBezTo>
                  <a:cubicBezTo>
                    <a:pt x="74" y="117"/>
                    <a:pt x="73" y="115"/>
                    <a:pt x="73" y="116"/>
                  </a:cubicBezTo>
                  <a:cubicBezTo>
                    <a:pt x="73" y="117"/>
                    <a:pt x="72" y="141"/>
                    <a:pt x="72" y="141"/>
                  </a:cubicBezTo>
                  <a:close/>
                  <a:moveTo>
                    <a:pt x="31" y="80"/>
                  </a:moveTo>
                  <a:cubicBezTo>
                    <a:pt x="30" y="83"/>
                    <a:pt x="29" y="100"/>
                    <a:pt x="30" y="96"/>
                  </a:cubicBezTo>
                  <a:cubicBezTo>
                    <a:pt x="32" y="92"/>
                    <a:pt x="33" y="68"/>
                    <a:pt x="32" y="70"/>
                  </a:cubicBezTo>
                  <a:cubicBezTo>
                    <a:pt x="31" y="73"/>
                    <a:pt x="31" y="80"/>
                    <a:pt x="31" y="8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39" name="Freeform 34"/>
            <p:cNvSpPr>
              <a:spLocks noChangeAspect="1"/>
            </p:cNvSpPr>
            <p:nvPr/>
          </p:nvSpPr>
          <p:spPr bwMode="gray">
            <a:xfrm>
              <a:off x="12130088" y="3240088"/>
              <a:ext cx="41275" cy="74613"/>
            </a:xfrm>
            <a:custGeom>
              <a:avLst/>
              <a:gdLst>
                <a:gd name="T0" fmla="*/ 4 w 11"/>
                <a:gd name="T1" fmla="*/ 20 h 20"/>
                <a:gd name="T2" fmla="*/ 9 w 11"/>
                <a:gd name="T3" fmla="*/ 0 h 20"/>
                <a:gd name="T4" fmla="*/ 2 w 11"/>
                <a:gd name="T5" fmla="*/ 1 h 20"/>
                <a:gd name="T6" fmla="*/ 4 w 11"/>
                <a:gd name="T7" fmla="*/ 20 h 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20"/>
                <a:gd name="T14" fmla="*/ 11 w 11"/>
                <a:gd name="T15" fmla="*/ 20 h 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20">
                  <a:moveTo>
                    <a:pt x="4" y="20"/>
                  </a:moveTo>
                  <a:cubicBezTo>
                    <a:pt x="4" y="20"/>
                    <a:pt x="11" y="0"/>
                    <a:pt x="9" y="0"/>
                  </a:cubicBezTo>
                  <a:cubicBezTo>
                    <a:pt x="7" y="1"/>
                    <a:pt x="4" y="2"/>
                    <a:pt x="2" y="1"/>
                  </a:cubicBezTo>
                  <a:cubicBezTo>
                    <a:pt x="0" y="0"/>
                    <a:pt x="4" y="20"/>
                    <a:pt x="4" y="20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40" name="Oval 35"/>
            <p:cNvSpPr>
              <a:spLocks noChangeAspect="1" noChangeArrowheads="1"/>
            </p:cNvSpPr>
            <p:nvPr/>
          </p:nvSpPr>
          <p:spPr bwMode="gray">
            <a:xfrm>
              <a:off x="12144375" y="3330575"/>
              <a:ext cx="7938" cy="3175"/>
            </a:xfrm>
            <a:prstGeom prst="ellipse">
              <a:avLst/>
            </a:pr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1800" dirty="0">
                <a:latin typeface="Arial" pitchFamily="34" charset="0"/>
              </a:endParaRPr>
            </a:p>
          </p:txBody>
        </p:sp>
        <p:sp>
          <p:nvSpPr>
            <p:cNvPr id="141" name="Freeform 36"/>
            <p:cNvSpPr>
              <a:spLocks noChangeAspect="1"/>
            </p:cNvSpPr>
            <p:nvPr/>
          </p:nvSpPr>
          <p:spPr bwMode="gray">
            <a:xfrm>
              <a:off x="12072938" y="3375025"/>
              <a:ext cx="153988" cy="68263"/>
            </a:xfrm>
            <a:custGeom>
              <a:avLst/>
              <a:gdLst>
                <a:gd name="T0" fmla="*/ 36 w 41"/>
                <a:gd name="T1" fmla="*/ 1 h 18"/>
                <a:gd name="T2" fmla="*/ 24 w 41"/>
                <a:gd name="T3" fmla="*/ 4 h 18"/>
                <a:gd name="T4" fmla="*/ 23 w 41"/>
                <a:gd name="T5" fmla="*/ 4 h 18"/>
                <a:gd name="T6" fmla="*/ 20 w 41"/>
                <a:gd name="T7" fmla="*/ 3 h 18"/>
                <a:gd name="T8" fmla="*/ 18 w 41"/>
                <a:gd name="T9" fmla="*/ 3 h 18"/>
                <a:gd name="T10" fmla="*/ 15 w 41"/>
                <a:gd name="T11" fmla="*/ 5 h 18"/>
                <a:gd name="T12" fmla="*/ 14 w 41"/>
                <a:gd name="T13" fmla="*/ 5 h 18"/>
                <a:gd name="T14" fmla="*/ 1 w 41"/>
                <a:gd name="T15" fmla="*/ 1 h 18"/>
                <a:gd name="T16" fmla="*/ 0 w 41"/>
                <a:gd name="T17" fmla="*/ 12 h 18"/>
                <a:gd name="T18" fmla="*/ 15 w 41"/>
                <a:gd name="T19" fmla="*/ 16 h 18"/>
                <a:gd name="T20" fmla="*/ 18 w 41"/>
                <a:gd name="T21" fmla="*/ 18 h 18"/>
                <a:gd name="T22" fmla="*/ 20 w 41"/>
                <a:gd name="T23" fmla="*/ 18 h 18"/>
                <a:gd name="T24" fmla="*/ 24 w 41"/>
                <a:gd name="T25" fmla="*/ 15 h 18"/>
                <a:gd name="T26" fmla="*/ 39 w 41"/>
                <a:gd name="T27" fmla="*/ 10 h 18"/>
                <a:gd name="T28" fmla="*/ 36 w 41"/>
                <a:gd name="T29" fmla="*/ 1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1"/>
                <a:gd name="T46" fmla="*/ 0 h 18"/>
                <a:gd name="T47" fmla="*/ 41 w 41"/>
                <a:gd name="T48" fmla="*/ 18 h 1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1" h="18">
                  <a:moveTo>
                    <a:pt x="36" y="1"/>
                  </a:moveTo>
                  <a:cubicBezTo>
                    <a:pt x="35" y="0"/>
                    <a:pt x="28" y="3"/>
                    <a:pt x="24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3"/>
                    <a:pt x="22" y="3"/>
                    <a:pt x="2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5" y="3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ubicBezTo>
                    <a:pt x="8" y="5"/>
                    <a:pt x="2" y="2"/>
                    <a:pt x="1" y="1"/>
                  </a:cubicBezTo>
                  <a:cubicBezTo>
                    <a:pt x="0" y="0"/>
                    <a:pt x="0" y="10"/>
                    <a:pt x="0" y="12"/>
                  </a:cubicBezTo>
                  <a:cubicBezTo>
                    <a:pt x="0" y="13"/>
                    <a:pt x="9" y="15"/>
                    <a:pt x="15" y="16"/>
                  </a:cubicBezTo>
                  <a:cubicBezTo>
                    <a:pt x="15" y="17"/>
                    <a:pt x="17" y="18"/>
                    <a:pt x="18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2" y="18"/>
                    <a:pt x="24" y="17"/>
                    <a:pt x="24" y="15"/>
                  </a:cubicBezTo>
                  <a:cubicBezTo>
                    <a:pt x="31" y="14"/>
                    <a:pt x="38" y="11"/>
                    <a:pt x="39" y="10"/>
                  </a:cubicBezTo>
                  <a:cubicBezTo>
                    <a:pt x="41" y="10"/>
                    <a:pt x="36" y="2"/>
                    <a:pt x="36" y="1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43" name="Freeform 77"/>
          <p:cNvSpPr>
            <a:spLocks noEditPoints="1"/>
          </p:cNvSpPr>
          <p:nvPr>
            <p:custDataLst>
              <p:tags r:id="rId13"/>
            </p:custDataLst>
          </p:nvPr>
        </p:nvSpPr>
        <p:spPr bwMode="gray">
          <a:xfrm flipH="1">
            <a:off x="5692146" y="1704373"/>
            <a:ext cx="107346" cy="454942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45" name="Freeform 94"/>
          <p:cNvSpPr>
            <a:spLocks noEditPoints="1"/>
          </p:cNvSpPr>
          <p:nvPr>
            <p:custDataLst>
              <p:tags r:id="rId14"/>
            </p:custDataLst>
          </p:nvPr>
        </p:nvSpPr>
        <p:spPr bwMode="gray">
          <a:xfrm>
            <a:off x="8247783" y="1500853"/>
            <a:ext cx="106379" cy="451824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81" name="Freeform 79"/>
          <p:cNvSpPr>
            <a:spLocks noEditPoints="1"/>
          </p:cNvSpPr>
          <p:nvPr>
            <p:custDataLst>
              <p:tags r:id="rId15"/>
            </p:custDataLst>
          </p:nvPr>
        </p:nvSpPr>
        <p:spPr bwMode="gray">
          <a:xfrm>
            <a:off x="1571178" y="2055054"/>
            <a:ext cx="176212" cy="584200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82" name="Freeform 96"/>
          <p:cNvSpPr>
            <a:spLocks noChangeAspect="1" noEditPoints="1"/>
          </p:cNvSpPr>
          <p:nvPr>
            <p:custDataLst>
              <p:tags r:id="rId16"/>
            </p:custDataLst>
          </p:nvPr>
        </p:nvSpPr>
        <p:spPr bwMode="gray">
          <a:xfrm flipH="1">
            <a:off x="1794623" y="1952836"/>
            <a:ext cx="149225" cy="465137"/>
          </a:xfrm>
          <a:custGeom>
            <a:avLst/>
            <a:gdLst>
              <a:gd name="T0" fmla="*/ 270 w 306"/>
              <a:gd name="T1" fmla="*/ 314 h 957"/>
              <a:gd name="T2" fmla="*/ 250 w 306"/>
              <a:gd name="T3" fmla="*/ 172 h 957"/>
              <a:gd name="T4" fmla="*/ 224 w 306"/>
              <a:gd name="T5" fmla="*/ 147 h 957"/>
              <a:gd name="T6" fmla="*/ 226 w 306"/>
              <a:gd name="T7" fmla="*/ 102 h 957"/>
              <a:gd name="T8" fmla="*/ 209 w 306"/>
              <a:gd name="T9" fmla="*/ 49 h 957"/>
              <a:gd name="T10" fmla="*/ 191 w 306"/>
              <a:gd name="T11" fmla="*/ 6 h 957"/>
              <a:gd name="T12" fmla="*/ 138 w 306"/>
              <a:gd name="T13" fmla="*/ 8 h 957"/>
              <a:gd name="T14" fmla="*/ 116 w 306"/>
              <a:gd name="T15" fmla="*/ 41 h 957"/>
              <a:gd name="T16" fmla="*/ 101 w 306"/>
              <a:gd name="T17" fmla="*/ 79 h 957"/>
              <a:gd name="T18" fmla="*/ 93 w 306"/>
              <a:gd name="T19" fmla="*/ 113 h 957"/>
              <a:gd name="T20" fmla="*/ 95 w 306"/>
              <a:gd name="T21" fmla="*/ 118 h 957"/>
              <a:gd name="T22" fmla="*/ 97 w 306"/>
              <a:gd name="T23" fmla="*/ 124 h 957"/>
              <a:gd name="T24" fmla="*/ 87 w 306"/>
              <a:gd name="T25" fmla="*/ 154 h 957"/>
              <a:gd name="T26" fmla="*/ 55 w 306"/>
              <a:gd name="T27" fmla="*/ 189 h 957"/>
              <a:gd name="T28" fmla="*/ 53 w 306"/>
              <a:gd name="T29" fmla="*/ 427 h 957"/>
              <a:gd name="T30" fmla="*/ 53 w 306"/>
              <a:gd name="T31" fmla="*/ 488 h 957"/>
              <a:gd name="T32" fmla="*/ 5 w 306"/>
              <a:gd name="T33" fmla="*/ 501 h 957"/>
              <a:gd name="T34" fmla="*/ 8 w 306"/>
              <a:gd name="T35" fmla="*/ 684 h 957"/>
              <a:gd name="T36" fmla="*/ 87 w 306"/>
              <a:gd name="T37" fmla="*/ 838 h 957"/>
              <a:gd name="T38" fmla="*/ 76 w 306"/>
              <a:gd name="T39" fmla="*/ 939 h 957"/>
              <a:gd name="T40" fmla="*/ 94 w 306"/>
              <a:gd name="T41" fmla="*/ 956 h 957"/>
              <a:gd name="T42" fmla="*/ 102 w 306"/>
              <a:gd name="T43" fmla="*/ 870 h 957"/>
              <a:gd name="T44" fmla="*/ 130 w 306"/>
              <a:gd name="T45" fmla="*/ 707 h 957"/>
              <a:gd name="T46" fmla="*/ 183 w 306"/>
              <a:gd name="T47" fmla="*/ 639 h 957"/>
              <a:gd name="T48" fmla="*/ 192 w 306"/>
              <a:gd name="T49" fmla="*/ 741 h 957"/>
              <a:gd name="T50" fmla="*/ 202 w 306"/>
              <a:gd name="T51" fmla="*/ 885 h 957"/>
              <a:gd name="T52" fmla="*/ 211 w 306"/>
              <a:gd name="T53" fmla="*/ 910 h 957"/>
              <a:gd name="T54" fmla="*/ 222 w 306"/>
              <a:gd name="T55" fmla="*/ 941 h 957"/>
              <a:gd name="T56" fmla="*/ 258 w 306"/>
              <a:gd name="T57" fmla="*/ 947 h 957"/>
              <a:gd name="T58" fmla="*/ 227 w 306"/>
              <a:gd name="T59" fmla="*/ 873 h 957"/>
              <a:gd name="T60" fmla="*/ 227 w 306"/>
              <a:gd name="T61" fmla="*/ 657 h 957"/>
              <a:gd name="T62" fmla="*/ 245 w 306"/>
              <a:gd name="T63" fmla="*/ 630 h 957"/>
              <a:gd name="T64" fmla="*/ 258 w 306"/>
              <a:gd name="T65" fmla="*/ 441 h 957"/>
              <a:gd name="T66" fmla="*/ 281 w 306"/>
              <a:gd name="T67" fmla="*/ 481 h 957"/>
              <a:gd name="T68" fmla="*/ 286 w 306"/>
              <a:gd name="T69" fmla="*/ 492 h 957"/>
              <a:gd name="T70" fmla="*/ 295 w 306"/>
              <a:gd name="T71" fmla="*/ 495 h 957"/>
              <a:gd name="T72" fmla="*/ 305 w 306"/>
              <a:gd name="T73" fmla="*/ 497 h 957"/>
              <a:gd name="T74" fmla="*/ 63 w 306"/>
              <a:gd name="T75" fmla="*/ 500 h 957"/>
              <a:gd name="T76" fmla="*/ 74 w 306"/>
              <a:gd name="T77" fmla="*/ 495 h 957"/>
              <a:gd name="T78" fmla="*/ 81 w 306"/>
              <a:gd name="T79" fmla="*/ 479 h 957"/>
              <a:gd name="T80" fmla="*/ 79 w 306"/>
              <a:gd name="T81" fmla="*/ 455 h 957"/>
              <a:gd name="T82" fmla="*/ 87 w 306"/>
              <a:gd name="T83" fmla="*/ 442 h 957"/>
              <a:gd name="T84" fmla="*/ 99 w 306"/>
              <a:gd name="T85" fmla="*/ 126 h 957"/>
              <a:gd name="T86" fmla="*/ 213 w 306"/>
              <a:gd name="T87" fmla="*/ 188 h 957"/>
              <a:gd name="T88" fmla="*/ 187 w 306"/>
              <a:gd name="T89" fmla="*/ 251 h 957"/>
              <a:gd name="T90" fmla="*/ 189 w 306"/>
              <a:gd name="T91" fmla="*/ 382 h 957"/>
              <a:gd name="T92" fmla="*/ 172 w 306"/>
              <a:gd name="T93" fmla="*/ 391 h 957"/>
              <a:gd name="T94" fmla="*/ 146 w 306"/>
              <a:gd name="T95" fmla="*/ 374 h 957"/>
              <a:gd name="T96" fmla="*/ 151 w 306"/>
              <a:gd name="T97" fmla="*/ 232 h 957"/>
              <a:gd name="T98" fmla="*/ 133 w 306"/>
              <a:gd name="T99" fmla="*/ 184 h 957"/>
              <a:gd name="T100" fmla="*/ 122 w 306"/>
              <a:gd name="T101" fmla="*/ 159 h 957"/>
              <a:gd name="T102" fmla="*/ 131 w 306"/>
              <a:gd name="T103" fmla="*/ 151 h 957"/>
              <a:gd name="T104" fmla="*/ 167 w 306"/>
              <a:gd name="T105" fmla="*/ 195 h 957"/>
              <a:gd name="T106" fmla="*/ 190 w 306"/>
              <a:gd name="T107" fmla="*/ 158 h 957"/>
              <a:gd name="T108" fmla="*/ 218 w 306"/>
              <a:gd name="T109" fmla="*/ 87 h 957"/>
              <a:gd name="T110" fmla="*/ 225 w 306"/>
              <a:gd name="T111" fmla="*/ 104 h 957"/>
              <a:gd name="T112" fmla="*/ 226 w 306"/>
              <a:gd name="T113" fmla="*/ 119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6" h="957">
                <a:moveTo>
                  <a:pt x="304" y="482"/>
                </a:moveTo>
                <a:cubicBezTo>
                  <a:pt x="302" y="477"/>
                  <a:pt x="302" y="477"/>
                  <a:pt x="302" y="477"/>
                </a:cubicBezTo>
                <a:cubicBezTo>
                  <a:pt x="293" y="461"/>
                  <a:pt x="293" y="461"/>
                  <a:pt x="293" y="461"/>
                </a:cubicBezTo>
                <a:cubicBezTo>
                  <a:pt x="288" y="453"/>
                  <a:pt x="288" y="453"/>
                  <a:pt x="288" y="453"/>
                </a:cubicBezTo>
                <a:cubicBezTo>
                  <a:pt x="286" y="446"/>
                  <a:pt x="286" y="446"/>
                  <a:pt x="286" y="446"/>
                </a:cubicBezTo>
                <a:cubicBezTo>
                  <a:pt x="275" y="355"/>
                  <a:pt x="275" y="355"/>
                  <a:pt x="275" y="355"/>
                </a:cubicBezTo>
                <a:cubicBezTo>
                  <a:pt x="270" y="314"/>
                  <a:pt x="270" y="314"/>
                  <a:pt x="270" y="314"/>
                </a:cubicBezTo>
                <a:cubicBezTo>
                  <a:pt x="266" y="271"/>
                  <a:pt x="266" y="271"/>
                  <a:pt x="266" y="271"/>
                </a:cubicBezTo>
                <a:cubicBezTo>
                  <a:pt x="262" y="232"/>
                  <a:pt x="262" y="232"/>
                  <a:pt x="262" y="232"/>
                </a:cubicBezTo>
                <a:cubicBezTo>
                  <a:pt x="258" y="204"/>
                  <a:pt x="258" y="204"/>
                  <a:pt x="258" y="204"/>
                </a:cubicBezTo>
                <a:cubicBezTo>
                  <a:pt x="255" y="189"/>
                  <a:pt x="255" y="189"/>
                  <a:pt x="255" y="189"/>
                </a:cubicBezTo>
                <a:cubicBezTo>
                  <a:pt x="254" y="183"/>
                  <a:pt x="254" y="183"/>
                  <a:pt x="254" y="183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0" y="172"/>
                  <a:pt x="250" y="172"/>
                  <a:pt x="250" y="172"/>
                </a:cubicBezTo>
                <a:cubicBezTo>
                  <a:pt x="247" y="167"/>
                  <a:pt x="247" y="167"/>
                  <a:pt x="247" y="167"/>
                </a:cubicBezTo>
                <a:cubicBezTo>
                  <a:pt x="241" y="163"/>
                  <a:pt x="241" y="163"/>
                  <a:pt x="241" y="163"/>
                </a:cubicBezTo>
                <a:cubicBezTo>
                  <a:pt x="233" y="158"/>
                  <a:pt x="233" y="158"/>
                  <a:pt x="233" y="158"/>
                </a:cubicBezTo>
                <a:cubicBezTo>
                  <a:pt x="228" y="156"/>
                  <a:pt x="228" y="156"/>
                  <a:pt x="228" y="156"/>
                </a:cubicBezTo>
                <a:cubicBezTo>
                  <a:pt x="227" y="155"/>
                  <a:pt x="227" y="155"/>
                  <a:pt x="227" y="155"/>
                </a:cubicBezTo>
                <a:cubicBezTo>
                  <a:pt x="225" y="151"/>
                  <a:pt x="225" y="151"/>
                  <a:pt x="225" y="151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224" y="142"/>
                  <a:pt x="224" y="142"/>
                  <a:pt x="224" y="142"/>
                </a:cubicBezTo>
                <a:cubicBezTo>
                  <a:pt x="225" y="135"/>
                  <a:pt x="225" y="135"/>
                  <a:pt x="225" y="135"/>
                </a:cubicBezTo>
                <a:cubicBezTo>
                  <a:pt x="227" y="131"/>
                  <a:pt x="227" y="131"/>
                  <a:pt x="227" y="131"/>
                </a:cubicBezTo>
                <a:cubicBezTo>
                  <a:pt x="229" y="127"/>
                  <a:pt x="229" y="127"/>
                  <a:pt x="229" y="127"/>
                </a:cubicBezTo>
                <a:cubicBezTo>
                  <a:pt x="230" y="118"/>
                  <a:pt x="230" y="118"/>
                  <a:pt x="230" y="118"/>
                </a:cubicBezTo>
                <a:cubicBezTo>
                  <a:pt x="229" y="110"/>
                  <a:pt x="229" y="110"/>
                  <a:pt x="229" y="110"/>
                </a:cubicBezTo>
                <a:cubicBezTo>
                  <a:pt x="226" y="102"/>
                  <a:pt x="226" y="102"/>
                  <a:pt x="226" y="102"/>
                </a:cubicBezTo>
                <a:cubicBezTo>
                  <a:pt x="226" y="97"/>
                  <a:pt x="226" y="97"/>
                  <a:pt x="226" y="97"/>
                </a:cubicBezTo>
                <a:cubicBezTo>
                  <a:pt x="225" y="91"/>
                  <a:pt x="225" y="91"/>
                  <a:pt x="225" y="91"/>
                </a:cubicBezTo>
                <a:cubicBezTo>
                  <a:pt x="222" y="84"/>
                  <a:pt x="222" y="84"/>
                  <a:pt x="222" y="84"/>
                </a:cubicBezTo>
                <a:cubicBezTo>
                  <a:pt x="217" y="75"/>
                  <a:pt x="217" y="75"/>
                  <a:pt x="217" y="75"/>
                </a:cubicBezTo>
                <a:cubicBezTo>
                  <a:pt x="214" y="69"/>
                  <a:pt x="214" y="69"/>
                  <a:pt x="214" y="69"/>
                </a:cubicBezTo>
                <a:cubicBezTo>
                  <a:pt x="212" y="63"/>
                  <a:pt x="212" y="63"/>
                  <a:pt x="212" y="63"/>
                </a:cubicBezTo>
                <a:cubicBezTo>
                  <a:pt x="209" y="49"/>
                  <a:pt x="209" y="49"/>
                  <a:pt x="209" y="49"/>
                </a:cubicBezTo>
                <a:cubicBezTo>
                  <a:pt x="208" y="34"/>
                  <a:pt x="208" y="34"/>
                  <a:pt x="208" y="34"/>
                </a:cubicBezTo>
                <a:cubicBezTo>
                  <a:pt x="207" y="29"/>
                  <a:pt x="207" y="29"/>
                  <a:pt x="207" y="29"/>
                </a:cubicBezTo>
                <a:cubicBezTo>
                  <a:pt x="206" y="25"/>
                  <a:pt x="206" y="25"/>
                  <a:pt x="206" y="25"/>
                </a:cubicBezTo>
                <a:cubicBezTo>
                  <a:pt x="202" y="18"/>
                  <a:pt x="202" y="18"/>
                  <a:pt x="202" y="18"/>
                </a:cubicBezTo>
                <a:cubicBezTo>
                  <a:pt x="199" y="13"/>
                  <a:pt x="199" y="13"/>
                  <a:pt x="199" y="13"/>
                </a:cubicBezTo>
                <a:cubicBezTo>
                  <a:pt x="195" y="9"/>
                  <a:pt x="195" y="9"/>
                  <a:pt x="195" y="9"/>
                </a:cubicBezTo>
                <a:cubicBezTo>
                  <a:pt x="191" y="6"/>
                  <a:pt x="191" y="6"/>
                  <a:pt x="191" y="6"/>
                </a:cubicBezTo>
                <a:cubicBezTo>
                  <a:pt x="185" y="3"/>
                  <a:pt x="185" y="3"/>
                  <a:pt x="185" y="3"/>
                </a:cubicBezTo>
                <a:cubicBezTo>
                  <a:pt x="179" y="1"/>
                  <a:pt x="179" y="1"/>
                  <a:pt x="179" y="1"/>
                </a:cubicBezTo>
                <a:cubicBezTo>
                  <a:pt x="172" y="0"/>
                  <a:pt x="172" y="0"/>
                  <a:pt x="172" y="0"/>
                </a:cubicBezTo>
                <a:cubicBezTo>
                  <a:pt x="165" y="0"/>
                  <a:pt x="165" y="0"/>
                  <a:pt x="165" y="0"/>
                </a:cubicBezTo>
                <a:cubicBezTo>
                  <a:pt x="156" y="1"/>
                  <a:pt x="156" y="1"/>
                  <a:pt x="156" y="1"/>
                </a:cubicBezTo>
                <a:cubicBezTo>
                  <a:pt x="147" y="4"/>
                  <a:pt x="147" y="4"/>
                  <a:pt x="147" y="4"/>
                </a:cubicBezTo>
                <a:cubicBezTo>
                  <a:pt x="138" y="8"/>
                  <a:pt x="138" y="8"/>
                  <a:pt x="138" y="8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0" y="14"/>
                  <a:pt x="130" y="14"/>
                  <a:pt x="130" y="14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5" y="49"/>
                  <a:pt x="115" y="49"/>
                  <a:pt x="115" y="49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06" y="72"/>
                  <a:pt x="106" y="72"/>
                  <a:pt x="106" y="72"/>
                </a:cubicBezTo>
                <a:cubicBezTo>
                  <a:pt x="103" y="76"/>
                  <a:pt x="103" y="76"/>
                  <a:pt x="103" y="76"/>
                </a:cubicBezTo>
                <a:cubicBezTo>
                  <a:pt x="100" y="79"/>
                  <a:pt x="100" y="79"/>
                  <a:pt x="100" y="79"/>
                </a:cubicBezTo>
                <a:cubicBezTo>
                  <a:pt x="101" y="79"/>
                  <a:pt x="101" y="79"/>
                  <a:pt x="101" y="79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8" y="73"/>
                  <a:pt x="108" y="73"/>
                  <a:pt x="108" y="73"/>
                </a:cubicBezTo>
                <a:cubicBezTo>
                  <a:pt x="112" y="65"/>
                  <a:pt x="112" y="65"/>
                  <a:pt x="112" y="65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00" y="92"/>
                  <a:pt x="100" y="92"/>
                  <a:pt x="100" y="92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93" y="113"/>
                  <a:pt x="93" y="113"/>
                  <a:pt x="93" y="113"/>
                </a:cubicBezTo>
                <a:cubicBezTo>
                  <a:pt x="92" y="118"/>
                  <a:pt x="92" y="118"/>
                  <a:pt x="92" y="118"/>
                </a:cubicBezTo>
                <a:cubicBezTo>
                  <a:pt x="92" y="124"/>
                  <a:pt x="92" y="124"/>
                  <a:pt x="92" y="124"/>
                </a:cubicBezTo>
                <a:cubicBezTo>
                  <a:pt x="93" y="131"/>
                  <a:pt x="93" y="131"/>
                  <a:pt x="93" y="131"/>
                </a:cubicBezTo>
                <a:cubicBezTo>
                  <a:pt x="95" y="137"/>
                  <a:pt x="95" y="137"/>
                  <a:pt x="95" y="137"/>
                </a:cubicBezTo>
                <a:cubicBezTo>
                  <a:pt x="95" y="133"/>
                  <a:pt x="95" y="133"/>
                  <a:pt x="95" y="133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95" y="118"/>
                  <a:pt x="95" y="118"/>
                  <a:pt x="95" y="118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99" y="104"/>
                  <a:pt x="99" y="104"/>
                  <a:pt x="99" y="104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101" y="103"/>
                  <a:pt x="101" y="103"/>
                  <a:pt x="101" y="103"/>
                </a:cubicBezTo>
                <a:cubicBezTo>
                  <a:pt x="100" y="109"/>
                  <a:pt x="100" y="109"/>
                  <a:pt x="100" y="109"/>
                </a:cubicBezTo>
                <a:cubicBezTo>
                  <a:pt x="98" y="116"/>
                  <a:pt x="98" y="116"/>
                  <a:pt x="98" y="116"/>
                </a:cubicBezTo>
                <a:cubicBezTo>
                  <a:pt x="97" y="124"/>
                  <a:pt x="97" y="124"/>
                  <a:pt x="97" y="124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1" y="147"/>
                  <a:pt x="101" y="147"/>
                  <a:pt x="101" y="147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5" y="153"/>
                  <a:pt x="95" y="153"/>
                  <a:pt x="95" y="153"/>
                </a:cubicBezTo>
                <a:cubicBezTo>
                  <a:pt x="87" y="154"/>
                  <a:pt x="87" y="154"/>
                  <a:pt x="87" y="154"/>
                </a:cubicBezTo>
                <a:cubicBezTo>
                  <a:pt x="80" y="156"/>
                  <a:pt x="80" y="156"/>
                  <a:pt x="80" y="156"/>
                </a:cubicBezTo>
                <a:cubicBezTo>
                  <a:pt x="73" y="159"/>
                  <a:pt x="73" y="159"/>
                  <a:pt x="73" y="159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63" y="168"/>
                  <a:pt x="63" y="168"/>
                  <a:pt x="63" y="168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57" y="182"/>
                  <a:pt x="57" y="182"/>
                  <a:pt x="57" y="182"/>
                </a:cubicBezTo>
                <a:cubicBezTo>
                  <a:pt x="55" y="189"/>
                  <a:pt x="55" y="189"/>
                  <a:pt x="55" y="189"/>
                </a:cubicBezTo>
                <a:cubicBezTo>
                  <a:pt x="55" y="197"/>
                  <a:pt x="55" y="197"/>
                  <a:pt x="55" y="197"/>
                </a:cubicBezTo>
                <a:cubicBezTo>
                  <a:pt x="51" y="301"/>
                  <a:pt x="51" y="301"/>
                  <a:pt x="51" y="301"/>
                </a:cubicBezTo>
                <a:cubicBezTo>
                  <a:pt x="50" y="366"/>
                  <a:pt x="50" y="366"/>
                  <a:pt x="50" y="366"/>
                </a:cubicBezTo>
                <a:cubicBezTo>
                  <a:pt x="50" y="389"/>
                  <a:pt x="50" y="389"/>
                  <a:pt x="50" y="389"/>
                </a:cubicBezTo>
                <a:cubicBezTo>
                  <a:pt x="50" y="403"/>
                  <a:pt x="50" y="403"/>
                  <a:pt x="50" y="403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53" y="427"/>
                  <a:pt x="53" y="427"/>
                  <a:pt x="53" y="427"/>
                </a:cubicBezTo>
                <a:cubicBezTo>
                  <a:pt x="54" y="444"/>
                  <a:pt x="54" y="444"/>
                  <a:pt x="54" y="444"/>
                </a:cubicBezTo>
                <a:cubicBezTo>
                  <a:pt x="53" y="465"/>
                  <a:pt x="53" y="465"/>
                  <a:pt x="53" y="465"/>
                </a:cubicBezTo>
                <a:cubicBezTo>
                  <a:pt x="53" y="475"/>
                  <a:pt x="53" y="475"/>
                  <a:pt x="53" y="475"/>
                </a:cubicBezTo>
                <a:cubicBezTo>
                  <a:pt x="53" y="479"/>
                  <a:pt x="53" y="479"/>
                  <a:pt x="53" y="479"/>
                </a:cubicBezTo>
                <a:cubicBezTo>
                  <a:pt x="55" y="481"/>
                  <a:pt x="55" y="481"/>
                  <a:pt x="55" y="481"/>
                </a:cubicBezTo>
                <a:cubicBezTo>
                  <a:pt x="56" y="482"/>
                  <a:pt x="56" y="482"/>
                  <a:pt x="56" y="482"/>
                </a:cubicBezTo>
                <a:cubicBezTo>
                  <a:pt x="53" y="488"/>
                  <a:pt x="53" y="488"/>
                  <a:pt x="53" y="488"/>
                </a:cubicBezTo>
                <a:cubicBezTo>
                  <a:pt x="52" y="495"/>
                  <a:pt x="52" y="495"/>
                  <a:pt x="52" y="495"/>
                </a:cubicBezTo>
                <a:cubicBezTo>
                  <a:pt x="27" y="494"/>
                  <a:pt x="27" y="494"/>
                  <a:pt x="27" y="494"/>
                </a:cubicBezTo>
                <a:cubicBezTo>
                  <a:pt x="21" y="494"/>
                  <a:pt x="21" y="494"/>
                  <a:pt x="21" y="494"/>
                </a:cubicBezTo>
                <a:cubicBezTo>
                  <a:pt x="14" y="496"/>
                  <a:pt x="14" y="496"/>
                  <a:pt x="14" y="496"/>
                </a:cubicBezTo>
                <a:cubicBezTo>
                  <a:pt x="8" y="498"/>
                  <a:pt x="8" y="498"/>
                  <a:pt x="8" y="498"/>
                </a:cubicBezTo>
                <a:cubicBezTo>
                  <a:pt x="6" y="500"/>
                  <a:pt x="6" y="500"/>
                  <a:pt x="6" y="500"/>
                </a:cubicBezTo>
                <a:cubicBezTo>
                  <a:pt x="5" y="501"/>
                  <a:pt x="5" y="501"/>
                  <a:pt x="5" y="501"/>
                </a:cubicBezTo>
                <a:cubicBezTo>
                  <a:pt x="2" y="585"/>
                  <a:pt x="2" y="585"/>
                  <a:pt x="2" y="585"/>
                </a:cubicBezTo>
                <a:cubicBezTo>
                  <a:pt x="0" y="643"/>
                  <a:pt x="0" y="643"/>
                  <a:pt x="0" y="643"/>
                </a:cubicBezTo>
                <a:cubicBezTo>
                  <a:pt x="0" y="673"/>
                  <a:pt x="0" y="673"/>
                  <a:pt x="0" y="673"/>
                </a:cubicBezTo>
                <a:cubicBezTo>
                  <a:pt x="1" y="678"/>
                  <a:pt x="1" y="678"/>
                  <a:pt x="1" y="678"/>
                </a:cubicBezTo>
                <a:cubicBezTo>
                  <a:pt x="3" y="681"/>
                  <a:pt x="3" y="681"/>
                  <a:pt x="3" y="681"/>
                </a:cubicBezTo>
                <a:cubicBezTo>
                  <a:pt x="6" y="682"/>
                  <a:pt x="6" y="682"/>
                  <a:pt x="6" y="682"/>
                </a:cubicBezTo>
                <a:cubicBezTo>
                  <a:pt x="8" y="684"/>
                  <a:pt x="8" y="684"/>
                  <a:pt x="8" y="684"/>
                </a:cubicBezTo>
                <a:cubicBezTo>
                  <a:pt x="38" y="692"/>
                  <a:pt x="38" y="692"/>
                  <a:pt x="38" y="692"/>
                </a:cubicBezTo>
                <a:cubicBezTo>
                  <a:pt x="90" y="706"/>
                  <a:pt x="90" y="706"/>
                  <a:pt x="90" y="706"/>
                </a:cubicBezTo>
                <a:cubicBezTo>
                  <a:pt x="88" y="722"/>
                  <a:pt x="88" y="722"/>
                  <a:pt x="88" y="722"/>
                </a:cubicBezTo>
                <a:cubicBezTo>
                  <a:pt x="87" y="740"/>
                  <a:pt x="87" y="740"/>
                  <a:pt x="87" y="740"/>
                </a:cubicBezTo>
                <a:cubicBezTo>
                  <a:pt x="88" y="794"/>
                  <a:pt x="88" y="794"/>
                  <a:pt x="88" y="794"/>
                </a:cubicBezTo>
                <a:cubicBezTo>
                  <a:pt x="87" y="821"/>
                  <a:pt x="87" y="821"/>
                  <a:pt x="87" y="821"/>
                </a:cubicBezTo>
                <a:cubicBezTo>
                  <a:pt x="87" y="838"/>
                  <a:pt x="87" y="838"/>
                  <a:pt x="87" y="838"/>
                </a:cubicBezTo>
                <a:cubicBezTo>
                  <a:pt x="82" y="872"/>
                  <a:pt x="82" y="872"/>
                  <a:pt x="82" y="872"/>
                </a:cubicBezTo>
                <a:cubicBezTo>
                  <a:pt x="80" y="892"/>
                  <a:pt x="80" y="892"/>
                  <a:pt x="80" y="892"/>
                </a:cubicBezTo>
                <a:cubicBezTo>
                  <a:pt x="76" y="907"/>
                  <a:pt x="76" y="907"/>
                  <a:pt x="76" y="907"/>
                </a:cubicBezTo>
                <a:cubicBezTo>
                  <a:pt x="75" y="914"/>
                  <a:pt x="75" y="914"/>
                  <a:pt x="75" y="914"/>
                </a:cubicBezTo>
                <a:cubicBezTo>
                  <a:pt x="75" y="922"/>
                  <a:pt x="75" y="922"/>
                  <a:pt x="75" y="922"/>
                </a:cubicBezTo>
                <a:cubicBezTo>
                  <a:pt x="75" y="930"/>
                  <a:pt x="75" y="930"/>
                  <a:pt x="75" y="930"/>
                </a:cubicBezTo>
                <a:cubicBezTo>
                  <a:pt x="76" y="939"/>
                  <a:pt x="76" y="939"/>
                  <a:pt x="76" y="939"/>
                </a:cubicBezTo>
                <a:cubicBezTo>
                  <a:pt x="78" y="946"/>
                  <a:pt x="78" y="946"/>
                  <a:pt x="78" y="946"/>
                </a:cubicBezTo>
                <a:cubicBezTo>
                  <a:pt x="81" y="952"/>
                  <a:pt x="81" y="952"/>
                  <a:pt x="81" y="952"/>
                </a:cubicBezTo>
                <a:cubicBezTo>
                  <a:pt x="83" y="954"/>
                  <a:pt x="83" y="954"/>
                  <a:pt x="83" y="954"/>
                </a:cubicBezTo>
                <a:cubicBezTo>
                  <a:pt x="86" y="956"/>
                  <a:pt x="86" y="956"/>
                  <a:pt x="86" y="956"/>
                </a:cubicBezTo>
                <a:cubicBezTo>
                  <a:pt x="89" y="957"/>
                  <a:pt x="89" y="957"/>
                  <a:pt x="89" y="957"/>
                </a:cubicBezTo>
                <a:cubicBezTo>
                  <a:pt x="92" y="957"/>
                  <a:pt x="92" y="957"/>
                  <a:pt x="92" y="957"/>
                </a:cubicBezTo>
                <a:cubicBezTo>
                  <a:pt x="94" y="956"/>
                  <a:pt x="94" y="956"/>
                  <a:pt x="94" y="956"/>
                </a:cubicBezTo>
                <a:cubicBezTo>
                  <a:pt x="97" y="954"/>
                  <a:pt x="97" y="954"/>
                  <a:pt x="97" y="954"/>
                </a:cubicBezTo>
                <a:cubicBezTo>
                  <a:pt x="99" y="951"/>
                  <a:pt x="99" y="951"/>
                  <a:pt x="99" y="951"/>
                </a:cubicBezTo>
                <a:cubicBezTo>
                  <a:pt x="100" y="947"/>
                  <a:pt x="100" y="947"/>
                  <a:pt x="100" y="947"/>
                </a:cubicBezTo>
                <a:cubicBezTo>
                  <a:pt x="102" y="939"/>
                  <a:pt x="102" y="939"/>
                  <a:pt x="102" y="939"/>
                </a:cubicBezTo>
                <a:cubicBezTo>
                  <a:pt x="103" y="930"/>
                  <a:pt x="103" y="930"/>
                  <a:pt x="103" y="930"/>
                </a:cubicBezTo>
                <a:cubicBezTo>
                  <a:pt x="102" y="895"/>
                  <a:pt x="102" y="895"/>
                  <a:pt x="102" y="895"/>
                </a:cubicBezTo>
                <a:cubicBezTo>
                  <a:pt x="102" y="870"/>
                  <a:pt x="102" y="870"/>
                  <a:pt x="102" y="870"/>
                </a:cubicBezTo>
                <a:cubicBezTo>
                  <a:pt x="103" y="857"/>
                  <a:pt x="103" y="857"/>
                  <a:pt x="103" y="857"/>
                </a:cubicBezTo>
                <a:cubicBezTo>
                  <a:pt x="105" y="845"/>
                  <a:pt x="105" y="845"/>
                  <a:pt x="105" y="845"/>
                </a:cubicBezTo>
                <a:cubicBezTo>
                  <a:pt x="119" y="775"/>
                  <a:pt x="119" y="775"/>
                  <a:pt x="119" y="775"/>
                </a:cubicBezTo>
                <a:cubicBezTo>
                  <a:pt x="126" y="739"/>
                  <a:pt x="126" y="739"/>
                  <a:pt x="126" y="739"/>
                </a:cubicBezTo>
                <a:cubicBezTo>
                  <a:pt x="129" y="725"/>
                  <a:pt x="129" y="725"/>
                  <a:pt x="129" y="725"/>
                </a:cubicBezTo>
                <a:cubicBezTo>
                  <a:pt x="129" y="717"/>
                  <a:pt x="129" y="717"/>
                  <a:pt x="129" y="717"/>
                </a:cubicBezTo>
                <a:cubicBezTo>
                  <a:pt x="130" y="707"/>
                  <a:pt x="130" y="707"/>
                  <a:pt x="130" y="707"/>
                </a:cubicBezTo>
                <a:cubicBezTo>
                  <a:pt x="133" y="694"/>
                  <a:pt x="133" y="694"/>
                  <a:pt x="133" y="694"/>
                </a:cubicBezTo>
                <a:cubicBezTo>
                  <a:pt x="139" y="670"/>
                  <a:pt x="139" y="670"/>
                  <a:pt x="139" y="670"/>
                </a:cubicBezTo>
                <a:cubicBezTo>
                  <a:pt x="145" y="642"/>
                  <a:pt x="145" y="642"/>
                  <a:pt x="145" y="642"/>
                </a:cubicBezTo>
                <a:cubicBezTo>
                  <a:pt x="166" y="642"/>
                  <a:pt x="166" y="642"/>
                  <a:pt x="166" y="642"/>
                </a:cubicBezTo>
                <a:cubicBezTo>
                  <a:pt x="177" y="641"/>
                  <a:pt x="177" y="641"/>
                  <a:pt x="177" y="641"/>
                </a:cubicBezTo>
                <a:cubicBezTo>
                  <a:pt x="181" y="641"/>
                  <a:pt x="181" y="641"/>
                  <a:pt x="181" y="641"/>
                </a:cubicBezTo>
                <a:cubicBezTo>
                  <a:pt x="183" y="639"/>
                  <a:pt x="183" y="639"/>
                  <a:pt x="183" y="639"/>
                </a:cubicBezTo>
                <a:cubicBezTo>
                  <a:pt x="183" y="640"/>
                  <a:pt x="183" y="640"/>
                  <a:pt x="183" y="640"/>
                </a:cubicBezTo>
                <a:cubicBezTo>
                  <a:pt x="183" y="642"/>
                  <a:pt x="183" y="642"/>
                  <a:pt x="183" y="642"/>
                </a:cubicBezTo>
                <a:cubicBezTo>
                  <a:pt x="184" y="650"/>
                  <a:pt x="184" y="650"/>
                  <a:pt x="184" y="650"/>
                </a:cubicBezTo>
                <a:cubicBezTo>
                  <a:pt x="184" y="667"/>
                  <a:pt x="184" y="667"/>
                  <a:pt x="184" y="667"/>
                </a:cubicBezTo>
                <a:cubicBezTo>
                  <a:pt x="185" y="691"/>
                  <a:pt x="185" y="691"/>
                  <a:pt x="185" y="691"/>
                </a:cubicBezTo>
                <a:cubicBezTo>
                  <a:pt x="188" y="717"/>
                  <a:pt x="188" y="717"/>
                  <a:pt x="188" y="717"/>
                </a:cubicBezTo>
                <a:cubicBezTo>
                  <a:pt x="192" y="741"/>
                  <a:pt x="192" y="741"/>
                  <a:pt x="192" y="741"/>
                </a:cubicBezTo>
                <a:cubicBezTo>
                  <a:pt x="195" y="759"/>
                  <a:pt x="195" y="759"/>
                  <a:pt x="195" y="759"/>
                </a:cubicBezTo>
                <a:cubicBezTo>
                  <a:pt x="199" y="780"/>
                  <a:pt x="199" y="780"/>
                  <a:pt x="199" y="780"/>
                </a:cubicBezTo>
                <a:cubicBezTo>
                  <a:pt x="202" y="810"/>
                  <a:pt x="202" y="810"/>
                  <a:pt x="202" y="810"/>
                </a:cubicBezTo>
                <a:cubicBezTo>
                  <a:pt x="205" y="839"/>
                  <a:pt x="205" y="839"/>
                  <a:pt x="205" y="839"/>
                </a:cubicBezTo>
                <a:cubicBezTo>
                  <a:pt x="205" y="861"/>
                  <a:pt x="205" y="861"/>
                  <a:pt x="205" y="861"/>
                </a:cubicBezTo>
                <a:cubicBezTo>
                  <a:pt x="204" y="875"/>
                  <a:pt x="204" y="875"/>
                  <a:pt x="204" y="875"/>
                </a:cubicBezTo>
                <a:cubicBezTo>
                  <a:pt x="202" y="885"/>
                  <a:pt x="202" y="885"/>
                  <a:pt x="202" y="885"/>
                </a:cubicBezTo>
                <a:cubicBezTo>
                  <a:pt x="201" y="892"/>
                  <a:pt x="201" y="892"/>
                  <a:pt x="201" y="892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911"/>
                  <a:pt x="201" y="911"/>
                  <a:pt x="201" y="911"/>
                </a:cubicBezTo>
                <a:cubicBezTo>
                  <a:pt x="204" y="911"/>
                  <a:pt x="204" y="911"/>
                  <a:pt x="204" y="911"/>
                </a:cubicBezTo>
                <a:cubicBezTo>
                  <a:pt x="205" y="906"/>
                  <a:pt x="206" y="904"/>
                  <a:pt x="206" y="903"/>
                </a:cubicBezTo>
                <a:cubicBezTo>
                  <a:pt x="211" y="910"/>
                  <a:pt x="211" y="910"/>
                  <a:pt x="211" y="910"/>
                </a:cubicBezTo>
                <a:cubicBezTo>
                  <a:pt x="214" y="918"/>
                  <a:pt x="214" y="918"/>
                  <a:pt x="214" y="918"/>
                </a:cubicBezTo>
                <a:cubicBezTo>
                  <a:pt x="215" y="922"/>
                  <a:pt x="215" y="922"/>
                  <a:pt x="215" y="922"/>
                </a:cubicBezTo>
                <a:cubicBezTo>
                  <a:pt x="215" y="925"/>
                  <a:pt x="215" y="925"/>
                  <a:pt x="215" y="925"/>
                </a:cubicBezTo>
                <a:cubicBezTo>
                  <a:pt x="216" y="929"/>
                  <a:pt x="216" y="929"/>
                  <a:pt x="216" y="929"/>
                </a:cubicBezTo>
                <a:cubicBezTo>
                  <a:pt x="217" y="933"/>
                  <a:pt x="217" y="933"/>
                  <a:pt x="217" y="933"/>
                </a:cubicBezTo>
                <a:cubicBezTo>
                  <a:pt x="219" y="937"/>
                  <a:pt x="219" y="937"/>
                  <a:pt x="219" y="937"/>
                </a:cubicBezTo>
                <a:cubicBezTo>
                  <a:pt x="222" y="941"/>
                  <a:pt x="222" y="941"/>
                  <a:pt x="222" y="941"/>
                </a:cubicBezTo>
                <a:cubicBezTo>
                  <a:pt x="227" y="945"/>
                  <a:pt x="227" y="945"/>
                  <a:pt x="227" y="945"/>
                </a:cubicBezTo>
                <a:cubicBezTo>
                  <a:pt x="233" y="947"/>
                  <a:pt x="233" y="947"/>
                  <a:pt x="233" y="947"/>
                </a:cubicBezTo>
                <a:cubicBezTo>
                  <a:pt x="241" y="949"/>
                  <a:pt x="241" y="949"/>
                  <a:pt x="241" y="949"/>
                </a:cubicBezTo>
                <a:cubicBezTo>
                  <a:pt x="252" y="950"/>
                  <a:pt x="252" y="950"/>
                  <a:pt x="252" y="950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7" y="948"/>
                  <a:pt x="257" y="948"/>
                  <a:pt x="257" y="948"/>
                </a:cubicBezTo>
                <a:cubicBezTo>
                  <a:pt x="258" y="947"/>
                  <a:pt x="258" y="947"/>
                  <a:pt x="258" y="947"/>
                </a:cubicBezTo>
                <a:cubicBezTo>
                  <a:pt x="257" y="943"/>
                  <a:pt x="257" y="943"/>
                  <a:pt x="257" y="943"/>
                </a:cubicBezTo>
                <a:cubicBezTo>
                  <a:pt x="256" y="938"/>
                  <a:pt x="256" y="938"/>
                  <a:pt x="256" y="938"/>
                </a:cubicBezTo>
                <a:cubicBezTo>
                  <a:pt x="249" y="927"/>
                  <a:pt x="249" y="927"/>
                  <a:pt x="249" y="927"/>
                </a:cubicBezTo>
                <a:cubicBezTo>
                  <a:pt x="242" y="915"/>
                  <a:pt x="242" y="915"/>
                  <a:pt x="242" y="915"/>
                </a:cubicBezTo>
                <a:cubicBezTo>
                  <a:pt x="235" y="902"/>
                  <a:pt x="235" y="902"/>
                  <a:pt x="235" y="902"/>
                </a:cubicBezTo>
                <a:cubicBezTo>
                  <a:pt x="230" y="887"/>
                  <a:pt x="230" y="887"/>
                  <a:pt x="230" y="887"/>
                </a:cubicBezTo>
                <a:cubicBezTo>
                  <a:pt x="227" y="873"/>
                  <a:pt x="227" y="873"/>
                  <a:pt x="227" y="873"/>
                </a:cubicBezTo>
                <a:cubicBezTo>
                  <a:pt x="226" y="861"/>
                  <a:pt x="226" y="861"/>
                  <a:pt x="226" y="861"/>
                </a:cubicBezTo>
                <a:cubicBezTo>
                  <a:pt x="229" y="795"/>
                  <a:pt x="229" y="795"/>
                  <a:pt x="229" y="795"/>
                </a:cubicBezTo>
                <a:cubicBezTo>
                  <a:pt x="231" y="748"/>
                  <a:pt x="231" y="748"/>
                  <a:pt x="231" y="748"/>
                </a:cubicBezTo>
                <a:cubicBezTo>
                  <a:pt x="231" y="726"/>
                  <a:pt x="231" y="726"/>
                  <a:pt x="231" y="726"/>
                </a:cubicBezTo>
                <a:cubicBezTo>
                  <a:pt x="231" y="709"/>
                  <a:pt x="231" y="709"/>
                  <a:pt x="231" y="709"/>
                </a:cubicBezTo>
                <a:cubicBezTo>
                  <a:pt x="229" y="681"/>
                  <a:pt x="229" y="681"/>
                  <a:pt x="229" y="681"/>
                </a:cubicBezTo>
                <a:cubicBezTo>
                  <a:pt x="227" y="657"/>
                  <a:pt x="227" y="657"/>
                  <a:pt x="227" y="657"/>
                </a:cubicBezTo>
                <a:cubicBezTo>
                  <a:pt x="227" y="641"/>
                  <a:pt x="227" y="641"/>
                  <a:pt x="227" y="641"/>
                </a:cubicBezTo>
                <a:cubicBezTo>
                  <a:pt x="227" y="636"/>
                  <a:pt x="227" y="636"/>
                  <a:pt x="227" y="636"/>
                </a:cubicBezTo>
                <a:cubicBezTo>
                  <a:pt x="228" y="634"/>
                  <a:pt x="228" y="634"/>
                  <a:pt x="228" y="634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1" y="633"/>
                  <a:pt x="241" y="633"/>
                  <a:pt x="241" y="633"/>
                </a:cubicBezTo>
                <a:cubicBezTo>
                  <a:pt x="244" y="632"/>
                  <a:pt x="244" y="632"/>
                  <a:pt x="244" y="632"/>
                </a:cubicBezTo>
                <a:cubicBezTo>
                  <a:pt x="245" y="630"/>
                  <a:pt x="245" y="630"/>
                  <a:pt x="245" y="630"/>
                </a:cubicBezTo>
                <a:cubicBezTo>
                  <a:pt x="246" y="627"/>
                  <a:pt x="246" y="627"/>
                  <a:pt x="246" y="627"/>
                </a:cubicBezTo>
                <a:cubicBezTo>
                  <a:pt x="248" y="530"/>
                  <a:pt x="248" y="530"/>
                  <a:pt x="248" y="530"/>
                </a:cubicBezTo>
                <a:cubicBezTo>
                  <a:pt x="249" y="461"/>
                  <a:pt x="249" y="461"/>
                  <a:pt x="249" y="461"/>
                </a:cubicBezTo>
                <a:cubicBezTo>
                  <a:pt x="249" y="434"/>
                  <a:pt x="249" y="434"/>
                  <a:pt x="249" y="434"/>
                </a:cubicBezTo>
                <a:cubicBezTo>
                  <a:pt x="248" y="418"/>
                  <a:pt x="248" y="418"/>
                  <a:pt x="248" y="418"/>
                </a:cubicBezTo>
                <a:cubicBezTo>
                  <a:pt x="252" y="428"/>
                  <a:pt x="252" y="428"/>
                  <a:pt x="252" y="428"/>
                </a:cubicBezTo>
                <a:cubicBezTo>
                  <a:pt x="258" y="441"/>
                  <a:pt x="258" y="441"/>
                  <a:pt x="258" y="441"/>
                </a:cubicBezTo>
                <a:cubicBezTo>
                  <a:pt x="266" y="458"/>
                  <a:pt x="266" y="458"/>
                  <a:pt x="266" y="458"/>
                </a:cubicBezTo>
                <a:cubicBezTo>
                  <a:pt x="271" y="467"/>
                  <a:pt x="271" y="467"/>
                  <a:pt x="271" y="467"/>
                </a:cubicBezTo>
                <a:cubicBezTo>
                  <a:pt x="275" y="474"/>
                  <a:pt x="275" y="474"/>
                  <a:pt x="275" y="474"/>
                </a:cubicBezTo>
                <a:cubicBezTo>
                  <a:pt x="279" y="477"/>
                  <a:pt x="279" y="477"/>
                  <a:pt x="279" y="477"/>
                </a:cubicBezTo>
                <a:cubicBezTo>
                  <a:pt x="281" y="479"/>
                  <a:pt x="281" y="479"/>
                  <a:pt x="281" y="479"/>
                </a:cubicBezTo>
                <a:cubicBezTo>
                  <a:pt x="282" y="480"/>
                  <a:pt x="282" y="480"/>
                  <a:pt x="282" y="480"/>
                </a:cubicBezTo>
                <a:cubicBezTo>
                  <a:pt x="281" y="481"/>
                  <a:pt x="281" y="481"/>
                  <a:pt x="281" y="481"/>
                </a:cubicBezTo>
                <a:cubicBezTo>
                  <a:pt x="279" y="483"/>
                  <a:pt x="279" y="483"/>
                  <a:pt x="279" y="483"/>
                </a:cubicBezTo>
                <a:cubicBezTo>
                  <a:pt x="276" y="486"/>
                  <a:pt x="276" y="486"/>
                  <a:pt x="276" y="486"/>
                </a:cubicBezTo>
                <a:cubicBezTo>
                  <a:pt x="276" y="488"/>
                  <a:pt x="276" y="488"/>
                  <a:pt x="276" y="488"/>
                </a:cubicBezTo>
                <a:cubicBezTo>
                  <a:pt x="280" y="488"/>
                  <a:pt x="280" y="488"/>
                  <a:pt x="280" y="488"/>
                </a:cubicBezTo>
                <a:cubicBezTo>
                  <a:pt x="283" y="488"/>
                  <a:pt x="283" y="488"/>
                  <a:pt x="283" y="488"/>
                </a:cubicBezTo>
                <a:cubicBezTo>
                  <a:pt x="285" y="490"/>
                  <a:pt x="285" y="490"/>
                  <a:pt x="285" y="490"/>
                </a:cubicBezTo>
                <a:cubicBezTo>
                  <a:pt x="286" y="492"/>
                  <a:pt x="286" y="492"/>
                  <a:pt x="286" y="492"/>
                </a:cubicBezTo>
                <a:cubicBezTo>
                  <a:pt x="284" y="495"/>
                  <a:pt x="284" y="495"/>
                  <a:pt x="284" y="495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3" y="498"/>
                  <a:pt x="283" y="498"/>
                  <a:pt x="283" y="498"/>
                </a:cubicBezTo>
                <a:cubicBezTo>
                  <a:pt x="285" y="499"/>
                  <a:pt x="285" y="499"/>
                  <a:pt x="285" y="499"/>
                </a:cubicBezTo>
                <a:cubicBezTo>
                  <a:pt x="288" y="499"/>
                  <a:pt x="288" y="499"/>
                  <a:pt x="288" y="499"/>
                </a:cubicBezTo>
                <a:cubicBezTo>
                  <a:pt x="295" y="495"/>
                  <a:pt x="295" y="495"/>
                  <a:pt x="295" y="495"/>
                </a:cubicBezTo>
                <a:cubicBezTo>
                  <a:pt x="298" y="494"/>
                  <a:pt x="298" y="494"/>
                  <a:pt x="298" y="494"/>
                </a:cubicBezTo>
                <a:cubicBezTo>
                  <a:pt x="299" y="495"/>
                  <a:pt x="299" y="495"/>
                  <a:pt x="299" y="495"/>
                </a:cubicBezTo>
                <a:cubicBezTo>
                  <a:pt x="299" y="496"/>
                  <a:pt x="299" y="496"/>
                  <a:pt x="299" y="496"/>
                </a:cubicBezTo>
                <a:cubicBezTo>
                  <a:pt x="299" y="499"/>
                  <a:pt x="299" y="499"/>
                  <a:pt x="299" y="499"/>
                </a:cubicBezTo>
                <a:cubicBezTo>
                  <a:pt x="301" y="501"/>
                  <a:pt x="301" y="501"/>
                  <a:pt x="301" y="501"/>
                </a:cubicBezTo>
                <a:cubicBezTo>
                  <a:pt x="303" y="501"/>
                  <a:pt x="303" y="501"/>
                  <a:pt x="303" y="501"/>
                </a:cubicBezTo>
                <a:cubicBezTo>
                  <a:pt x="305" y="497"/>
                  <a:pt x="305" y="497"/>
                  <a:pt x="305" y="497"/>
                </a:cubicBezTo>
                <a:cubicBezTo>
                  <a:pt x="306" y="492"/>
                  <a:pt x="306" y="492"/>
                  <a:pt x="306" y="492"/>
                </a:cubicBezTo>
                <a:cubicBezTo>
                  <a:pt x="306" y="487"/>
                  <a:pt x="306" y="487"/>
                  <a:pt x="306" y="487"/>
                </a:cubicBezTo>
                <a:lnTo>
                  <a:pt x="304" y="482"/>
                </a:lnTo>
                <a:close/>
                <a:moveTo>
                  <a:pt x="68" y="502"/>
                </a:moveTo>
                <a:cubicBezTo>
                  <a:pt x="66" y="503"/>
                  <a:pt x="66" y="503"/>
                  <a:pt x="66" y="503"/>
                </a:cubicBezTo>
                <a:cubicBezTo>
                  <a:pt x="64" y="502"/>
                  <a:pt x="64" y="502"/>
                  <a:pt x="64" y="502"/>
                </a:cubicBezTo>
                <a:cubicBezTo>
                  <a:pt x="63" y="500"/>
                  <a:pt x="63" y="500"/>
                  <a:pt x="63" y="500"/>
                </a:cubicBezTo>
                <a:cubicBezTo>
                  <a:pt x="63" y="491"/>
                  <a:pt x="63" y="491"/>
                  <a:pt x="63" y="491"/>
                </a:cubicBezTo>
                <a:cubicBezTo>
                  <a:pt x="71" y="501"/>
                  <a:pt x="71" y="501"/>
                  <a:pt x="71" y="501"/>
                </a:cubicBezTo>
                <a:lnTo>
                  <a:pt x="68" y="502"/>
                </a:lnTo>
                <a:close/>
                <a:moveTo>
                  <a:pt x="76" y="497"/>
                </a:moveTo>
                <a:cubicBezTo>
                  <a:pt x="75" y="500"/>
                  <a:pt x="75" y="500"/>
                  <a:pt x="75" y="500"/>
                </a:cubicBezTo>
                <a:cubicBezTo>
                  <a:pt x="73" y="500"/>
                  <a:pt x="73" y="500"/>
                  <a:pt x="73" y="500"/>
                </a:cubicBezTo>
                <a:cubicBezTo>
                  <a:pt x="74" y="495"/>
                  <a:pt x="74" y="495"/>
                  <a:pt x="74" y="495"/>
                </a:cubicBezTo>
                <a:cubicBezTo>
                  <a:pt x="75" y="490"/>
                  <a:pt x="75" y="490"/>
                  <a:pt x="75" y="490"/>
                </a:cubicBezTo>
                <a:cubicBezTo>
                  <a:pt x="76" y="494"/>
                  <a:pt x="76" y="494"/>
                  <a:pt x="76" y="494"/>
                </a:cubicBezTo>
                <a:lnTo>
                  <a:pt x="76" y="497"/>
                </a:lnTo>
                <a:close/>
                <a:moveTo>
                  <a:pt x="87" y="471"/>
                </a:moveTo>
                <a:cubicBezTo>
                  <a:pt x="86" y="486"/>
                  <a:pt x="86" y="486"/>
                  <a:pt x="86" y="486"/>
                </a:cubicBezTo>
                <a:cubicBezTo>
                  <a:pt x="84" y="482"/>
                  <a:pt x="84" y="482"/>
                  <a:pt x="84" y="482"/>
                </a:cubicBezTo>
                <a:cubicBezTo>
                  <a:pt x="81" y="479"/>
                  <a:pt x="81" y="479"/>
                  <a:pt x="81" y="479"/>
                </a:cubicBezTo>
                <a:cubicBezTo>
                  <a:pt x="79" y="478"/>
                  <a:pt x="79" y="478"/>
                  <a:pt x="79" y="478"/>
                </a:cubicBezTo>
                <a:cubicBezTo>
                  <a:pt x="76" y="472"/>
                  <a:pt x="76" y="472"/>
                  <a:pt x="76" y="472"/>
                </a:cubicBezTo>
                <a:cubicBezTo>
                  <a:pt x="75" y="470"/>
                  <a:pt x="75" y="470"/>
                  <a:pt x="75" y="470"/>
                </a:cubicBezTo>
                <a:cubicBezTo>
                  <a:pt x="75" y="468"/>
                  <a:pt x="75" y="468"/>
                  <a:pt x="75" y="468"/>
                </a:cubicBezTo>
                <a:cubicBezTo>
                  <a:pt x="76" y="463"/>
                  <a:pt x="76" y="463"/>
                  <a:pt x="76" y="463"/>
                </a:cubicBezTo>
                <a:cubicBezTo>
                  <a:pt x="79" y="458"/>
                  <a:pt x="79" y="458"/>
                  <a:pt x="79" y="458"/>
                </a:cubicBezTo>
                <a:cubicBezTo>
                  <a:pt x="79" y="455"/>
                  <a:pt x="79" y="455"/>
                  <a:pt x="79" y="455"/>
                </a:cubicBezTo>
                <a:cubicBezTo>
                  <a:pt x="80" y="451"/>
                  <a:pt x="80" y="451"/>
                  <a:pt x="80" y="451"/>
                </a:cubicBezTo>
                <a:cubicBezTo>
                  <a:pt x="81" y="406"/>
                  <a:pt x="81" y="406"/>
                  <a:pt x="81" y="406"/>
                </a:cubicBezTo>
                <a:cubicBezTo>
                  <a:pt x="82" y="384"/>
                  <a:pt x="82" y="384"/>
                  <a:pt x="82" y="384"/>
                </a:cubicBezTo>
                <a:cubicBezTo>
                  <a:pt x="83" y="379"/>
                  <a:pt x="83" y="379"/>
                  <a:pt x="83" y="379"/>
                </a:cubicBezTo>
                <a:cubicBezTo>
                  <a:pt x="83" y="380"/>
                  <a:pt x="83" y="380"/>
                  <a:pt x="83" y="380"/>
                </a:cubicBezTo>
                <a:cubicBezTo>
                  <a:pt x="86" y="412"/>
                  <a:pt x="86" y="412"/>
                  <a:pt x="86" y="412"/>
                </a:cubicBezTo>
                <a:cubicBezTo>
                  <a:pt x="87" y="442"/>
                  <a:pt x="87" y="442"/>
                  <a:pt x="87" y="442"/>
                </a:cubicBezTo>
                <a:cubicBezTo>
                  <a:pt x="88" y="458"/>
                  <a:pt x="88" y="458"/>
                  <a:pt x="88" y="458"/>
                </a:cubicBezTo>
                <a:lnTo>
                  <a:pt x="87" y="471"/>
                </a:lnTo>
                <a:close/>
                <a:moveTo>
                  <a:pt x="100" y="138"/>
                </a:moveTo>
                <a:cubicBezTo>
                  <a:pt x="99" y="132"/>
                  <a:pt x="99" y="132"/>
                  <a:pt x="99" y="132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43"/>
                  <a:pt x="101" y="143"/>
                  <a:pt x="101" y="143"/>
                </a:cubicBezTo>
                <a:lnTo>
                  <a:pt x="100" y="138"/>
                </a:lnTo>
                <a:close/>
                <a:moveTo>
                  <a:pt x="218" y="174"/>
                </a:moveTo>
                <a:cubicBezTo>
                  <a:pt x="217" y="184"/>
                  <a:pt x="217" y="184"/>
                  <a:pt x="217" y="184"/>
                </a:cubicBezTo>
                <a:cubicBezTo>
                  <a:pt x="216" y="192"/>
                  <a:pt x="216" y="192"/>
                  <a:pt x="216" y="192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99" y="192"/>
                  <a:pt x="199" y="192"/>
                  <a:pt x="199" y="192"/>
                </a:cubicBezTo>
                <a:cubicBezTo>
                  <a:pt x="197" y="205"/>
                  <a:pt x="197" y="205"/>
                  <a:pt x="197" y="205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190" y="233"/>
                  <a:pt x="190" y="233"/>
                  <a:pt x="190" y="233"/>
                </a:cubicBezTo>
                <a:cubicBezTo>
                  <a:pt x="187" y="251"/>
                  <a:pt x="187" y="251"/>
                  <a:pt x="187" y="251"/>
                </a:cubicBezTo>
                <a:cubicBezTo>
                  <a:pt x="183" y="287"/>
                  <a:pt x="183" y="287"/>
                  <a:pt x="183" y="287"/>
                </a:cubicBezTo>
                <a:cubicBezTo>
                  <a:pt x="182" y="305"/>
                  <a:pt x="182" y="305"/>
                  <a:pt x="182" y="305"/>
                </a:cubicBezTo>
                <a:cubicBezTo>
                  <a:pt x="183" y="322"/>
                  <a:pt x="183" y="322"/>
                  <a:pt x="183" y="322"/>
                </a:cubicBezTo>
                <a:cubicBezTo>
                  <a:pt x="186" y="356"/>
                  <a:pt x="186" y="356"/>
                  <a:pt x="186" y="356"/>
                </a:cubicBezTo>
                <a:cubicBezTo>
                  <a:pt x="187" y="369"/>
                  <a:pt x="187" y="369"/>
                  <a:pt x="187" y="369"/>
                </a:cubicBezTo>
                <a:cubicBezTo>
                  <a:pt x="188" y="375"/>
                  <a:pt x="188" y="375"/>
                  <a:pt x="188" y="375"/>
                </a:cubicBezTo>
                <a:cubicBezTo>
                  <a:pt x="189" y="382"/>
                  <a:pt x="189" y="382"/>
                  <a:pt x="189" y="382"/>
                </a:cubicBezTo>
                <a:cubicBezTo>
                  <a:pt x="192" y="389"/>
                  <a:pt x="192" y="389"/>
                  <a:pt x="192" y="389"/>
                </a:cubicBezTo>
                <a:cubicBezTo>
                  <a:pt x="193" y="392"/>
                  <a:pt x="193" y="392"/>
                  <a:pt x="193" y="392"/>
                </a:cubicBezTo>
                <a:cubicBezTo>
                  <a:pt x="194" y="396"/>
                  <a:pt x="194" y="396"/>
                  <a:pt x="194" y="396"/>
                </a:cubicBezTo>
                <a:cubicBezTo>
                  <a:pt x="190" y="396"/>
                  <a:pt x="190" y="396"/>
                  <a:pt x="190" y="396"/>
                </a:cubicBezTo>
                <a:cubicBezTo>
                  <a:pt x="186" y="395"/>
                  <a:pt x="186" y="395"/>
                  <a:pt x="186" y="395"/>
                </a:cubicBezTo>
                <a:cubicBezTo>
                  <a:pt x="179" y="393"/>
                  <a:pt x="179" y="393"/>
                  <a:pt x="179" y="393"/>
                </a:cubicBezTo>
                <a:cubicBezTo>
                  <a:pt x="172" y="391"/>
                  <a:pt x="172" y="391"/>
                  <a:pt x="172" y="391"/>
                </a:cubicBezTo>
                <a:cubicBezTo>
                  <a:pt x="165" y="389"/>
                  <a:pt x="165" y="389"/>
                  <a:pt x="165" y="389"/>
                </a:cubicBezTo>
                <a:cubicBezTo>
                  <a:pt x="159" y="389"/>
                  <a:pt x="159" y="389"/>
                  <a:pt x="159" y="389"/>
                </a:cubicBezTo>
                <a:cubicBezTo>
                  <a:pt x="153" y="390"/>
                  <a:pt x="153" y="390"/>
                  <a:pt x="153" y="390"/>
                </a:cubicBezTo>
                <a:cubicBezTo>
                  <a:pt x="140" y="393"/>
                  <a:pt x="140" y="393"/>
                  <a:pt x="140" y="393"/>
                </a:cubicBezTo>
                <a:cubicBezTo>
                  <a:pt x="141" y="389"/>
                  <a:pt x="141" y="389"/>
                  <a:pt x="141" y="389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6" y="374"/>
                  <a:pt x="146" y="374"/>
                  <a:pt x="146" y="374"/>
                </a:cubicBezTo>
                <a:cubicBezTo>
                  <a:pt x="150" y="358"/>
                  <a:pt x="150" y="358"/>
                  <a:pt x="150" y="358"/>
                </a:cubicBezTo>
                <a:cubicBezTo>
                  <a:pt x="152" y="342"/>
                  <a:pt x="152" y="342"/>
                  <a:pt x="152" y="342"/>
                </a:cubicBezTo>
                <a:cubicBezTo>
                  <a:pt x="153" y="324"/>
                  <a:pt x="153" y="324"/>
                  <a:pt x="153" y="324"/>
                </a:cubicBezTo>
                <a:cubicBezTo>
                  <a:pt x="153" y="305"/>
                  <a:pt x="153" y="305"/>
                  <a:pt x="153" y="305"/>
                </a:cubicBezTo>
                <a:cubicBezTo>
                  <a:pt x="152" y="268"/>
                  <a:pt x="152" y="268"/>
                  <a:pt x="152" y="268"/>
                </a:cubicBezTo>
                <a:cubicBezTo>
                  <a:pt x="152" y="250"/>
                  <a:pt x="152" y="250"/>
                  <a:pt x="152" y="250"/>
                </a:cubicBezTo>
                <a:cubicBezTo>
                  <a:pt x="151" y="232"/>
                  <a:pt x="151" y="232"/>
                  <a:pt x="151" y="232"/>
                </a:cubicBezTo>
                <a:cubicBezTo>
                  <a:pt x="149" y="216"/>
                  <a:pt x="149" y="216"/>
                  <a:pt x="149" y="216"/>
                </a:cubicBezTo>
                <a:cubicBezTo>
                  <a:pt x="147" y="207"/>
                  <a:pt x="147" y="207"/>
                  <a:pt x="147" y="207"/>
                </a:cubicBezTo>
                <a:cubicBezTo>
                  <a:pt x="144" y="198"/>
                  <a:pt x="144" y="198"/>
                  <a:pt x="144" y="198"/>
                </a:cubicBezTo>
                <a:cubicBezTo>
                  <a:pt x="140" y="190"/>
                  <a:pt x="140" y="190"/>
                  <a:pt x="140" y="190"/>
                </a:cubicBezTo>
                <a:cubicBezTo>
                  <a:pt x="138" y="186"/>
                  <a:pt x="138" y="186"/>
                  <a:pt x="138" y="186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31" y="185"/>
                  <a:pt x="131" y="185"/>
                  <a:pt x="131" y="185"/>
                </a:cubicBezTo>
                <a:cubicBezTo>
                  <a:pt x="128" y="189"/>
                  <a:pt x="128" y="189"/>
                  <a:pt x="128" y="189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74"/>
                  <a:pt x="126" y="174"/>
                  <a:pt x="126" y="174"/>
                </a:cubicBezTo>
                <a:cubicBezTo>
                  <a:pt x="125" y="167"/>
                  <a:pt x="125" y="167"/>
                  <a:pt x="125" y="167"/>
                </a:cubicBezTo>
                <a:cubicBezTo>
                  <a:pt x="124" y="163"/>
                  <a:pt x="124" y="163"/>
                  <a:pt x="124" y="163"/>
                </a:cubicBezTo>
                <a:cubicBezTo>
                  <a:pt x="122" y="159"/>
                  <a:pt x="122" y="159"/>
                  <a:pt x="122" y="159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18" y="155"/>
                  <a:pt x="118" y="155"/>
                  <a:pt x="118" y="155"/>
                </a:cubicBezTo>
                <a:cubicBezTo>
                  <a:pt x="114" y="154"/>
                  <a:pt x="114" y="154"/>
                  <a:pt x="114" y="15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03" y="151"/>
                  <a:pt x="103" y="151"/>
                  <a:pt x="103" y="151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31" y="151"/>
                  <a:pt x="131" y="151"/>
                  <a:pt x="131" y="151"/>
                </a:cubicBezTo>
                <a:cubicBezTo>
                  <a:pt x="134" y="153"/>
                  <a:pt x="134" y="153"/>
                  <a:pt x="134" y="153"/>
                </a:cubicBezTo>
                <a:cubicBezTo>
                  <a:pt x="137" y="156"/>
                  <a:pt x="137" y="156"/>
                  <a:pt x="137" y="156"/>
                </a:cubicBezTo>
                <a:cubicBezTo>
                  <a:pt x="141" y="160"/>
                  <a:pt x="141" y="160"/>
                  <a:pt x="141" y="160"/>
                </a:cubicBezTo>
                <a:cubicBezTo>
                  <a:pt x="144" y="163"/>
                  <a:pt x="144" y="163"/>
                  <a:pt x="144" y="163"/>
                </a:cubicBezTo>
                <a:cubicBezTo>
                  <a:pt x="148" y="168"/>
                  <a:pt x="148" y="168"/>
                  <a:pt x="148" y="168"/>
                </a:cubicBezTo>
                <a:cubicBezTo>
                  <a:pt x="157" y="180"/>
                  <a:pt x="157" y="180"/>
                  <a:pt x="157" y="180"/>
                </a:cubicBezTo>
                <a:cubicBezTo>
                  <a:pt x="167" y="195"/>
                  <a:pt x="167" y="195"/>
                  <a:pt x="167" y="195"/>
                </a:cubicBezTo>
                <a:cubicBezTo>
                  <a:pt x="168" y="194"/>
                  <a:pt x="168" y="194"/>
                  <a:pt x="168" y="194"/>
                </a:cubicBezTo>
                <a:cubicBezTo>
                  <a:pt x="171" y="190"/>
                  <a:pt x="171" y="190"/>
                  <a:pt x="171" y="190"/>
                </a:cubicBezTo>
                <a:cubicBezTo>
                  <a:pt x="176" y="180"/>
                  <a:pt x="176" y="180"/>
                  <a:pt x="176" y="180"/>
                </a:cubicBezTo>
                <a:cubicBezTo>
                  <a:pt x="181" y="168"/>
                  <a:pt x="181" y="168"/>
                  <a:pt x="181" y="168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7" y="161"/>
                  <a:pt x="187" y="161"/>
                  <a:pt x="187" y="161"/>
                </a:cubicBezTo>
                <a:cubicBezTo>
                  <a:pt x="190" y="158"/>
                  <a:pt x="190" y="158"/>
                  <a:pt x="190" y="158"/>
                </a:cubicBezTo>
                <a:cubicBezTo>
                  <a:pt x="194" y="157"/>
                  <a:pt x="194" y="157"/>
                  <a:pt x="194" y="157"/>
                </a:cubicBezTo>
                <a:cubicBezTo>
                  <a:pt x="197" y="156"/>
                  <a:pt x="197" y="156"/>
                  <a:pt x="197" y="156"/>
                </a:cubicBezTo>
                <a:cubicBezTo>
                  <a:pt x="201" y="156"/>
                  <a:pt x="201" y="156"/>
                  <a:pt x="201" y="156"/>
                </a:cubicBezTo>
                <a:cubicBezTo>
                  <a:pt x="209" y="156"/>
                  <a:pt x="209" y="156"/>
                  <a:pt x="209" y="156"/>
                </a:cubicBezTo>
                <a:cubicBezTo>
                  <a:pt x="218" y="157"/>
                  <a:pt x="218" y="157"/>
                  <a:pt x="218" y="157"/>
                </a:cubicBezTo>
                <a:lnTo>
                  <a:pt x="218" y="174"/>
                </a:lnTo>
                <a:close/>
                <a:moveTo>
                  <a:pt x="218" y="87"/>
                </a:moveTo>
                <a:cubicBezTo>
                  <a:pt x="215" y="77"/>
                  <a:pt x="215" y="77"/>
                  <a:pt x="215" y="77"/>
                </a:cubicBezTo>
                <a:cubicBezTo>
                  <a:pt x="218" y="82"/>
                  <a:pt x="218" y="82"/>
                  <a:pt x="218" y="82"/>
                </a:cubicBezTo>
                <a:cubicBezTo>
                  <a:pt x="221" y="87"/>
                  <a:pt x="221" y="87"/>
                  <a:pt x="221" y="87"/>
                </a:cubicBezTo>
                <a:cubicBezTo>
                  <a:pt x="224" y="97"/>
                  <a:pt x="224" y="97"/>
                  <a:pt x="224" y="97"/>
                </a:cubicBezTo>
                <a:lnTo>
                  <a:pt x="218" y="87"/>
                </a:lnTo>
                <a:close/>
                <a:moveTo>
                  <a:pt x="222" y="98"/>
                </a:moveTo>
                <a:cubicBezTo>
                  <a:pt x="225" y="104"/>
                  <a:pt x="225" y="104"/>
                  <a:pt x="225" y="104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8" y="115"/>
                  <a:pt x="228" y="115"/>
                  <a:pt x="228" y="115"/>
                </a:cubicBezTo>
                <a:cubicBezTo>
                  <a:pt x="228" y="120"/>
                  <a:pt x="228" y="120"/>
                  <a:pt x="228" y="120"/>
                </a:cubicBezTo>
                <a:cubicBezTo>
                  <a:pt x="227" y="128"/>
                  <a:pt x="227" y="128"/>
                  <a:pt x="227" y="128"/>
                </a:cubicBezTo>
                <a:cubicBezTo>
                  <a:pt x="225" y="134"/>
                  <a:pt x="225" y="134"/>
                  <a:pt x="225" y="134"/>
                </a:cubicBezTo>
                <a:cubicBezTo>
                  <a:pt x="226" y="127"/>
                  <a:pt x="226" y="127"/>
                  <a:pt x="226" y="127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5" y="109"/>
                  <a:pt x="225" y="109"/>
                  <a:pt x="225" y="109"/>
                </a:cubicBezTo>
                <a:cubicBezTo>
                  <a:pt x="222" y="99"/>
                  <a:pt x="222" y="99"/>
                  <a:pt x="222" y="99"/>
                </a:cubicBezTo>
                <a:lnTo>
                  <a:pt x="222" y="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85" name="Freeform 88"/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 flipH="1">
            <a:off x="2928390" y="2058481"/>
            <a:ext cx="211137" cy="581025"/>
          </a:xfrm>
          <a:custGeom>
            <a:avLst/>
            <a:gdLst>
              <a:gd name="T0" fmla="*/ 699 w 741"/>
              <a:gd name="T1" fmla="*/ 1191 h 2046"/>
              <a:gd name="T2" fmla="*/ 642 w 741"/>
              <a:gd name="T3" fmla="*/ 1149 h 2046"/>
              <a:gd name="T4" fmla="*/ 652 w 741"/>
              <a:gd name="T5" fmla="*/ 1033 h 2046"/>
              <a:gd name="T6" fmla="*/ 623 w 741"/>
              <a:gd name="T7" fmla="*/ 553 h 2046"/>
              <a:gd name="T8" fmla="*/ 581 w 741"/>
              <a:gd name="T9" fmla="*/ 374 h 2046"/>
              <a:gd name="T10" fmla="*/ 408 w 741"/>
              <a:gd name="T11" fmla="*/ 298 h 2046"/>
              <a:gd name="T12" fmla="*/ 321 w 741"/>
              <a:gd name="T13" fmla="*/ 504 h 2046"/>
              <a:gd name="T14" fmla="*/ 307 w 741"/>
              <a:gd name="T15" fmla="*/ 350 h 2046"/>
              <a:gd name="T16" fmla="*/ 340 w 741"/>
              <a:gd name="T17" fmla="*/ 305 h 2046"/>
              <a:gd name="T18" fmla="*/ 392 w 741"/>
              <a:gd name="T19" fmla="*/ 260 h 2046"/>
              <a:gd name="T20" fmla="*/ 420 w 741"/>
              <a:gd name="T21" fmla="*/ 175 h 2046"/>
              <a:gd name="T22" fmla="*/ 432 w 741"/>
              <a:gd name="T23" fmla="*/ 71 h 2046"/>
              <a:gd name="T24" fmla="*/ 359 w 741"/>
              <a:gd name="T25" fmla="*/ 3 h 2046"/>
              <a:gd name="T26" fmla="*/ 224 w 741"/>
              <a:gd name="T27" fmla="*/ 52 h 2046"/>
              <a:gd name="T28" fmla="*/ 198 w 741"/>
              <a:gd name="T29" fmla="*/ 126 h 2046"/>
              <a:gd name="T30" fmla="*/ 186 w 741"/>
              <a:gd name="T31" fmla="*/ 189 h 2046"/>
              <a:gd name="T32" fmla="*/ 196 w 741"/>
              <a:gd name="T33" fmla="*/ 230 h 2046"/>
              <a:gd name="T34" fmla="*/ 205 w 741"/>
              <a:gd name="T35" fmla="*/ 277 h 2046"/>
              <a:gd name="T36" fmla="*/ 257 w 741"/>
              <a:gd name="T37" fmla="*/ 308 h 2046"/>
              <a:gd name="T38" fmla="*/ 283 w 741"/>
              <a:gd name="T39" fmla="*/ 329 h 2046"/>
              <a:gd name="T40" fmla="*/ 278 w 741"/>
              <a:gd name="T41" fmla="*/ 367 h 2046"/>
              <a:gd name="T42" fmla="*/ 245 w 741"/>
              <a:gd name="T43" fmla="*/ 317 h 2046"/>
              <a:gd name="T44" fmla="*/ 78 w 741"/>
              <a:gd name="T45" fmla="*/ 390 h 2046"/>
              <a:gd name="T46" fmla="*/ 52 w 741"/>
              <a:gd name="T47" fmla="*/ 489 h 2046"/>
              <a:gd name="T48" fmla="*/ 0 w 741"/>
              <a:gd name="T49" fmla="*/ 1073 h 2046"/>
              <a:gd name="T50" fmla="*/ 16 w 741"/>
              <a:gd name="T51" fmla="*/ 1123 h 2046"/>
              <a:gd name="T52" fmla="*/ 30 w 741"/>
              <a:gd name="T53" fmla="*/ 1229 h 2046"/>
              <a:gd name="T54" fmla="*/ 54 w 741"/>
              <a:gd name="T55" fmla="*/ 1227 h 2046"/>
              <a:gd name="T56" fmla="*/ 94 w 741"/>
              <a:gd name="T57" fmla="*/ 1238 h 2046"/>
              <a:gd name="T58" fmla="*/ 82 w 741"/>
              <a:gd name="T59" fmla="*/ 1208 h 2046"/>
              <a:gd name="T60" fmla="*/ 68 w 741"/>
              <a:gd name="T61" fmla="*/ 1153 h 2046"/>
              <a:gd name="T62" fmla="*/ 85 w 741"/>
              <a:gd name="T63" fmla="*/ 1196 h 2046"/>
              <a:gd name="T64" fmla="*/ 99 w 741"/>
              <a:gd name="T65" fmla="*/ 1094 h 2046"/>
              <a:gd name="T66" fmla="*/ 96 w 741"/>
              <a:gd name="T67" fmla="*/ 1021 h 2046"/>
              <a:gd name="T68" fmla="*/ 125 w 741"/>
              <a:gd name="T69" fmla="*/ 1255 h 2046"/>
              <a:gd name="T70" fmla="*/ 148 w 741"/>
              <a:gd name="T71" fmla="*/ 1817 h 2046"/>
              <a:gd name="T72" fmla="*/ 139 w 741"/>
              <a:gd name="T73" fmla="*/ 1923 h 2046"/>
              <a:gd name="T74" fmla="*/ 120 w 741"/>
              <a:gd name="T75" fmla="*/ 1990 h 2046"/>
              <a:gd name="T76" fmla="*/ 132 w 741"/>
              <a:gd name="T77" fmla="*/ 2030 h 2046"/>
              <a:gd name="T78" fmla="*/ 224 w 741"/>
              <a:gd name="T79" fmla="*/ 2030 h 2046"/>
              <a:gd name="T80" fmla="*/ 259 w 741"/>
              <a:gd name="T81" fmla="*/ 1973 h 2046"/>
              <a:gd name="T82" fmla="*/ 269 w 741"/>
              <a:gd name="T83" fmla="*/ 1897 h 2046"/>
              <a:gd name="T84" fmla="*/ 257 w 741"/>
              <a:gd name="T85" fmla="*/ 1775 h 2046"/>
              <a:gd name="T86" fmla="*/ 293 w 741"/>
              <a:gd name="T87" fmla="*/ 1373 h 2046"/>
              <a:gd name="T88" fmla="*/ 316 w 741"/>
              <a:gd name="T89" fmla="*/ 1224 h 2046"/>
              <a:gd name="T90" fmla="*/ 352 w 741"/>
              <a:gd name="T91" fmla="*/ 1458 h 2046"/>
              <a:gd name="T92" fmla="*/ 382 w 741"/>
              <a:gd name="T93" fmla="*/ 1697 h 2046"/>
              <a:gd name="T94" fmla="*/ 363 w 741"/>
              <a:gd name="T95" fmla="*/ 1810 h 2046"/>
              <a:gd name="T96" fmla="*/ 349 w 741"/>
              <a:gd name="T97" fmla="*/ 1921 h 2046"/>
              <a:gd name="T98" fmla="*/ 368 w 741"/>
              <a:gd name="T99" fmla="*/ 1966 h 2046"/>
              <a:gd name="T100" fmla="*/ 352 w 741"/>
              <a:gd name="T101" fmla="*/ 2030 h 2046"/>
              <a:gd name="T102" fmla="*/ 427 w 741"/>
              <a:gd name="T103" fmla="*/ 2044 h 2046"/>
              <a:gd name="T104" fmla="*/ 474 w 741"/>
              <a:gd name="T105" fmla="*/ 1997 h 2046"/>
              <a:gd name="T106" fmla="*/ 491 w 741"/>
              <a:gd name="T107" fmla="*/ 1919 h 2046"/>
              <a:gd name="T108" fmla="*/ 503 w 741"/>
              <a:gd name="T109" fmla="*/ 1824 h 2046"/>
              <a:gd name="T110" fmla="*/ 635 w 741"/>
              <a:gd name="T111" fmla="*/ 1597 h 2046"/>
              <a:gd name="T112" fmla="*/ 741 w 741"/>
              <a:gd name="T113" fmla="*/ 1491 h 2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41" h="2046">
                <a:moveTo>
                  <a:pt x="739" y="1375"/>
                </a:moveTo>
                <a:lnTo>
                  <a:pt x="732" y="1205"/>
                </a:lnTo>
                <a:lnTo>
                  <a:pt x="730" y="1203"/>
                </a:lnTo>
                <a:lnTo>
                  <a:pt x="725" y="1198"/>
                </a:lnTo>
                <a:lnTo>
                  <a:pt x="713" y="1193"/>
                </a:lnTo>
                <a:lnTo>
                  <a:pt x="699" y="1191"/>
                </a:lnTo>
                <a:lnTo>
                  <a:pt x="687" y="1191"/>
                </a:lnTo>
                <a:lnTo>
                  <a:pt x="635" y="1193"/>
                </a:lnTo>
                <a:lnTo>
                  <a:pt x="633" y="1179"/>
                </a:lnTo>
                <a:lnTo>
                  <a:pt x="628" y="1165"/>
                </a:lnTo>
                <a:lnTo>
                  <a:pt x="640" y="1156"/>
                </a:lnTo>
                <a:lnTo>
                  <a:pt x="642" y="1149"/>
                </a:lnTo>
                <a:lnTo>
                  <a:pt x="645" y="1139"/>
                </a:lnTo>
                <a:lnTo>
                  <a:pt x="647" y="1113"/>
                </a:lnTo>
                <a:lnTo>
                  <a:pt x="647" y="1080"/>
                </a:lnTo>
                <a:lnTo>
                  <a:pt x="649" y="1066"/>
                </a:lnTo>
                <a:lnTo>
                  <a:pt x="652" y="1052"/>
                </a:lnTo>
                <a:lnTo>
                  <a:pt x="652" y="1033"/>
                </a:lnTo>
                <a:lnTo>
                  <a:pt x="652" y="957"/>
                </a:lnTo>
                <a:lnTo>
                  <a:pt x="649" y="846"/>
                </a:lnTo>
                <a:lnTo>
                  <a:pt x="642" y="730"/>
                </a:lnTo>
                <a:lnTo>
                  <a:pt x="637" y="676"/>
                </a:lnTo>
                <a:lnTo>
                  <a:pt x="633" y="629"/>
                </a:lnTo>
                <a:lnTo>
                  <a:pt x="623" y="553"/>
                </a:lnTo>
                <a:lnTo>
                  <a:pt x="619" y="494"/>
                </a:lnTo>
                <a:lnTo>
                  <a:pt x="614" y="423"/>
                </a:lnTo>
                <a:lnTo>
                  <a:pt x="611" y="409"/>
                </a:lnTo>
                <a:lnTo>
                  <a:pt x="604" y="395"/>
                </a:lnTo>
                <a:lnTo>
                  <a:pt x="595" y="386"/>
                </a:lnTo>
                <a:lnTo>
                  <a:pt x="581" y="374"/>
                </a:lnTo>
                <a:lnTo>
                  <a:pt x="567" y="367"/>
                </a:lnTo>
                <a:lnTo>
                  <a:pt x="550" y="357"/>
                </a:lnTo>
                <a:lnTo>
                  <a:pt x="512" y="345"/>
                </a:lnTo>
                <a:lnTo>
                  <a:pt x="477" y="334"/>
                </a:lnTo>
                <a:lnTo>
                  <a:pt x="444" y="317"/>
                </a:lnTo>
                <a:lnTo>
                  <a:pt x="408" y="298"/>
                </a:lnTo>
                <a:lnTo>
                  <a:pt x="399" y="310"/>
                </a:lnTo>
                <a:lnTo>
                  <a:pt x="389" y="326"/>
                </a:lnTo>
                <a:lnTo>
                  <a:pt x="373" y="360"/>
                </a:lnTo>
                <a:lnTo>
                  <a:pt x="356" y="400"/>
                </a:lnTo>
                <a:lnTo>
                  <a:pt x="340" y="445"/>
                </a:lnTo>
                <a:lnTo>
                  <a:pt x="321" y="504"/>
                </a:lnTo>
                <a:lnTo>
                  <a:pt x="300" y="369"/>
                </a:lnTo>
                <a:lnTo>
                  <a:pt x="300" y="367"/>
                </a:lnTo>
                <a:lnTo>
                  <a:pt x="304" y="364"/>
                </a:lnTo>
                <a:lnTo>
                  <a:pt x="309" y="360"/>
                </a:lnTo>
                <a:lnTo>
                  <a:pt x="309" y="355"/>
                </a:lnTo>
                <a:lnTo>
                  <a:pt x="307" y="350"/>
                </a:lnTo>
                <a:lnTo>
                  <a:pt x="304" y="341"/>
                </a:lnTo>
                <a:lnTo>
                  <a:pt x="302" y="334"/>
                </a:lnTo>
                <a:lnTo>
                  <a:pt x="297" y="326"/>
                </a:lnTo>
                <a:lnTo>
                  <a:pt x="309" y="322"/>
                </a:lnTo>
                <a:lnTo>
                  <a:pt x="326" y="315"/>
                </a:lnTo>
                <a:lnTo>
                  <a:pt x="340" y="305"/>
                </a:lnTo>
                <a:lnTo>
                  <a:pt x="356" y="293"/>
                </a:lnTo>
                <a:lnTo>
                  <a:pt x="361" y="289"/>
                </a:lnTo>
                <a:lnTo>
                  <a:pt x="370" y="284"/>
                </a:lnTo>
                <a:lnTo>
                  <a:pt x="385" y="277"/>
                </a:lnTo>
                <a:lnTo>
                  <a:pt x="389" y="270"/>
                </a:lnTo>
                <a:lnTo>
                  <a:pt x="392" y="260"/>
                </a:lnTo>
                <a:lnTo>
                  <a:pt x="392" y="234"/>
                </a:lnTo>
                <a:lnTo>
                  <a:pt x="394" y="223"/>
                </a:lnTo>
                <a:lnTo>
                  <a:pt x="396" y="213"/>
                </a:lnTo>
                <a:lnTo>
                  <a:pt x="401" y="201"/>
                </a:lnTo>
                <a:lnTo>
                  <a:pt x="411" y="189"/>
                </a:lnTo>
                <a:lnTo>
                  <a:pt x="420" y="175"/>
                </a:lnTo>
                <a:lnTo>
                  <a:pt x="430" y="159"/>
                </a:lnTo>
                <a:lnTo>
                  <a:pt x="434" y="135"/>
                </a:lnTo>
                <a:lnTo>
                  <a:pt x="439" y="111"/>
                </a:lnTo>
                <a:lnTo>
                  <a:pt x="439" y="97"/>
                </a:lnTo>
                <a:lnTo>
                  <a:pt x="437" y="85"/>
                </a:lnTo>
                <a:lnTo>
                  <a:pt x="432" y="71"/>
                </a:lnTo>
                <a:lnTo>
                  <a:pt x="425" y="57"/>
                </a:lnTo>
                <a:lnTo>
                  <a:pt x="420" y="48"/>
                </a:lnTo>
                <a:lnTo>
                  <a:pt x="401" y="29"/>
                </a:lnTo>
                <a:lnTo>
                  <a:pt x="389" y="19"/>
                </a:lnTo>
                <a:lnTo>
                  <a:pt x="375" y="10"/>
                </a:lnTo>
                <a:lnTo>
                  <a:pt x="359" y="3"/>
                </a:lnTo>
                <a:lnTo>
                  <a:pt x="342" y="0"/>
                </a:lnTo>
                <a:lnTo>
                  <a:pt x="255" y="15"/>
                </a:lnTo>
                <a:lnTo>
                  <a:pt x="233" y="26"/>
                </a:lnTo>
                <a:lnTo>
                  <a:pt x="224" y="34"/>
                </a:lnTo>
                <a:lnTo>
                  <a:pt x="222" y="41"/>
                </a:lnTo>
                <a:lnTo>
                  <a:pt x="224" y="52"/>
                </a:lnTo>
                <a:lnTo>
                  <a:pt x="226" y="60"/>
                </a:lnTo>
                <a:lnTo>
                  <a:pt x="226" y="64"/>
                </a:lnTo>
                <a:lnTo>
                  <a:pt x="224" y="69"/>
                </a:lnTo>
                <a:lnTo>
                  <a:pt x="205" y="107"/>
                </a:lnTo>
                <a:lnTo>
                  <a:pt x="200" y="116"/>
                </a:lnTo>
                <a:lnTo>
                  <a:pt x="198" y="126"/>
                </a:lnTo>
                <a:lnTo>
                  <a:pt x="198" y="133"/>
                </a:lnTo>
                <a:lnTo>
                  <a:pt x="198" y="142"/>
                </a:lnTo>
                <a:lnTo>
                  <a:pt x="184" y="173"/>
                </a:lnTo>
                <a:lnTo>
                  <a:pt x="181" y="182"/>
                </a:lnTo>
                <a:lnTo>
                  <a:pt x="181" y="187"/>
                </a:lnTo>
                <a:lnTo>
                  <a:pt x="186" y="189"/>
                </a:lnTo>
                <a:lnTo>
                  <a:pt x="193" y="192"/>
                </a:lnTo>
                <a:lnTo>
                  <a:pt x="196" y="194"/>
                </a:lnTo>
                <a:lnTo>
                  <a:pt x="198" y="199"/>
                </a:lnTo>
                <a:lnTo>
                  <a:pt x="196" y="215"/>
                </a:lnTo>
                <a:lnTo>
                  <a:pt x="196" y="227"/>
                </a:lnTo>
                <a:lnTo>
                  <a:pt x="196" y="230"/>
                </a:lnTo>
                <a:lnTo>
                  <a:pt x="198" y="239"/>
                </a:lnTo>
                <a:lnTo>
                  <a:pt x="198" y="248"/>
                </a:lnTo>
                <a:lnTo>
                  <a:pt x="196" y="256"/>
                </a:lnTo>
                <a:lnTo>
                  <a:pt x="198" y="265"/>
                </a:lnTo>
                <a:lnTo>
                  <a:pt x="198" y="267"/>
                </a:lnTo>
                <a:lnTo>
                  <a:pt x="205" y="277"/>
                </a:lnTo>
                <a:lnTo>
                  <a:pt x="210" y="279"/>
                </a:lnTo>
                <a:lnTo>
                  <a:pt x="219" y="284"/>
                </a:lnTo>
                <a:lnTo>
                  <a:pt x="238" y="286"/>
                </a:lnTo>
                <a:lnTo>
                  <a:pt x="248" y="286"/>
                </a:lnTo>
                <a:lnTo>
                  <a:pt x="262" y="286"/>
                </a:lnTo>
                <a:lnTo>
                  <a:pt x="257" y="308"/>
                </a:lnTo>
                <a:lnTo>
                  <a:pt x="257" y="312"/>
                </a:lnTo>
                <a:lnTo>
                  <a:pt x="259" y="317"/>
                </a:lnTo>
                <a:lnTo>
                  <a:pt x="271" y="329"/>
                </a:lnTo>
                <a:lnTo>
                  <a:pt x="276" y="331"/>
                </a:lnTo>
                <a:lnTo>
                  <a:pt x="281" y="329"/>
                </a:lnTo>
                <a:lnTo>
                  <a:pt x="283" y="329"/>
                </a:lnTo>
                <a:lnTo>
                  <a:pt x="278" y="331"/>
                </a:lnTo>
                <a:lnTo>
                  <a:pt x="274" y="341"/>
                </a:lnTo>
                <a:lnTo>
                  <a:pt x="271" y="345"/>
                </a:lnTo>
                <a:lnTo>
                  <a:pt x="269" y="350"/>
                </a:lnTo>
                <a:lnTo>
                  <a:pt x="274" y="360"/>
                </a:lnTo>
                <a:lnTo>
                  <a:pt x="278" y="367"/>
                </a:lnTo>
                <a:lnTo>
                  <a:pt x="250" y="456"/>
                </a:lnTo>
                <a:lnTo>
                  <a:pt x="245" y="471"/>
                </a:lnTo>
                <a:lnTo>
                  <a:pt x="245" y="456"/>
                </a:lnTo>
                <a:lnTo>
                  <a:pt x="243" y="362"/>
                </a:lnTo>
                <a:lnTo>
                  <a:pt x="243" y="331"/>
                </a:lnTo>
                <a:lnTo>
                  <a:pt x="245" y="317"/>
                </a:lnTo>
                <a:lnTo>
                  <a:pt x="248" y="315"/>
                </a:lnTo>
                <a:lnTo>
                  <a:pt x="229" y="322"/>
                </a:lnTo>
                <a:lnTo>
                  <a:pt x="172" y="345"/>
                </a:lnTo>
                <a:lnTo>
                  <a:pt x="115" y="369"/>
                </a:lnTo>
                <a:lnTo>
                  <a:pt x="92" y="381"/>
                </a:lnTo>
                <a:lnTo>
                  <a:pt x="78" y="390"/>
                </a:lnTo>
                <a:lnTo>
                  <a:pt x="70" y="397"/>
                </a:lnTo>
                <a:lnTo>
                  <a:pt x="66" y="407"/>
                </a:lnTo>
                <a:lnTo>
                  <a:pt x="61" y="419"/>
                </a:lnTo>
                <a:lnTo>
                  <a:pt x="59" y="430"/>
                </a:lnTo>
                <a:lnTo>
                  <a:pt x="56" y="459"/>
                </a:lnTo>
                <a:lnTo>
                  <a:pt x="52" y="489"/>
                </a:lnTo>
                <a:lnTo>
                  <a:pt x="37" y="650"/>
                </a:lnTo>
                <a:lnTo>
                  <a:pt x="28" y="726"/>
                </a:lnTo>
                <a:lnTo>
                  <a:pt x="21" y="785"/>
                </a:lnTo>
                <a:lnTo>
                  <a:pt x="16" y="851"/>
                </a:lnTo>
                <a:lnTo>
                  <a:pt x="7" y="990"/>
                </a:lnTo>
                <a:lnTo>
                  <a:pt x="0" y="1073"/>
                </a:lnTo>
                <a:lnTo>
                  <a:pt x="2" y="1078"/>
                </a:lnTo>
                <a:lnTo>
                  <a:pt x="2" y="1082"/>
                </a:lnTo>
                <a:lnTo>
                  <a:pt x="9" y="1089"/>
                </a:lnTo>
                <a:lnTo>
                  <a:pt x="16" y="1094"/>
                </a:lnTo>
                <a:lnTo>
                  <a:pt x="18" y="1097"/>
                </a:lnTo>
                <a:lnTo>
                  <a:pt x="16" y="1123"/>
                </a:lnTo>
                <a:lnTo>
                  <a:pt x="14" y="1158"/>
                </a:lnTo>
                <a:lnTo>
                  <a:pt x="16" y="1193"/>
                </a:lnTo>
                <a:lnTo>
                  <a:pt x="18" y="1210"/>
                </a:lnTo>
                <a:lnTo>
                  <a:pt x="21" y="1217"/>
                </a:lnTo>
                <a:lnTo>
                  <a:pt x="23" y="1222"/>
                </a:lnTo>
                <a:lnTo>
                  <a:pt x="30" y="1229"/>
                </a:lnTo>
                <a:lnTo>
                  <a:pt x="33" y="1234"/>
                </a:lnTo>
                <a:lnTo>
                  <a:pt x="35" y="1231"/>
                </a:lnTo>
                <a:lnTo>
                  <a:pt x="37" y="1229"/>
                </a:lnTo>
                <a:lnTo>
                  <a:pt x="35" y="1205"/>
                </a:lnTo>
                <a:lnTo>
                  <a:pt x="40" y="1215"/>
                </a:lnTo>
                <a:lnTo>
                  <a:pt x="54" y="1227"/>
                </a:lnTo>
                <a:lnTo>
                  <a:pt x="68" y="1241"/>
                </a:lnTo>
                <a:lnTo>
                  <a:pt x="78" y="1248"/>
                </a:lnTo>
                <a:lnTo>
                  <a:pt x="85" y="1248"/>
                </a:lnTo>
                <a:lnTo>
                  <a:pt x="87" y="1243"/>
                </a:lnTo>
                <a:lnTo>
                  <a:pt x="87" y="1238"/>
                </a:lnTo>
                <a:lnTo>
                  <a:pt x="94" y="1238"/>
                </a:lnTo>
                <a:lnTo>
                  <a:pt x="101" y="1238"/>
                </a:lnTo>
                <a:lnTo>
                  <a:pt x="104" y="1236"/>
                </a:lnTo>
                <a:lnTo>
                  <a:pt x="106" y="1234"/>
                </a:lnTo>
                <a:lnTo>
                  <a:pt x="104" y="1229"/>
                </a:lnTo>
                <a:lnTo>
                  <a:pt x="92" y="1217"/>
                </a:lnTo>
                <a:lnTo>
                  <a:pt x="82" y="1208"/>
                </a:lnTo>
                <a:lnTo>
                  <a:pt x="73" y="1196"/>
                </a:lnTo>
                <a:lnTo>
                  <a:pt x="66" y="1184"/>
                </a:lnTo>
                <a:lnTo>
                  <a:pt x="63" y="1172"/>
                </a:lnTo>
                <a:lnTo>
                  <a:pt x="63" y="1163"/>
                </a:lnTo>
                <a:lnTo>
                  <a:pt x="66" y="1156"/>
                </a:lnTo>
                <a:lnTo>
                  <a:pt x="68" y="1153"/>
                </a:lnTo>
                <a:lnTo>
                  <a:pt x="73" y="1153"/>
                </a:lnTo>
                <a:lnTo>
                  <a:pt x="78" y="1156"/>
                </a:lnTo>
                <a:lnTo>
                  <a:pt x="80" y="1165"/>
                </a:lnTo>
                <a:lnTo>
                  <a:pt x="82" y="1186"/>
                </a:lnTo>
                <a:lnTo>
                  <a:pt x="82" y="1191"/>
                </a:lnTo>
                <a:lnTo>
                  <a:pt x="85" y="1196"/>
                </a:lnTo>
                <a:lnTo>
                  <a:pt x="92" y="1201"/>
                </a:lnTo>
                <a:lnTo>
                  <a:pt x="99" y="1201"/>
                </a:lnTo>
                <a:lnTo>
                  <a:pt x="104" y="1201"/>
                </a:lnTo>
                <a:lnTo>
                  <a:pt x="101" y="1137"/>
                </a:lnTo>
                <a:lnTo>
                  <a:pt x="99" y="1108"/>
                </a:lnTo>
                <a:lnTo>
                  <a:pt x="99" y="1094"/>
                </a:lnTo>
                <a:lnTo>
                  <a:pt x="99" y="1087"/>
                </a:lnTo>
                <a:lnTo>
                  <a:pt x="96" y="1075"/>
                </a:lnTo>
                <a:lnTo>
                  <a:pt x="94" y="1064"/>
                </a:lnTo>
                <a:lnTo>
                  <a:pt x="92" y="1054"/>
                </a:lnTo>
                <a:lnTo>
                  <a:pt x="94" y="1030"/>
                </a:lnTo>
                <a:lnTo>
                  <a:pt x="96" y="1021"/>
                </a:lnTo>
                <a:lnTo>
                  <a:pt x="96" y="1026"/>
                </a:lnTo>
                <a:lnTo>
                  <a:pt x="99" y="1052"/>
                </a:lnTo>
                <a:lnTo>
                  <a:pt x="99" y="1087"/>
                </a:lnTo>
                <a:lnTo>
                  <a:pt x="106" y="1120"/>
                </a:lnTo>
                <a:lnTo>
                  <a:pt x="113" y="1167"/>
                </a:lnTo>
                <a:lnTo>
                  <a:pt x="125" y="1255"/>
                </a:lnTo>
                <a:lnTo>
                  <a:pt x="132" y="1349"/>
                </a:lnTo>
                <a:lnTo>
                  <a:pt x="137" y="1420"/>
                </a:lnTo>
                <a:lnTo>
                  <a:pt x="139" y="1503"/>
                </a:lnTo>
                <a:lnTo>
                  <a:pt x="144" y="1623"/>
                </a:lnTo>
                <a:lnTo>
                  <a:pt x="151" y="1803"/>
                </a:lnTo>
                <a:lnTo>
                  <a:pt x="148" y="1817"/>
                </a:lnTo>
                <a:lnTo>
                  <a:pt x="146" y="1831"/>
                </a:lnTo>
                <a:lnTo>
                  <a:pt x="139" y="1867"/>
                </a:lnTo>
                <a:lnTo>
                  <a:pt x="137" y="1883"/>
                </a:lnTo>
                <a:lnTo>
                  <a:pt x="134" y="1900"/>
                </a:lnTo>
                <a:lnTo>
                  <a:pt x="134" y="1914"/>
                </a:lnTo>
                <a:lnTo>
                  <a:pt x="139" y="1923"/>
                </a:lnTo>
                <a:lnTo>
                  <a:pt x="146" y="1940"/>
                </a:lnTo>
                <a:lnTo>
                  <a:pt x="151" y="1949"/>
                </a:lnTo>
                <a:lnTo>
                  <a:pt x="148" y="1959"/>
                </a:lnTo>
                <a:lnTo>
                  <a:pt x="141" y="1966"/>
                </a:lnTo>
                <a:lnTo>
                  <a:pt x="127" y="1978"/>
                </a:lnTo>
                <a:lnTo>
                  <a:pt x="120" y="1990"/>
                </a:lnTo>
                <a:lnTo>
                  <a:pt x="118" y="1999"/>
                </a:lnTo>
                <a:lnTo>
                  <a:pt x="115" y="2011"/>
                </a:lnTo>
                <a:lnTo>
                  <a:pt x="118" y="2016"/>
                </a:lnTo>
                <a:lnTo>
                  <a:pt x="120" y="2023"/>
                </a:lnTo>
                <a:lnTo>
                  <a:pt x="125" y="2027"/>
                </a:lnTo>
                <a:lnTo>
                  <a:pt x="132" y="2030"/>
                </a:lnTo>
                <a:lnTo>
                  <a:pt x="141" y="2034"/>
                </a:lnTo>
                <a:lnTo>
                  <a:pt x="153" y="2037"/>
                </a:lnTo>
                <a:lnTo>
                  <a:pt x="174" y="2039"/>
                </a:lnTo>
                <a:lnTo>
                  <a:pt x="193" y="2037"/>
                </a:lnTo>
                <a:lnTo>
                  <a:pt x="210" y="2034"/>
                </a:lnTo>
                <a:lnTo>
                  <a:pt x="224" y="2030"/>
                </a:lnTo>
                <a:lnTo>
                  <a:pt x="233" y="2023"/>
                </a:lnTo>
                <a:lnTo>
                  <a:pt x="243" y="2016"/>
                </a:lnTo>
                <a:lnTo>
                  <a:pt x="255" y="2001"/>
                </a:lnTo>
                <a:lnTo>
                  <a:pt x="259" y="1997"/>
                </a:lnTo>
                <a:lnTo>
                  <a:pt x="259" y="1990"/>
                </a:lnTo>
                <a:lnTo>
                  <a:pt x="259" y="1973"/>
                </a:lnTo>
                <a:lnTo>
                  <a:pt x="257" y="1956"/>
                </a:lnTo>
                <a:lnTo>
                  <a:pt x="259" y="1945"/>
                </a:lnTo>
                <a:lnTo>
                  <a:pt x="264" y="1931"/>
                </a:lnTo>
                <a:lnTo>
                  <a:pt x="269" y="1919"/>
                </a:lnTo>
                <a:lnTo>
                  <a:pt x="271" y="1907"/>
                </a:lnTo>
                <a:lnTo>
                  <a:pt x="269" y="1897"/>
                </a:lnTo>
                <a:lnTo>
                  <a:pt x="269" y="1886"/>
                </a:lnTo>
                <a:lnTo>
                  <a:pt x="262" y="1867"/>
                </a:lnTo>
                <a:lnTo>
                  <a:pt x="252" y="1850"/>
                </a:lnTo>
                <a:lnTo>
                  <a:pt x="250" y="1838"/>
                </a:lnTo>
                <a:lnTo>
                  <a:pt x="250" y="1819"/>
                </a:lnTo>
                <a:lnTo>
                  <a:pt x="257" y="1775"/>
                </a:lnTo>
                <a:lnTo>
                  <a:pt x="264" y="1720"/>
                </a:lnTo>
                <a:lnTo>
                  <a:pt x="269" y="1668"/>
                </a:lnTo>
                <a:lnTo>
                  <a:pt x="274" y="1614"/>
                </a:lnTo>
                <a:lnTo>
                  <a:pt x="278" y="1548"/>
                </a:lnTo>
                <a:lnTo>
                  <a:pt x="285" y="1470"/>
                </a:lnTo>
                <a:lnTo>
                  <a:pt x="293" y="1373"/>
                </a:lnTo>
                <a:lnTo>
                  <a:pt x="295" y="1328"/>
                </a:lnTo>
                <a:lnTo>
                  <a:pt x="297" y="1293"/>
                </a:lnTo>
                <a:lnTo>
                  <a:pt x="302" y="1264"/>
                </a:lnTo>
                <a:lnTo>
                  <a:pt x="307" y="1245"/>
                </a:lnTo>
                <a:lnTo>
                  <a:pt x="311" y="1231"/>
                </a:lnTo>
                <a:lnTo>
                  <a:pt x="316" y="1224"/>
                </a:lnTo>
                <a:lnTo>
                  <a:pt x="318" y="1219"/>
                </a:lnTo>
                <a:lnTo>
                  <a:pt x="321" y="1243"/>
                </a:lnTo>
                <a:lnTo>
                  <a:pt x="323" y="1271"/>
                </a:lnTo>
                <a:lnTo>
                  <a:pt x="335" y="1340"/>
                </a:lnTo>
                <a:lnTo>
                  <a:pt x="344" y="1406"/>
                </a:lnTo>
                <a:lnTo>
                  <a:pt x="352" y="1458"/>
                </a:lnTo>
                <a:lnTo>
                  <a:pt x="356" y="1498"/>
                </a:lnTo>
                <a:lnTo>
                  <a:pt x="363" y="1534"/>
                </a:lnTo>
                <a:lnTo>
                  <a:pt x="370" y="1571"/>
                </a:lnTo>
                <a:lnTo>
                  <a:pt x="375" y="1609"/>
                </a:lnTo>
                <a:lnTo>
                  <a:pt x="380" y="1652"/>
                </a:lnTo>
                <a:lnTo>
                  <a:pt x="382" y="1697"/>
                </a:lnTo>
                <a:lnTo>
                  <a:pt x="382" y="1718"/>
                </a:lnTo>
                <a:lnTo>
                  <a:pt x="380" y="1737"/>
                </a:lnTo>
                <a:lnTo>
                  <a:pt x="378" y="1756"/>
                </a:lnTo>
                <a:lnTo>
                  <a:pt x="370" y="1772"/>
                </a:lnTo>
                <a:lnTo>
                  <a:pt x="363" y="1793"/>
                </a:lnTo>
                <a:lnTo>
                  <a:pt x="363" y="1810"/>
                </a:lnTo>
                <a:lnTo>
                  <a:pt x="366" y="1824"/>
                </a:lnTo>
                <a:lnTo>
                  <a:pt x="368" y="1843"/>
                </a:lnTo>
                <a:lnTo>
                  <a:pt x="363" y="1864"/>
                </a:lnTo>
                <a:lnTo>
                  <a:pt x="359" y="1886"/>
                </a:lnTo>
                <a:lnTo>
                  <a:pt x="352" y="1905"/>
                </a:lnTo>
                <a:lnTo>
                  <a:pt x="349" y="1921"/>
                </a:lnTo>
                <a:lnTo>
                  <a:pt x="349" y="1926"/>
                </a:lnTo>
                <a:lnTo>
                  <a:pt x="352" y="1933"/>
                </a:lnTo>
                <a:lnTo>
                  <a:pt x="361" y="1945"/>
                </a:lnTo>
                <a:lnTo>
                  <a:pt x="370" y="1956"/>
                </a:lnTo>
                <a:lnTo>
                  <a:pt x="370" y="1961"/>
                </a:lnTo>
                <a:lnTo>
                  <a:pt x="368" y="1966"/>
                </a:lnTo>
                <a:lnTo>
                  <a:pt x="359" y="1973"/>
                </a:lnTo>
                <a:lnTo>
                  <a:pt x="354" y="1985"/>
                </a:lnTo>
                <a:lnTo>
                  <a:pt x="349" y="1997"/>
                </a:lnTo>
                <a:lnTo>
                  <a:pt x="349" y="2011"/>
                </a:lnTo>
                <a:lnTo>
                  <a:pt x="349" y="2025"/>
                </a:lnTo>
                <a:lnTo>
                  <a:pt x="352" y="2030"/>
                </a:lnTo>
                <a:lnTo>
                  <a:pt x="356" y="2034"/>
                </a:lnTo>
                <a:lnTo>
                  <a:pt x="363" y="2039"/>
                </a:lnTo>
                <a:lnTo>
                  <a:pt x="375" y="2044"/>
                </a:lnTo>
                <a:lnTo>
                  <a:pt x="389" y="2044"/>
                </a:lnTo>
                <a:lnTo>
                  <a:pt x="408" y="2046"/>
                </a:lnTo>
                <a:lnTo>
                  <a:pt x="427" y="2044"/>
                </a:lnTo>
                <a:lnTo>
                  <a:pt x="444" y="2039"/>
                </a:lnTo>
                <a:lnTo>
                  <a:pt x="453" y="2034"/>
                </a:lnTo>
                <a:lnTo>
                  <a:pt x="463" y="2027"/>
                </a:lnTo>
                <a:lnTo>
                  <a:pt x="470" y="2020"/>
                </a:lnTo>
                <a:lnTo>
                  <a:pt x="472" y="2011"/>
                </a:lnTo>
                <a:lnTo>
                  <a:pt x="474" y="1997"/>
                </a:lnTo>
                <a:lnTo>
                  <a:pt x="472" y="1973"/>
                </a:lnTo>
                <a:lnTo>
                  <a:pt x="472" y="1964"/>
                </a:lnTo>
                <a:lnTo>
                  <a:pt x="474" y="1956"/>
                </a:lnTo>
                <a:lnTo>
                  <a:pt x="479" y="1949"/>
                </a:lnTo>
                <a:lnTo>
                  <a:pt x="486" y="1935"/>
                </a:lnTo>
                <a:lnTo>
                  <a:pt x="491" y="1919"/>
                </a:lnTo>
                <a:lnTo>
                  <a:pt x="491" y="1900"/>
                </a:lnTo>
                <a:lnTo>
                  <a:pt x="491" y="1879"/>
                </a:lnTo>
                <a:lnTo>
                  <a:pt x="491" y="1869"/>
                </a:lnTo>
                <a:lnTo>
                  <a:pt x="493" y="1862"/>
                </a:lnTo>
                <a:lnTo>
                  <a:pt x="498" y="1848"/>
                </a:lnTo>
                <a:lnTo>
                  <a:pt x="503" y="1824"/>
                </a:lnTo>
                <a:lnTo>
                  <a:pt x="507" y="1803"/>
                </a:lnTo>
                <a:lnTo>
                  <a:pt x="510" y="1777"/>
                </a:lnTo>
                <a:lnTo>
                  <a:pt x="510" y="1704"/>
                </a:lnTo>
                <a:lnTo>
                  <a:pt x="507" y="1628"/>
                </a:lnTo>
                <a:lnTo>
                  <a:pt x="564" y="1616"/>
                </a:lnTo>
                <a:lnTo>
                  <a:pt x="635" y="1597"/>
                </a:lnTo>
                <a:lnTo>
                  <a:pt x="725" y="1571"/>
                </a:lnTo>
                <a:lnTo>
                  <a:pt x="730" y="1569"/>
                </a:lnTo>
                <a:lnTo>
                  <a:pt x="734" y="1567"/>
                </a:lnTo>
                <a:lnTo>
                  <a:pt x="739" y="1560"/>
                </a:lnTo>
                <a:lnTo>
                  <a:pt x="741" y="1550"/>
                </a:lnTo>
                <a:lnTo>
                  <a:pt x="741" y="1491"/>
                </a:lnTo>
                <a:lnTo>
                  <a:pt x="739" y="137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86" name="Freeform 79"/>
          <p:cNvSpPr>
            <a:spLocks noEditPoints="1"/>
          </p:cNvSpPr>
          <p:nvPr>
            <p:custDataLst>
              <p:tags r:id="rId18"/>
            </p:custDataLst>
          </p:nvPr>
        </p:nvSpPr>
        <p:spPr bwMode="gray">
          <a:xfrm>
            <a:off x="2555720" y="2055054"/>
            <a:ext cx="176212" cy="584200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87" name="Freeform 96"/>
          <p:cNvSpPr>
            <a:spLocks noChangeAspect="1" noEditPoints="1"/>
          </p:cNvSpPr>
          <p:nvPr>
            <p:custDataLst>
              <p:tags r:id="rId19"/>
            </p:custDataLst>
          </p:nvPr>
        </p:nvSpPr>
        <p:spPr bwMode="gray">
          <a:xfrm flipH="1">
            <a:off x="2779165" y="1952836"/>
            <a:ext cx="149225" cy="465137"/>
          </a:xfrm>
          <a:custGeom>
            <a:avLst/>
            <a:gdLst>
              <a:gd name="T0" fmla="*/ 270 w 306"/>
              <a:gd name="T1" fmla="*/ 314 h 957"/>
              <a:gd name="T2" fmla="*/ 250 w 306"/>
              <a:gd name="T3" fmla="*/ 172 h 957"/>
              <a:gd name="T4" fmla="*/ 224 w 306"/>
              <a:gd name="T5" fmla="*/ 147 h 957"/>
              <a:gd name="T6" fmla="*/ 226 w 306"/>
              <a:gd name="T7" fmla="*/ 102 h 957"/>
              <a:gd name="T8" fmla="*/ 209 w 306"/>
              <a:gd name="T9" fmla="*/ 49 h 957"/>
              <a:gd name="T10" fmla="*/ 191 w 306"/>
              <a:gd name="T11" fmla="*/ 6 h 957"/>
              <a:gd name="T12" fmla="*/ 138 w 306"/>
              <a:gd name="T13" fmla="*/ 8 h 957"/>
              <a:gd name="T14" fmla="*/ 116 w 306"/>
              <a:gd name="T15" fmla="*/ 41 h 957"/>
              <a:gd name="T16" fmla="*/ 101 w 306"/>
              <a:gd name="T17" fmla="*/ 79 h 957"/>
              <a:gd name="T18" fmla="*/ 93 w 306"/>
              <a:gd name="T19" fmla="*/ 113 h 957"/>
              <a:gd name="T20" fmla="*/ 95 w 306"/>
              <a:gd name="T21" fmla="*/ 118 h 957"/>
              <a:gd name="T22" fmla="*/ 97 w 306"/>
              <a:gd name="T23" fmla="*/ 124 h 957"/>
              <a:gd name="T24" fmla="*/ 87 w 306"/>
              <a:gd name="T25" fmla="*/ 154 h 957"/>
              <a:gd name="T26" fmla="*/ 55 w 306"/>
              <a:gd name="T27" fmla="*/ 189 h 957"/>
              <a:gd name="T28" fmla="*/ 53 w 306"/>
              <a:gd name="T29" fmla="*/ 427 h 957"/>
              <a:gd name="T30" fmla="*/ 53 w 306"/>
              <a:gd name="T31" fmla="*/ 488 h 957"/>
              <a:gd name="T32" fmla="*/ 5 w 306"/>
              <a:gd name="T33" fmla="*/ 501 h 957"/>
              <a:gd name="T34" fmla="*/ 8 w 306"/>
              <a:gd name="T35" fmla="*/ 684 h 957"/>
              <a:gd name="T36" fmla="*/ 87 w 306"/>
              <a:gd name="T37" fmla="*/ 838 h 957"/>
              <a:gd name="T38" fmla="*/ 76 w 306"/>
              <a:gd name="T39" fmla="*/ 939 h 957"/>
              <a:gd name="T40" fmla="*/ 94 w 306"/>
              <a:gd name="T41" fmla="*/ 956 h 957"/>
              <a:gd name="T42" fmla="*/ 102 w 306"/>
              <a:gd name="T43" fmla="*/ 870 h 957"/>
              <a:gd name="T44" fmla="*/ 130 w 306"/>
              <a:gd name="T45" fmla="*/ 707 h 957"/>
              <a:gd name="T46" fmla="*/ 183 w 306"/>
              <a:gd name="T47" fmla="*/ 639 h 957"/>
              <a:gd name="T48" fmla="*/ 192 w 306"/>
              <a:gd name="T49" fmla="*/ 741 h 957"/>
              <a:gd name="T50" fmla="*/ 202 w 306"/>
              <a:gd name="T51" fmla="*/ 885 h 957"/>
              <a:gd name="T52" fmla="*/ 211 w 306"/>
              <a:gd name="T53" fmla="*/ 910 h 957"/>
              <a:gd name="T54" fmla="*/ 222 w 306"/>
              <a:gd name="T55" fmla="*/ 941 h 957"/>
              <a:gd name="T56" fmla="*/ 258 w 306"/>
              <a:gd name="T57" fmla="*/ 947 h 957"/>
              <a:gd name="T58" fmla="*/ 227 w 306"/>
              <a:gd name="T59" fmla="*/ 873 h 957"/>
              <a:gd name="T60" fmla="*/ 227 w 306"/>
              <a:gd name="T61" fmla="*/ 657 h 957"/>
              <a:gd name="T62" fmla="*/ 245 w 306"/>
              <a:gd name="T63" fmla="*/ 630 h 957"/>
              <a:gd name="T64" fmla="*/ 258 w 306"/>
              <a:gd name="T65" fmla="*/ 441 h 957"/>
              <a:gd name="T66" fmla="*/ 281 w 306"/>
              <a:gd name="T67" fmla="*/ 481 h 957"/>
              <a:gd name="T68" fmla="*/ 286 w 306"/>
              <a:gd name="T69" fmla="*/ 492 h 957"/>
              <a:gd name="T70" fmla="*/ 295 w 306"/>
              <a:gd name="T71" fmla="*/ 495 h 957"/>
              <a:gd name="T72" fmla="*/ 305 w 306"/>
              <a:gd name="T73" fmla="*/ 497 h 957"/>
              <a:gd name="T74" fmla="*/ 63 w 306"/>
              <a:gd name="T75" fmla="*/ 500 h 957"/>
              <a:gd name="T76" fmla="*/ 74 w 306"/>
              <a:gd name="T77" fmla="*/ 495 h 957"/>
              <a:gd name="T78" fmla="*/ 81 w 306"/>
              <a:gd name="T79" fmla="*/ 479 h 957"/>
              <a:gd name="T80" fmla="*/ 79 w 306"/>
              <a:gd name="T81" fmla="*/ 455 h 957"/>
              <a:gd name="T82" fmla="*/ 87 w 306"/>
              <a:gd name="T83" fmla="*/ 442 h 957"/>
              <a:gd name="T84" fmla="*/ 99 w 306"/>
              <a:gd name="T85" fmla="*/ 126 h 957"/>
              <a:gd name="T86" fmla="*/ 213 w 306"/>
              <a:gd name="T87" fmla="*/ 188 h 957"/>
              <a:gd name="T88" fmla="*/ 187 w 306"/>
              <a:gd name="T89" fmla="*/ 251 h 957"/>
              <a:gd name="T90" fmla="*/ 189 w 306"/>
              <a:gd name="T91" fmla="*/ 382 h 957"/>
              <a:gd name="T92" fmla="*/ 172 w 306"/>
              <a:gd name="T93" fmla="*/ 391 h 957"/>
              <a:gd name="T94" fmla="*/ 146 w 306"/>
              <a:gd name="T95" fmla="*/ 374 h 957"/>
              <a:gd name="T96" fmla="*/ 151 w 306"/>
              <a:gd name="T97" fmla="*/ 232 h 957"/>
              <a:gd name="T98" fmla="*/ 133 w 306"/>
              <a:gd name="T99" fmla="*/ 184 h 957"/>
              <a:gd name="T100" fmla="*/ 122 w 306"/>
              <a:gd name="T101" fmla="*/ 159 h 957"/>
              <a:gd name="T102" fmla="*/ 131 w 306"/>
              <a:gd name="T103" fmla="*/ 151 h 957"/>
              <a:gd name="T104" fmla="*/ 167 w 306"/>
              <a:gd name="T105" fmla="*/ 195 h 957"/>
              <a:gd name="T106" fmla="*/ 190 w 306"/>
              <a:gd name="T107" fmla="*/ 158 h 957"/>
              <a:gd name="T108" fmla="*/ 218 w 306"/>
              <a:gd name="T109" fmla="*/ 87 h 957"/>
              <a:gd name="T110" fmla="*/ 225 w 306"/>
              <a:gd name="T111" fmla="*/ 104 h 957"/>
              <a:gd name="T112" fmla="*/ 226 w 306"/>
              <a:gd name="T113" fmla="*/ 119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6" h="957">
                <a:moveTo>
                  <a:pt x="304" y="482"/>
                </a:moveTo>
                <a:cubicBezTo>
                  <a:pt x="302" y="477"/>
                  <a:pt x="302" y="477"/>
                  <a:pt x="302" y="477"/>
                </a:cubicBezTo>
                <a:cubicBezTo>
                  <a:pt x="293" y="461"/>
                  <a:pt x="293" y="461"/>
                  <a:pt x="293" y="461"/>
                </a:cubicBezTo>
                <a:cubicBezTo>
                  <a:pt x="288" y="453"/>
                  <a:pt x="288" y="453"/>
                  <a:pt x="288" y="453"/>
                </a:cubicBezTo>
                <a:cubicBezTo>
                  <a:pt x="286" y="446"/>
                  <a:pt x="286" y="446"/>
                  <a:pt x="286" y="446"/>
                </a:cubicBezTo>
                <a:cubicBezTo>
                  <a:pt x="275" y="355"/>
                  <a:pt x="275" y="355"/>
                  <a:pt x="275" y="355"/>
                </a:cubicBezTo>
                <a:cubicBezTo>
                  <a:pt x="270" y="314"/>
                  <a:pt x="270" y="314"/>
                  <a:pt x="270" y="314"/>
                </a:cubicBezTo>
                <a:cubicBezTo>
                  <a:pt x="266" y="271"/>
                  <a:pt x="266" y="271"/>
                  <a:pt x="266" y="271"/>
                </a:cubicBezTo>
                <a:cubicBezTo>
                  <a:pt x="262" y="232"/>
                  <a:pt x="262" y="232"/>
                  <a:pt x="262" y="232"/>
                </a:cubicBezTo>
                <a:cubicBezTo>
                  <a:pt x="258" y="204"/>
                  <a:pt x="258" y="204"/>
                  <a:pt x="258" y="204"/>
                </a:cubicBezTo>
                <a:cubicBezTo>
                  <a:pt x="255" y="189"/>
                  <a:pt x="255" y="189"/>
                  <a:pt x="255" y="189"/>
                </a:cubicBezTo>
                <a:cubicBezTo>
                  <a:pt x="254" y="183"/>
                  <a:pt x="254" y="183"/>
                  <a:pt x="254" y="183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0" y="172"/>
                  <a:pt x="250" y="172"/>
                  <a:pt x="250" y="172"/>
                </a:cubicBezTo>
                <a:cubicBezTo>
                  <a:pt x="247" y="167"/>
                  <a:pt x="247" y="167"/>
                  <a:pt x="247" y="167"/>
                </a:cubicBezTo>
                <a:cubicBezTo>
                  <a:pt x="241" y="163"/>
                  <a:pt x="241" y="163"/>
                  <a:pt x="241" y="163"/>
                </a:cubicBezTo>
                <a:cubicBezTo>
                  <a:pt x="233" y="158"/>
                  <a:pt x="233" y="158"/>
                  <a:pt x="233" y="158"/>
                </a:cubicBezTo>
                <a:cubicBezTo>
                  <a:pt x="228" y="156"/>
                  <a:pt x="228" y="156"/>
                  <a:pt x="228" y="156"/>
                </a:cubicBezTo>
                <a:cubicBezTo>
                  <a:pt x="227" y="155"/>
                  <a:pt x="227" y="155"/>
                  <a:pt x="227" y="155"/>
                </a:cubicBezTo>
                <a:cubicBezTo>
                  <a:pt x="225" y="151"/>
                  <a:pt x="225" y="151"/>
                  <a:pt x="225" y="151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224" y="142"/>
                  <a:pt x="224" y="142"/>
                  <a:pt x="224" y="142"/>
                </a:cubicBezTo>
                <a:cubicBezTo>
                  <a:pt x="225" y="135"/>
                  <a:pt x="225" y="135"/>
                  <a:pt x="225" y="135"/>
                </a:cubicBezTo>
                <a:cubicBezTo>
                  <a:pt x="227" y="131"/>
                  <a:pt x="227" y="131"/>
                  <a:pt x="227" y="131"/>
                </a:cubicBezTo>
                <a:cubicBezTo>
                  <a:pt x="229" y="127"/>
                  <a:pt x="229" y="127"/>
                  <a:pt x="229" y="127"/>
                </a:cubicBezTo>
                <a:cubicBezTo>
                  <a:pt x="230" y="118"/>
                  <a:pt x="230" y="118"/>
                  <a:pt x="230" y="118"/>
                </a:cubicBezTo>
                <a:cubicBezTo>
                  <a:pt x="229" y="110"/>
                  <a:pt x="229" y="110"/>
                  <a:pt x="229" y="110"/>
                </a:cubicBezTo>
                <a:cubicBezTo>
                  <a:pt x="226" y="102"/>
                  <a:pt x="226" y="102"/>
                  <a:pt x="226" y="102"/>
                </a:cubicBezTo>
                <a:cubicBezTo>
                  <a:pt x="226" y="97"/>
                  <a:pt x="226" y="97"/>
                  <a:pt x="226" y="97"/>
                </a:cubicBezTo>
                <a:cubicBezTo>
                  <a:pt x="225" y="91"/>
                  <a:pt x="225" y="91"/>
                  <a:pt x="225" y="91"/>
                </a:cubicBezTo>
                <a:cubicBezTo>
                  <a:pt x="222" y="84"/>
                  <a:pt x="222" y="84"/>
                  <a:pt x="222" y="84"/>
                </a:cubicBezTo>
                <a:cubicBezTo>
                  <a:pt x="217" y="75"/>
                  <a:pt x="217" y="75"/>
                  <a:pt x="217" y="75"/>
                </a:cubicBezTo>
                <a:cubicBezTo>
                  <a:pt x="214" y="69"/>
                  <a:pt x="214" y="69"/>
                  <a:pt x="214" y="69"/>
                </a:cubicBezTo>
                <a:cubicBezTo>
                  <a:pt x="212" y="63"/>
                  <a:pt x="212" y="63"/>
                  <a:pt x="212" y="63"/>
                </a:cubicBezTo>
                <a:cubicBezTo>
                  <a:pt x="209" y="49"/>
                  <a:pt x="209" y="49"/>
                  <a:pt x="209" y="49"/>
                </a:cubicBezTo>
                <a:cubicBezTo>
                  <a:pt x="208" y="34"/>
                  <a:pt x="208" y="34"/>
                  <a:pt x="208" y="34"/>
                </a:cubicBezTo>
                <a:cubicBezTo>
                  <a:pt x="207" y="29"/>
                  <a:pt x="207" y="29"/>
                  <a:pt x="207" y="29"/>
                </a:cubicBezTo>
                <a:cubicBezTo>
                  <a:pt x="206" y="25"/>
                  <a:pt x="206" y="25"/>
                  <a:pt x="206" y="25"/>
                </a:cubicBezTo>
                <a:cubicBezTo>
                  <a:pt x="202" y="18"/>
                  <a:pt x="202" y="18"/>
                  <a:pt x="202" y="18"/>
                </a:cubicBezTo>
                <a:cubicBezTo>
                  <a:pt x="199" y="13"/>
                  <a:pt x="199" y="13"/>
                  <a:pt x="199" y="13"/>
                </a:cubicBezTo>
                <a:cubicBezTo>
                  <a:pt x="195" y="9"/>
                  <a:pt x="195" y="9"/>
                  <a:pt x="195" y="9"/>
                </a:cubicBezTo>
                <a:cubicBezTo>
                  <a:pt x="191" y="6"/>
                  <a:pt x="191" y="6"/>
                  <a:pt x="191" y="6"/>
                </a:cubicBezTo>
                <a:cubicBezTo>
                  <a:pt x="185" y="3"/>
                  <a:pt x="185" y="3"/>
                  <a:pt x="185" y="3"/>
                </a:cubicBezTo>
                <a:cubicBezTo>
                  <a:pt x="179" y="1"/>
                  <a:pt x="179" y="1"/>
                  <a:pt x="179" y="1"/>
                </a:cubicBezTo>
                <a:cubicBezTo>
                  <a:pt x="172" y="0"/>
                  <a:pt x="172" y="0"/>
                  <a:pt x="172" y="0"/>
                </a:cubicBezTo>
                <a:cubicBezTo>
                  <a:pt x="165" y="0"/>
                  <a:pt x="165" y="0"/>
                  <a:pt x="165" y="0"/>
                </a:cubicBezTo>
                <a:cubicBezTo>
                  <a:pt x="156" y="1"/>
                  <a:pt x="156" y="1"/>
                  <a:pt x="156" y="1"/>
                </a:cubicBezTo>
                <a:cubicBezTo>
                  <a:pt x="147" y="4"/>
                  <a:pt x="147" y="4"/>
                  <a:pt x="147" y="4"/>
                </a:cubicBezTo>
                <a:cubicBezTo>
                  <a:pt x="138" y="8"/>
                  <a:pt x="138" y="8"/>
                  <a:pt x="138" y="8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0" y="14"/>
                  <a:pt x="130" y="14"/>
                  <a:pt x="130" y="14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5" y="49"/>
                  <a:pt x="115" y="49"/>
                  <a:pt x="115" y="49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06" y="72"/>
                  <a:pt x="106" y="72"/>
                  <a:pt x="106" y="72"/>
                </a:cubicBezTo>
                <a:cubicBezTo>
                  <a:pt x="103" y="76"/>
                  <a:pt x="103" y="76"/>
                  <a:pt x="103" y="76"/>
                </a:cubicBezTo>
                <a:cubicBezTo>
                  <a:pt x="100" y="79"/>
                  <a:pt x="100" y="79"/>
                  <a:pt x="100" y="79"/>
                </a:cubicBezTo>
                <a:cubicBezTo>
                  <a:pt x="101" y="79"/>
                  <a:pt x="101" y="79"/>
                  <a:pt x="101" y="79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8" y="73"/>
                  <a:pt x="108" y="73"/>
                  <a:pt x="108" y="73"/>
                </a:cubicBezTo>
                <a:cubicBezTo>
                  <a:pt x="112" y="65"/>
                  <a:pt x="112" y="65"/>
                  <a:pt x="112" y="65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00" y="92"/>
                  <a:pt x="100" y="92"/>
                  <a:pt x="100" y="92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93" y="113"/>
                  <a:pt x="93" y="113"/>
                  <a:pt x="93" y="113"/>
                </a:cubicBezTo>
                <a:cubicBezTo>
                  <a:pt x="92" y="118"/>
                  <a:pt x="92" y="118"/>
                  <a:pt x="92" y="118"/>
                </a:cubicBezTo>
                <a:cubicBezTo>
                  <a:pt x="92" y="124"/>
                  <a:pt x="92" y="124"/>
                  <a:pt x="92" y="124"/>
                </a:cubicBezTo>
                <a:cubicBezTo>
                  <a:pt x="93" y="131"/>
                  <a:pt x="93" y="131"/>
                  <a:pt x="93" y="131"/>
                </a:cubicBezTo>
                <a:cubicBezTo>
                  <a:pt x="95" y="137"/>
                  <a:pt x="95" y="137"/>
                  <a:pt x="95" y="137"/>
                </a:cubicBezTo>
                <a:cubicBezTo>
                  <a:pt x="95" y="133"/>
                  <a:pt x="95" y="133"/>
                  <a:pt x="95" y="133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95" y="118"/>
                  <a:pt x="95" y="118"/>
                  <a:pt x="95" y="118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99" y="104"/>
                  <a:pt x="99" y="104"/>
                  <a:pt x="99" y="104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101" y="103"/>
                  <a:pt x="101" y="103"/>
                  <a:pt x="101" y="103"/>
                </a:cubicBezTo>
                <a:cubicBezTo>
                  <a:pt x="100" y="109"/>
                  <a:pt x="100" y="109"/>
                  <a:pt x="100" y="109"/>
                </a:cubicBezTo>
                <a:cubicBezTo>
                  <a:pt x="98" y="116"/>
                  <a:pt x="98" y="116"/>
                  <a:pt x="98" y="116"/>
                </a:cubicBezTo>
                <a:cubicBezTo>
                  <a:pt x="97" y="124"/>
                  <a:pt x="97" y="124"/>
                  <a:pt x="97" y="124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1" y="147"/>
                  <a:pt x="101" y="147"/>
                  <a:pt x="101" y="147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5" y="153"/>
                  <a:pt x="95" y="153"/>
                  <a:pt x="95" y="153"/>
                </a:cubicBezTo>
                <a:cubicBezTo>
                  <a:pt x="87" y="154"/>
                  <a:pt x="87" y="154"/>
                  <a:pt x="87" y="154"/>
                </a:cubicBezTo>
                <a:cubicBezTo>
                  <a:pt x="80" y="156"/>
                  <a:pt x="80" y="156"/>
                  <a:pt x="80" y="156"/>
                </a:cubicBezTo>
                <a:cubicBezTo>
                  <a:pt x="73" y="159"/>
                  <a:pt x="73" y="159"/>
                  <a:pt x="73" y="159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63" y="168"/>
                  <a:pt x="63" y="168"/>
                  <a:pt x="63" y="168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57" y="182"/>
                  <a:pt x="57" y="182"/>
                  <a:pt x="57" y="182"/>
                </a:cubicBezTo>
                <a:cubicBezTo>
                  <a:pt x="55" y="189"/>
                  <a:pt x="55" y="189"/>
                  <a:pt x="55" y="189"/>
                </a:cubicBezTo>
                <a:cubicBezTo>
                  <a:pt x="55" y="197"/>
                  <a:pt x="55" y="197"/>
                  <a:pt x="55" y="197"/>
                </a:cubicBezTo>
                <a:cubicBezTo>
                  <a:pt x="51" y="301"/>
                  <a:pt x="51" y="301"/>
                  <a:pt x="51" y="301"/>
                </a:cubicBezTo>
                <a:cubicBezTo>
                  <a:pt x="50" y="366"/>
                  <a:pt x="50" y="366"/>
                  <a:pt x="50" y="366"/>
                </a:cubicBezTo>
                <a:cubicBezTo>
                  <a:pt x="50" y="389"/>
                  <a:pt x="50" y="389"/>
                  <a:pt x="50" y="389"/>
                </a:cubicBezTo>
                <a:cubicBezTo>
                  <a:pt x="50" y="403"/>
                  <a:pt x="50" y="403"/>
                  <a:pt x="50" y="403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53" y="427"/>
                  <a:pt x="53" y="427"/>
                  <a:pt x="53" y="427"/>
                </a:cubicBezTo>
                <a:cubicBezTo>
                  <a:pt x="54" y="444"/>
                  <a:pt x="54" y="444"/>
                  <a:pt x="54" y="444"/>
                </a:cubicBezTo>
                <a:cubicBezTo>
                  <a:pt x="53" y="465"/>
                  <a:pt x="53" y="465"/>
                  <a:pt x="53" y="465"/>
                </a:cubicBezTo>
                <a:cubicBezTo>
                  <a:pt x="53" y="475"/>
                  <a:pt x="53" y="475"/>
                  <a:pt x="53" y="475"/>
                </a:cubicBezTo>
                <a:cubicBezTo>
                  <a:pt x="53" y="479"/>
                  <a:pt x="53" y="479"/>
                  <a:pt x="53" y="479"/>
                </a:cubicBezTo>
                <a:cubicBezTo>
                  <a:pt x="55" y="481"/>
                  <a:pt x="55" y="481"/>
                  <a:pt x="55" y="481"/>
                </a:cubicBezTo>
                <a:cubicBezTo>
                  <a:pt x="56" y="482"/>
                  <a:pt x="56" y="482"/>
                  <a:pt x="56" y="482"/>
                </a:cubicBezTo>
                <a:cubicBezTo>
                  <a:pt x="53" y="488"/>
                  <a:pt x="53" y="488"/>
                  <a:pt x="53" y="488"/>
                </a:cubicBezTo>
                <a:cubicBezTo>
                  <a:pt x="52" y="495"/>
                  <a:pt x="52" y="495"/>
                  <a:pt x="52" y="495"/>
                </a:cubicBezTo>
                <a:cubicBezTo>
                  <a:pt x="27" y="494"/>
                  <a:pt x="27" y="494"/>
                  <a:pt x="27" y="494"/>
                </a:cubicBezTo>
                <a:cubicBezTo>
                  <a:pt x="21" y="494"/>
                  <a:pt x="21" y="494"/>
                  <a:pt x="21" y="494"/>
                </a:cubicBezTo>
                <a:cubicBezTo>
                  <a:pt x="14" y="496"/>
                  <a:pt x="14" y="496"/>
                  <a:pt x="14" y="496"/>
                </a:cubicBezTo>
                <a:cubicBezTo>
                  <a:pt x="8" y="498"/>
                  <a:pt x="8" y="498"/>
                  <a:pt x="8" y="498"/>
                </a:cubicBezTo>
                <a:cubicBezTo>
                  <a:pt x="6" y="500"/>
                  <a:pt x="6" y="500"/>
                  <a:pt x="6" y="500"/>
                </a:cubicBezTo>
                <a:cubicBezTo>
                  <a:pt x="5" y="501"/>
                  <a:pt x="5" y="501"/>
                  <a:pt x="5" y="501"/>
                </a:cubicBezTo>
                <a:cubicBezTo>
                  <a:pt x="2" y="585"/>
                  <a:pt x="2" y="585"/>
                  <a:pt x="2" y="585"/>
                </a:cubicBezTo>
                <a:cubicBezTo>
                  <a:pt x="0" y="643"/>
                  <a:pt x="0" y="643"/>
                  <a:pt x="0" y="643"/>
                </a:cubicBezTo>
                <a:cubicBezTo>
                  <a:pt x="0" y="673"/>
                  <a:pt x="0" y="673"/>
                  <a:pt x="0" y="673"/>
                </a:cubicBezTo>
                <a:cubicBezTo>
                  <a:pt x="1" y="678"/>
                  <a:pt x="1" y="678"/>
                  <a:pt x="1" y="678"/>
                </a:cubicBezTo>
                <a:cubicBezTo>
                  <a:pt x="3" y="681"/>
                  <a:pt x="3" y="681"/>
                  <a:pt x="3" y="681"/>
                </a:cubicBezTo>
                <a:cubicBezTo>
                  <a:pt x="6" y="682"/>
                  <a:pt x="6" y="682"/>
                  <a:pt x="6" y="682"/>
                </a:cubicBezTo>
                <a:cubicBezTo>
                  <a:pt x="8" y="684"/>
                  <a:pt x="8" y="684"/>
                  <a:pt x="8" y="684"/>
                </a:cubicBezTo>
                <a:cubicBezTo>
                  <a:pt x="38" y="692"/>
                  <a:pt x="38" y="692"/>
                  <a:pt x="38" y="692"/>
                </a:cubicBezTo>
                <a:cubicBezTo>
                  <a:pt x="90" y="706"/>
                  <a:pt x="90" y="706"/>
                  <a:pt x="90" y="706"/>
                </a:cubicBezTo>
                <a:cubicBezTo>
                  <a:pt x="88" y="722"/>
                  <a:pt x="88" y="722"/>
                  <a:pt x="88" y="722"/>
                </a:cubicBezTo>
                <a:cubicBezTo>
                  <a:pt x="87" y="740"/>
                  <a:pt x="87" y="740"/>
                  <a:pt x="87" y="740"/>
                </a:cubicBezTo>
                <a:cubicBezTo>
                  <a:pt x="88" y="794"/>
                  <a:pt x="88" y="794"/>
                  <a:pt x="88" y="794"/>
                </a:cubicBezTo>
                <a:cubicBezTo>
                  <a:pt x="87" y="821"/>
                  <a:pt x="87" y="821"/>
                  <a:pt x="87" y="821"/>
                </a:cubicBezTo>
                <a:cubicBezTo>
                  <a:pt x="87" y="838"/>
                  <a:pt x="87" y="838"/>
                  <a:pt x="87" y="838"/>
                </a:cubicBezTo>
                <a:cubicBezTo>
                  <a:pt x="82" y="872"/>
                  <a:pt x="82" y="872"/>
                  <a:pt x="82" y="872"/>
                </a:cubicBezTo>
                <a:cubicBezTo>
                  <a:pt x="80" y="892"/>
                  <a:pt x="80" y="892"/>
                  <a:pt x="80" y="892"/>
                </a:cubicBezTo>
                <a:cubicBezTo>
                  <a:pt x="76" y="907"/>
                  <a:pt x="76" y="907"/>
                  <a:pt x="76" y="907"/>
                </a:cubicBezTo>
                <a:cubicBezTo>
                  <a:pt x="75" y="914"/>
                  <a:pt x="75" y="914"/>
                  <a:pt x="75" y="914"/>
                </a:cubicBezTo>
                <a:cubicBezTo>
                  <a:pt x="75" y="922"/>
                  <a:pt x="75" y="922"/>
                  <a:pt x="75" y="922"/>
                </a:cubicBezTo>
                <a:cubicBezTo>
                  <a:pt x="75" y="930"/>
                  <a:pt x="75" y="930"/>
                  <a:pt x="75" y="930"/>
                </a:cubicBezTo>
                <a:cubicBezTo>
                  <a:pt x="76" y="939"/>
                  <a:pt x="76" y="939"/>
                  <a:pt x="76" y="939"/>
                </a:cubicBezTo>
                <a:cubicBezTo>
                  <a:pt x="78" y="946"/>
                  <a:pt x="78" y="946"/>
                  <a:pt x="78" y="946"/>
                </a:cubicBezTo>
                <a:cubicBezTo>
                  <a:pt x="81" y="952"/>
                  <a:pt x="81" y="952"/>
                  <a:pt x="81" y="952"/>
                </a:cubicBezTo>
                <a:cubicBezTo>
                  <a:pt x="83" y="954"/>
                  <a:pt x="83" y="954"/>
                  <a:pt x="83" y="954"/>
                </a:cubicBezTo>
                <a:cubicBezTo>
                  <a:pt x="86" y="956"/>
                  <a:pt x="86" y="956"/>
                  <a:pt x="86" y="956"/>
                </a:cubicBezTo>
                <a:cubicBezTo>
                  <a:pt x="89" y="957"/>
                  <a:pt x="89" y="957"/>
                  <a:pt x="89" y="957"/>
                </a:cubicBezTo>
                <a:cubicBezTo>
                  <a:pt x="92" y="957"/>
                  <a:pt x="92" y="957"/>
                  <a:pt x="92" y="957"/>
                </a:cubicBezTo>
                <a:cubicBezTo>
                  <a:pt x="94" y="956"/>
                  <a:pt x="94" y="956"/>
                  <a:pt x="94" y="956"/>
                </a:cubicBezTo>
                <a:cubicBezTo>
                  <a:pt x="97" y="954"/>
                  <a:pt x="97" y="954"/>
                  <a:pt x="97" y="954"/>
                </a:cubicBezTo>
                <a:cubicBezTo>
                  <a:pt x="99" y="951"/>
                  <a:pt x="99" y="951"/>
                  <a:pt x="99" y="951"/>
                </a:cubicBezTo>
                <a:cubicBezTo>
                  <a:pt x="100" y="947"/>
                  <a:pt x="100" y="947"/>
                  <a:pt x="100" y="947"/>
                </a:cubicBezTo>
                <a:cubicBezTo>
                  <a:pt x="102" y="939"/>
                  <a:pt x="102" y="939"/>
                  <a:pt x="102" y="939"/>
                </a:cubicBezTo>
                <a:cubicBezTo>
                  <a:pt x="103" y="930"/>
                  <a:pt x="103" y="930"/>
                  <a:pt x="103" y="930"/>
                </a:cubicBezTo>
                <a:cubicBezTo>
                  <a:pt x="102" y="895"/>
                  <a:pt x="102" y="895"/>
                  <a:pt x="102" y="895"/>
                </a:cubicBezTo>
                <a:cubicBezTo>
                  <a:pt x="102" y="870"/>
                  <a:pt x="102" y="870"/>
                  <a:pt x="102" y="870"/>
                </a:cubicBezTo>
                <a:cubicBezTo>
                  <a:pt x="103" y="857"/>
                  <a:pt x="103" y="857"/>
                  <a:pt x="103" y="857"/>
                </a:cubicBezTo>
                <a:cubicBezTo>
                  <a:pt x="105" y="845"/>
                  <a:pt x="105" y="845"/>
                  <a:pt x="105" y="845"/>
                </a:cubicBezTo>
                <a:cubicBezTo>
                  <a:pt x="119" y="775"/>
                  <a:pt x="119" y="775"/>
                  <a:pt x="119" y="775"/>
                </a:cubicBezTo>
                <a:cubicBezTo>
                  <a:pt x="126" y="739"/>
                  <a:pt x="126" y="739"/>
                  <a:pt x="126" y="739"/>
                </a:cubicBezTo>
                <a:cubicBezTo>
                  <a:pt x="129" y="725"/>
                  <a:pt x="129" y="725"/>
                  <a:pt x="129" y="725"/>
                </a:cubicBezTo>
                <a:cubicBezTo>
                  <a:pt x="129" y="717"/>
                  <a:pt x="129" y="717"/>
                  <a:pt x="129" y="717"/>
                </a:cubicBezTo>
                <a:cubicBezTo>
                  <a:pt x="130" y="707"/>
                  <a:pt x="130" y="707"/>
                  <a:pt x="130" y="707"/>
                </a:cubicBezTo>
                <a:cubicBezTo>
                  <a:pt x="133" y="694"/>
                  <a:pt x="133" y="694"/>
                  <a:pt x="133" y="694"/>
                </a:cubicBezTo>
                <a:cubicBezTo>
                  <a:pt x="139" y="670"/>
                  <a:pt x="139" y="670"/>
                  <a:pt x="139" y="670"/>
                </a:cubicBezTo>
                <a:cubicBezTo>
                  <a:pt x="145" y="642"/>
                  <a:pt x="145" y="642"/>
                  <a:pt x="145" y="642"/>
                </a:cubicBezTo>
                <a:cubicBezTo>
                  <a:pt x="166" y="642"/>
                  <a:pt x="166" y="642"/>
                  <a:pt x="166" y="642"/>
                </a:cubicBezTo>
                <a:cubicBezTo>
                  <a:pt x="177" y="641"/>
                  <a:pt x="177" y="641"/>
                  <a:pt x="177" y="641"/>
                </a:cubicBezTo>
                <a:cubicBezTo>
                  <a:pt x="181" y="641"/>
                  <a:pt x="181" y="641"/>
                  <a:pt x="181" y="641"/>
                </a:cubicBezTo>
                <a:cubicBezTo>
                  <a:pt x="183" y="639"/>
                  <a:pt x="183" y="639"/>
                  <a:pt x="183" y="639"/>
                </a:cubicBezTo>
                <a:cubicBezTo>
                  <a:pt x="183" y="640"/>
                  <a:pt x="183" y="640"/>
                  <a:pt x="183" y="640"/>
                </a:cubicBezTo>
                <a:cubicBezTo>
                  <a:pt x="183" y="642"/>
                  <a:pt x="183" y="642"/>
                  <a:pt x="183" y="642"/>
                </a:cubicBezTo>
                <a:cubicBezTo>
                  <a:pt x="184" y="650"/>
                  <a:pt x="184" y="650"/>
                  <a:pt x="184" y="650"/>
                </a:cubicBezTo>
                <a:cubicBezTo>
                  <a:pt x="184" y="667"/>
                  <a:pt x="184" y="667"/>
                  <a:pt x="184" y="667"/>
                </a:cubicBezTo>
                <a:cubicBezTo>
                  <a:pt x="185" y="691"/>
                  <a:pt x="185" y="691"/>
                  <a:pt x="185" y="691"/>
                </a:cubicBezTo>
                <a:cubicBezTo>
                  <a:pt x="188" y="717"/>
                  <a:pt x="188" y="717"/>
                  <a:pt x="188" y="717"/>
                </a:cubicBezTo>
                <a:cubicBezTo>
                  <a:pt x="192" y="741"/>
                  <a:pt x="192" y="741"/>
                  <a:pt x="192" y="741"/>
                </a:cubicBezTo>
                <a:cubicBezTo>
                  <a:pt x="195" y="759"/>
                  <a:pt x="195" y="759"/>
                  <a:pt x="195" y="759"/>
                </a:cubicBezTo>
                <a:cubicBezTo>
                  <a:pt x="199" y="780"/>
                  <a:pt x="199" y="780"/>
                  <a:pt x="199" y="780"/>
                </a:cubicBezTo>
                <a:cubicBezTo>
                  <a:pt x="202" y="810"/>
                  <a:pt x="202" y="810"/>
                  <a:pt x="202" y="810"/>
                </a:cubicBezTo>
                <a:cubicBezTo>
                  <a:pt x="205" y="839"/>
                  <a:pt x="205" y="839"/>
                  <a:pt x="205" y="839"/>
                </a:cubicBezTo>
                <a:cubicBezTo>
                  <a:pt x="205" y="861"/>
                  <a:pt x="205" y="861"/>
                  <a:pt x="205" y="861"/>
                </a:cubicBezTo>
                <a:cubicBezTo>
                  <a:pt x="204" y="875"/>
                  <a:pt x="204" y="875"/>
                  <a:pt x="204" y="875"/>
                </a:cubicBezTo>
                <a:cubicBezTo>
                  <a:pt x="202" y="885"/>
                  <a:pt x="202" y="885"/>
                  <a:pt x="202" y="885"/>
                </a:cubicBezTo>
                <a:cubicBezTo>
                  <a:pt x="201" y="892"/>
                  <a:pt x="201" y="892"/>
                  <a:pt x="201" y="892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911"/>
                  <a:pt x="201" y="911"/>
                  <a:pt x="201" y="911"/>
                </a:cubicBezTo>
                <a:cubicBezTo>
                  <a:pt x="204" y="911"/>
                  <a:pt x="204" y="911"/>
                  <a:pt x="204" y="911"/>
                </a:cubicBezTo>
                <a:cubicBezTo>
                  <a:pt x="205" y="906"/>
                  <a:pt x="206" y="904"/>
                  <a:pt x="206" y="903"/>
                </a:cubicBezTo>
                <a:cubicBezTo>
                  <a:pt x="211" y="910"/>
                  <a:pt x="211" y="910"/>
                  <a:pt x="211" y="910"/>
                </a:cubicBezTo>
                <a:cubicBezTo>
                  <a:pt x="214" y="918"/>
                  <a:pt x="214" y="918"/>
                  <a:pt x="214" y="918"/>
                </a:cubicBezTo>
                <a:cubicBezTo>
                  <a:pt x="215" y="922"/>
                  <a:pt x="215" y="922"/>
                  <a:pt x="215" y="922"/>
                </a:cubicBezTo>
                <a:cubicBezTo>
                  <a:pt x="215" y="925"/>
                  <a:pt x="215" y="925"/>
                  <a:pt x="215" y="925"/>
                </a:cubicBezTo>
                <a:cubicBezTo>
                  <a:pt x="216" y="929"/>
                  <a:pt x="216" y="929"/>
                  <a:pt x="216" y="929"/>
                </a:cubicBezTo>
                <a:cubicBezTo>
                  <a:pt x="217" y="933"/>
                  <a:pt x="217" y="933"/>
                  <a:pt x="217" y="933"/>
                </a:cubicBezTo>
                <a:cubicBezTo>
                  <a:pt x="219" y="937"/>
                  <a:pt x="219" y="937"/>
                  <a:pt x="219" y="937"/>
                </a:cubicBezTo>
                <a:cubicBezTo>
                  <a:pt x="222" y="941"/>
                  <a:pt x="222" y="941"/>
                  <a:pt x="222" y="941"/>
                </a:cubicBezTo>
                <a:cubicBezTo>
                  <a:pt x="227" y="945"/>
                  <a:pt x="227" y="945"/>
                  <a:pt x="227" y="945"/>
                </a:cubicBezTo>
                <a:cubicBezTo>
                  <a:pt x="233" y="947"/>
                  <a:pt x="233" y="947"/>
                  <a:pt x="233" y="947"/>
                </a:cubicBezTo>
                <a:cubicBezTo>
                  <a:pt x="241" y="949"/>
                  <a:pt x="241" y="949"/>
                  <a:pt x="241" y="949"/>
                </a:cubicBezTo>
                <a:cubicBezTo>
                  <a:pt x="252" y="950"/>
                  <a:pt x="252" y="950"/>
                  <a:pt x="252" y="950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7" y="948"/>
                  <a:pt x="257" y="948"/>
                  <a:pt x="257" y="948"/>
                </a:cubicBezTo>
                <a:cubicBezTo>
                  <a:pt x="258" y="947"/>
                  <a:pt x="258" y="947"/>
                  <a:pt x="258" y="947"/>
                </a:cubicBezTo>
                <a:cubicBezTo>
                  <a:pt x="257" y="943"/>
                  <a:pt x="257" y="943"/>
                  <a:pt x="257" y="943"/>
                </a:cubicBezTo>
                <a:cubicBezTo>
                  <a:pt x="256" y="938"/>
                  <a:pt x="256" y="938"/>
                  <a:pt x="256" y="938"/>
                </a:cubicBezTo>
                <a:cubicBezTo>
                  <a:pt x="249" y="927"/>
                  <a:pt x="249" y="927"/>
                  <a:pt x="249" y="927"/>
                </a:cubicBezTo>
                <a:cubicBezTo>
                  <a:pt x="242" y="915"/>
                  <a:pt x="242" y="915"/>
                  <a:pt x="242" y="915"/>
                </a:cubicBezTo>
                <a:cubicBezTo>
                  <a:pt x="235" y="902"/>
                  <a:pt x="235" y="902"/>
                  <a:pt x="235" y="902"/>
                </a:cubicBezTo>
                <a:cubicBezTo>
                  <a:pt x="230" y="887"/>
                  <a:pt x="230" y="887"/>
                  <a:pt x="230" y="887"/>
                </a:cubicBezTo>
                <a:cubicBezTo>
                  <a:pt x="227" y="873"/>
                  <a:pt x="227" y="873"/>
                  <a:pt x="227" y="873"/>
                </a:cubicBezTo>
                <a:cubicBezTo>
                  <a:pt x="226" y="861"/>
                  <a:pt x="226" y="861"/>
                  <a:pt x="226" y="861"/>
                </a:cubicBezTo>
                <a:cubicBezTo>
                  <a:pt x="229" y="795"/>
                  <a:pt x="229" y="795"/>
                  <a:pt x="229" y="795"/>
                </a:cubicBezTo>
                <a:cubicBezTo>
                  <a:pt x="231" y="748"/>
                  <a:pt x="231" y="748"/>
                  <a:pt x="231" y="748"/>
                </a:cubicBezTo>
                <a:cubicBezTo>
                  <a:pt x="231" y="726"/>
                  <a:pt x="231" y="726"/>
                  <a:pt x="231" y="726"/>
                </a:cubicBezTo>
                <a:cubicBezTo>
                  <a:pt x="231" y="709"/>
                  <a:pt x="231" y="709"/>
                  <a:pt x="231" y="709"/>
                </a:cubicBezTo>
                <a:cubicBezTo>
                  <a:pt x="229" y="681"/>
                  <a:pt x="229" y="681"/>
                  <a:pt x="229" y="681"/>
                </a:cubicBezTo>
                <a:cubicBezTo>
                  <a:pt x="227" y="657"/>
                  <a:pt x="227" y="657"/>
                  <a:pt x="227" y="657"/>
                </a:cubicBezTo>
                <a:cubicBezTo>
                  <a:pt x="227" y="641"/>
                  <a:pt x="227" y="641"/>
                  <a:pt x="227" y="641"/>
                </a:cubicBezTo>
                <a:cubicBezTo>
                  <a:pt x="227" y="636"/>
                  <a:pt x="227" y="636"/>
                  <a:pt x="227" y="636"/>
                </a:cubicBezTo>
                <a:cubicBezTo>
                  <a:pt x="228" y="634"/>
                  <a:pt x="228" y="634"/>
                  <a:pt x="228" y="634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1" y="633"/>
                  <a:pt x="241" y="633"/>
                  <a:pt x="241" y="633"/>
                </a:cubicBezTo>
                <a:cubicBezTo>
                  <a:pt x="244" y="632"/>
                  <a:pt x="244" y="632"/>
                  <a:pt x="244" y="632"/>
                </a:cubicBezTo>
                <a:cubicBezTo>
                  <a:pt x="245" y="630"/>
                  <a:pt x="245" y="630"/>
                  <a:pt x="245" y="630"/>
                </a:cubicBezTo>
                <a:cubicBezTo>
                  <a:pt x="246" y="627"/>
                  <a:pt x="246" y="627"/>
                  <a:pt x="246" y="627"/>
                </a:cubicBezTo>
                <a:cubicBezTo>
                  <a:pt x="248" y="530"/>
                  <a:pt x="248" y="530"/>
                  <a:pt x="248" y="530"/>
                </a:cubicBezTo>
                <a:cubicBezTo>
                  <a:pt x="249" y="461"/>
                  <a:pt x="249" y="461"/>
                  <a:pt x="249" y="461"/>
                </a:cubicBezTo>
                <a:cubicBezTo>
                  <a:pt x="249" y="434"/>
                  <a:pt x="249" y="434"/>
                  <a:pt x="249" y="434"/>
                </a:cubicBezTo>
                <a:cubicBezTo>
                  <a:pt x="248" y="418"/>
                  <a:pt x="248" y="418"/>
                  <a:pt x="248" y="418"/>
                </a:cubicBezTo>
                <a:cubicBezTo>
                  <a:pt x="252" y="428"/>
                  <a:pt x="252" y="428"/>
                  <a:pt x="252" y="428"/>
                </a:cubicBezTo>
                <a:cubicBezTo>
                  <a:pt x="258" y="441"/>
                  <a:pt x="258" y="441"/>
                  <a:pt x="258" y="441"/>
                </a:cubicBezTo>
                <a:cubicBezTo>
                  <a:pt x="266" y="458"/>
                  <a:pt x="266" y="458"/>
                  <a:pt x="266" y="458"/>
                </a:cubicBezTo>
                <a:cubicBezTo>
                  <a:pt x="271" y="467"/>
                  <a:pt x="271" y="467"/>
                  <a:pt x="271" y="467"/>
                </a:cubicBezTo>
                <a:cubicBezTo>
                  <a:pt x="275" y="474"/>
                  <a:pt x="275" y="474"/>
                  <a:pt x="275" y="474"/>
                </a:cubicBezTo>
                <a:cubicBezTo>
                  <a:pt x="279" y="477"/>
                  <a:pt x="279" y="477"/>
                  <a:pt x="279" y="477"/>
                </a:cubicBezTo>
                <a:cubicBezTo>
                  <a:pt x="281" y="479"/>
                  <a:pt x="281" y="479"/>
                  <a:pt x="281" y="479"/>
                </a:cubicBezTo>
                <a:cubicBezTo>
                  <a:pt x="282" y="480"/>
                  <a:pt x="282" y="480"/>
                  <a:pt x="282" y="480"/>
                </a:cubicBezTo>
                <a:cubicBezTo>
                  <a:pt x="281" y="481"/>
                  <a:pt x="281" y="481"/>
                  <a:pt x="281" y="481"/>
                </a:cubicBezTo>
                <a:cubicBezTo>
                  <a:pt x="279" y="483"/>
                  <a:pt x="279" y="483"/>
                  <a:pt x="279" y="483"/>
                </a:cubicBezTo>
                <a:cubicBezTo>
                  <a:pt x="276" y="486"/>
                  <a:pt x="276" y="486"/>
                  <a:pt x="276" y="486"/>
                </a:cubicBezTo>
                <a:cubicBezTo>
                  <a:pt x="276" y="488"/>
                  <a:pt x="276" y="488"/>
                  <a:pt x="276" y="488"/>
                </a:cubicBezTo>
                <a:cubicBezTo>
                  <a:pt x="280" y="488"/>
                  <a:pt x="280" y="488"/>
                  <a:pt x="280" y="488"/>
                </a:cubicBezTo>
                <a:cubicBezTo>
                  <a:pt x="283" y="488"/>
                  <a:pt x="283" y="488"/>
                  <a:pt x="283" y="488"/>
                </a:cubicBezTo>
                <a:cubicBezTo>
                  <a:pt x="285" y="490"/>
                  <a:pt x="285" y="490"/>
                  <a:pt x="285" y="490"/>
                </a:cubicBezTo>
                <a:cubicBezTo>
                  <a:pt x="286" y="492"/>
                  <a:pt x="286" y="492"/>
                  <a:pt x="286" y="492"/>
                </a:cubicBezTo>
                <a:cubicBezTo>
                  <a:pt x="284" y="495"/>
                  <a:pt x="284" y="495"/>
                  <a:pt x="284" y="495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3" y="498"/>
                  <a:pt x="283" y="498"/>
                  <a:pt x="283" y="498"/>
                </a:cubicBezTo>
                <a:cubicBezTo>
                  <a:pt x="285" y="499"/>
                  <a:pt x="285" y="499"/>
                  <a:pt x="285" y="499"/>
                </a:cubicBezTo>
                <a:cubicBezTo>
                  <a:pt x="288" y="499"/>
                  <a:pt x="288" y="499"/>
                  <a:pt x="288" y="499"/>
                </a:cubicBezTo>
                <a:cubicBezTo>
                  <a:pt x="295" y="495"/>
                  <a:pt x="295" y="495"/>
                  <a:pt x="295" y="495"/>
                </a:cubicBezTo>
                <a:cubicBezTo>
                  <a:pt x="298" y="494"/>
                  <a:pt x="298" y="494"/>
                  <a:pt x="298" y="494"/>
                </a:cubicBezTo>
                <a:cubicBezTo>
                  <a:pt x="299" y="495"/>
                  <a:pt x="299" y="495"/>
                  <a:pt x="299" y="495"/>
                </a:cubicBezTo>
                <a:cubicBezTo>
                  <a:pt x="299" y="496"/>
                  <a:pt x="299" y="496"/>
                  <a:pt x="299" y="496"/>
                </a:cubicBezTo>
                <a:cubicBezTo>
                  <a:pt x="299" y="499"/>
                  <a:pt x="299" y="499"/>
                  <a:pt x="299" y="499"/>
                </a:cubicBezTo>
                <a:cubicBezTo>
                  <a:pt x="301" y="501"/>
                  <a:pt x="301" y="501"/>
                  <a:pt x="301" y="501"/>
                </a:cubicBezTo>
                <a:cubicBezTo>
                  <a:pt x="303" y="501"/>
                  <a:pt x="303" y="501"/>
                  <a:pt x="303" y="501"/>
                </a:cubicBezTo>
                <a:cubicBezTo>
                  <a:pt x="305" y="497"/>
                  <a:pt x="305" y="497"/>
                  <a:pt x="305" y="497"/>
                </a:cubicBezTo>
                <a:cubicBezTo>
                  <a:pt x="306" y="492"/>
                  <a:pt x="306" y="492"/>
                  <a:pt x="306" y="492"/>
                </a:cubicBezTo>
                <a:cubicBezTo>
                  <a:pt x="306" y="487"/>
                  <a:pt x="306" y="487"/>
                  <a:pt x="306" y="487"/>
                </a:cubicBezTo>
                <a:lnTo>
                  <a:pt x="304" y="482"/>
                </a:lnTo>
                <a:close/>
                <a:moveTo>
                  <a:pt x="68" y="502"/>
                </a:moveTo>
                <a:cubicBezTo>
                  <a:pt x="66" y="503"/>
                  <a:pt x="66" y="503"/>
                  <a:pt x="66" y="503"/>
                </a:cubicBezTo>
                <a:cubicBezTo>
                  <a:pt x="64" y="502"/>
                  <a:pt x="64" y="502"/>
                  <a:pt x="64" y="502"/>
                </a:cubicBezTo>
                <a:cubicBezTo>
                  <a:pt x="63" y="500"/>
                  <a:pt x="63" y="500"/>
                  <a:pt x="63" y="500"/>
                </a:cubicBezTo>
                <a:cubicBezTo>
                  <a:pt x="63" y="491"/>
                  <a:pt x="63" y="491"/>
                  <a:pt x="63" y="491"/>
                </a:cubicBezTo>
                <a:cubicBezTo>
                  <a:pt x="71" y="501"/>
                  <a:pt x="71" y="501"/>
                  <a:pt x="71" y="501"/>
                </a:cubicBezTo>
                <a:lnTo>
                  <a:pt x="68" y="502"/>
                </a:lnTo>
                <a:close/>
                <a:moveTo>
                  <a:pt x="76" y="497"/>
                </a:moveTo>
                <a:cubicBezTo>
                  <a:pt x="75" y="500"/>
                  <a:pt x="75" y="500"/>
                  <a:pt x="75" y="500"/>
                </a:cubicBezTo>
                <a:cubicBezTo>
                  <a:pt x="73" y="500"/>
                  <a:pt x="73" y="500"/>
                  <a:pt x="73" y="500"/>
                </a:cubicBezTo>
                <a:cubicBezTo>
                  <a:pt x="74" y="495"/>
                  <a:pt x="74" y="495"/>
                  <a:pt x="74" y="495"/>
                </a:cubicBezTo>
                <a:cubicBezTo>
                  <a:pt x="75" y="490"/>
                  <a:pt x="75" y="490"/>
                  <a:pt x="75" y="490"/>
                </a:cubicBezTo>
                <a:cubicBezTo>
                  <a:pt x="76" y="494"/>
                  <a:pt x="76" y="494"/>
                  <a:pt x="76" y="494"/>
                </a:cubicBezTo>
                <a:lnTo>
                  <a:pt x="76" y="497"/>
                </a:lnTo>
                <a:close/>
                <a:moveTo>
                  <a:pt x="87" y="471"/>
                </a:moveTo>
                <a:cubicBezTo>
                  <a:pt x="86" y="486"/>
                  <a:pt x="86" y="486"/>
                  <a:pt x="86" y="486"/>
                </a:cubicBezTo>
                <a:cubicBezTo>
                  <a:pt x="84" y="482"/>
                  <a:pt x="84" y="482"/>
                  <a:pt x="84" y="482"/>
                </a:cubicBezTo>
                <a:cubicBezTo>
                  <a:pt x="81" y="479"/>
                  <a:pt x="81" y="479"/>
                  <a:pt x="81" y="479"/>
                </a:cubicBezTo>
                <a:cubicBezTo>
                  <a:pt x="79" y="478"/>
                  <a:pt x="79" y="478"/>
                  <a:pt x="79" y="478"/>
                </a:cubicBezTo>
                <a:cubicBezTo>
                  <a:pt x="76" y="472"/>
                  <a:pt x="76" y="472"/>
                  <a:pt x="76" y="472"/>
                </a:cubicBezTo>
                <a:cubicBezTo>
                  <a:pt x="75" y="470"/>
                  <a:pt x="75" y="470"/>
                  <a:pt x="75" y="470"/>
                </a:cubicBezTo>
                <a:cubicBezTo>
                  <a:pt x="75" y="468"/>
                  <a:pt x="75" y="468"/>
                  <a:pt x="75" y="468"/>
                </a:cubicBezTo>
                <a:cubicBezTo>
                  <a:pt x="76" y="463"/>
                  <a:pt x="76" y="463"/>
                  <a:pt x="76" y="463"/>
                </a:cubicBezTo>
                <a:cubicBezTo>
                  <a:pt x="79" y="458"/>
                  <a:pt x="79" y="458"/>
                  <a:pt x="79" y="458"/>
                </a:cubicBezTo>
                <a:cubicBezTo>
                  <a:pt x="79" y="455"/>
                  <a:pt x="79" y="455"/>
                  <a:pt x="79" y="455"/>
                </a:cubicBezTo>
                <a:cubicBezTo>
                  <a:pt x="80" y="451"/>
                  <a:pt x="80" y="451"/>
                  <a:pt x="80" y="451"/>
                </a:cubicBezTo>
                <a:cubicBezTo>
                  <a:pt x="81" y="406"/>
                  <a:pt x="81" y="406"/>
                  <a:pt x="81" y="406"/>
                </a:cubicBezTo>
                <a:cubicBezTo>
                  <a:pt x="82" y="384"/>
                  <a:pt x="82" y="384"/>
                  <a:pt x="82" y="384"/>
                </a:cubicBezTo>
                <a:cubicBezTo>
                  <a:pt x="83" y="379"/>
                  <a:pt x="83" y="379"/>
                  <a:pt x="83" y="379"/>
                </a:cubicBezTo>
                <a:cubicBezTo>
                  <a:pt x="83" y="380"/>
                  <a:pt x="83" y="380"/>
                  <a:pt x="83" y="380"/>
                </a:cubicBezTo>
                <a:cubicBezTo>
                  <a:pt x="86" y="412"/>
                  <a:pt x="86" y="412"/>
                  <a:pt x="86" y="412"/>
                </a:cubicBezTo>
                <a:cubicBezTo>
                  <a:pt x="87" y="442"/>
                  <a:pt x="87" y="442"/>
                  <a:pt x="87" y="442"/>
                </a:cubicBezTo>
                <a:cubicBezTo>
                  <a:pt x="88" y="458"/>
                  <a:pt x="88" y="458"/>
                  <a:pt x="88" y="458"/>
                </a:cubicBezTo>
                <a:lnTo>
                  <a:pt x="87" y="471"/>
                </a:lnTo>
                <a:close/>
                <a:moveTo>
                  <a:pt x="100" y="138"/>
                </a:moveTo>
                <a:cubicBezTo>
                  <a:pt x="99" y="132"/>
                  <a:pt x="99" y="132"/>
                  <a:pt x="99" y="132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43"/>
                  <a:pt x="101" y="143"/>
                  <a:pt x="101" y="143"/>
                </a:cubicBezTo>
                <a:lnTo>
                  <a:pt x="100" y="138"/>
                </a:lnTo>
                <a:close/>
                <a:moveTo>
                  <a:pt x="218" y="174"/>
                </a:moveTo>
                <a:cubicBezTo>
                  <a:pt x="217" y="184"/>
                  <a:pt x="217" y="184"/>
                  <a:pt x="217" y="184"/>
                </a:cubicBezTo>
                <a:cubicBezTo>
                  <a:pt x="216" y="192"/>
                  <a:pt x="216" y="192"/>
                  <a:pt x="216" y="192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99" y="192"/>
                  <a:pt x="199" y="192"/>
                  <a:pt x="199" y="192"/>
                </a:cubicBezTo>
                <a:cubicBezTo>
                  <a:pt x="197" y="205"/>
                  <a:pt x="197" y="205"/>
                  <a:pt x="197" y="205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190" y="233"/>
                  <a:pt x="190" y="233"/>
                  <a:pt x="190" y="233"/>
                </a:cubicBezTo>
                <a:cubicBezTo>
                  <a:pt x="187" y="251"/>
                  <a:pt x="187" y="251"/>
                  <a:pt x="187" y="251"/>
                </a:cubicBezTo>
                <a:cubicBezTo>
                  <a:pt x="183" y="287"/>
                  <a:pt x="183" y="287"/>
                  <a:pt x="183" y="287"/>
                </a:cubicBezTo>
                <a:cubicBezTo>
                  <a:pt x="182" y="305"/>
                  <a:pt x="182" y="305"/>
                  <a:pt x="182" y="305"/>
                </a:cubicBezTo>
                <a:cubicBezTo>
                  <a:pt x="183" y="322"/>
                  <a:pt x="183" y="322"/>
                  <a:pt x="183" y="322"/>
                </a:cubicBezTo>
                <a:cubicBezTo>
                  <a:pt x="186" y="356"/>
                  <a:pt x="186" y="356"/>
                  <a:pt x="186" y="356"/>
                </a:cubicBezTo>
                <a:cubicBezTo>
                  <a:pt x="187" y="369"/>
                  <a:pt x="187" y="369"/>
                  <a:pt x="187" y="369"/>
                </a:cubicBezTo>
                <a:cubicBezTo>
                  <a:pt x="188" y="375"/>
                  <a:pt x="188" y="375"/>
                  <a:pt x="188" y="375"/>
                </a:cubicBezTo>
                <a:cubicBezTo>
                  <a:pt x="189" y="382"/>
                  <a:pt x="189" y="382"/>
                  <a:pt x="189" y="382"/>
                </a:cubicBezTo>
                <a:cubicBezTo>
                  <a:pt x="192" y="389"/>
                  <a:pt x="192" y="389"/>
                  <a:pt x="192" y="389"/>
                </a:cubicBezTo>
                <a:cubicBezTo>
                  <a:pt x="193" y="392"/>
                  <a:pt x="193" y="392"/>
                  <a:pt x="193" y="392"/>
                </a:cubicBezTo>
                <a:cubicBezTo>
                  <a:pt x="194" y="396"/>
                  <a:pt x="194" y="396"/>
                  <a:pt x="194" y="396"/>
                </a:cubicBezTo>
                <a:cubicBezTo>
                  <a:pt x="190" y="396"/>
                  <a:pt x="190" y="396"/>
                  <a:pt x="190" y="396"/>
                </a:cubicBezTo>
                <a:cubicBezTo>
                  <a:pt x="186" y="395"/>
                  <a:pt x="186" y="395"/>
                  <a:pt x="186" y="395"/>
                </a:cubicBezTo>
                <a:cubicBezTo>
                  <a:pt x="179" y="393"/>
                  <a:pt x="179" y="393"/>
                  <a:pt x="179" y="393"/>
                </a:cubicBezTo>
                <a:cubicBezTo>
                  <a:pt x="172" y="391"/>
                  <a:pt x="172" y="391"/>
                  <a:pt x="172" y="391"/>
                </a:cubicBezTo>
                <a:cubicBezTo>
                  <a:pt x="165" y="389"/>
                  <a:pt x="165" y="389"/>
                  <a:pt x="165" y="389"/>
                </a:cubicBezTo>
                <a:cubicBezTo>
                  <a:pt x="159" y="389"/>
                  <a:pt x="159" y="389"/>
                  <a:pt x="159" y="389"/>
                </a:cubicBezTo>
                <a:cubicBezTo>
                  <a:pt x="153" y="390"/>
                  <a:pt x="153" y="390"/>
                  <a:pt x="153" y="390"/>
                </a:cubicBezTo>
                <a:cubicBezTo>
                  <a:pt x="140" y="393"/>
                  <a:pt x="140" y="393"/>
                  <a:pt x="140" y="393"/>
                </a:cubicBezTo>
                <a:cubicBezTo>
                  <a:pt x="141" y="389"/>
                  <a:pt x="141" y="389"/>
                  <a:pt x="141" y="389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6" y="374"/>
                  <a:pt x="146" y="374"/>
                  <a:pt x="146" y="374"/>
                </a:cubicBezTo>
                <a:cubicBezTo>
                  <a:pt x="150" y="358"/>
                  <a:pt x="150" y="358"/>
                  <a:pt x="150" y="358"/>
                </a:cubicBezTo>
                <a:cubicBezTo>
                  <a:pt x="152" y="342"/>
                  <a:pt x="152" y="342"/>
                  <a:pt x="152" y="342"/>
                </a:cubicBezTo>
                <a:cubicBezTo>
                  <a:pt x="153" y="324"/>
                  <a:pt x="153" y="324"/>
                  <a:pt x="153" y="324"/>
                </a:cubicBezTo>
                <a:cubicBezTo>
                  <a:pt x="153" y="305"/>
                  <a:pt x="153" y="305"/>
                  <a:pt x="153" y="305"/>
                </a:cubicBezTo>
                <a:cubicBezTo>
                  <a:pt x="152" y="268"/>
                  <a:pt x="152" y="268"/>
                  <a:pt x="152" y="268"/>
                </a:cubicBezTo>
                <a:cubicBezTo>
                  <a:pt x="152" y="250"/>
                  <a:pt x="152" y="250"/>
                  <a:pt x="152" y="250"/>
                </a:cubicBezTo>
                <a:cubicBezTo>
                  <a:pt x="151" y="232"/>
                  <a:pt x="151" y="232"/>
                  <a:pt x="151" y="232"/>
                </a:cubicBezTo>
                <a:cubicBezTo>
                  <a:pt x="149" y="216"/>
                  <a:pt x="149" y="216"/>
                  <a:pt x="149" y="216"/>
                </a:cubicBezTo>
                <a:cubicBezTo>
                  <a:pt x="147" y="207"/>
                  <a:pt x="147" y="207"/>
                  <a:pt x="147" y="207"/>
                </a:cubicBezTo>
                <a:cubicBezTo>
                  <a:pt x="144" y="198"/>
                  <a:pt x="144" y="198"/>
                  <a:pt x="144" y="198"/>
                </a:cubicBezTo>
                <a:cubicBezTo>
                  <a:pt x="140" y="190"/>
                  <a:pt x="140" y="190"/>
                  <a:pt x="140" y="190"/>
                </a:cubicBezTo>
                <a:cubicBezTo>
                  <a:pt x="138" y="186"/>
                  <a:pt x="138" y="186"/>
                  <a:pt x="138" y="186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31" y="185"/>
                  <a:pt x="131" y="185"/>
                  <a:pt x="131" y="185"/>
                </a:cubicBezTo>
                <a:cubicBezTo>
                  <a:pt x="128" y="189"/>
                  <a:pt x="128" y="189"/>
                  <a:pt x="128" y="189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74"/>
                  <a:pt x="126" y="174"/>
                  <a:pt x="126" y="174"/>
                </a:cubicBezTo>
                <a:cubicBezTo>
                  <a:pt x="125" y="167"/>
                  <a:pt x="125" y="167"/>
                  <a:pt x="125" y="167"/>
                </a:cubicBezTo>
                <a:cubicBezTo>
                  <a:pt x="124" y="163"/>
                  <a:pt x="124" y="163"/>
                  <a:pt x="124" y="163"/>
                </a:cubicBezTo>
                <a:cubicBezTo>
                  <a:pt x="122" y="159"/>
                  <a:pt x="122" y="159"/>
                  <a:pt x="122" y="159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18" y="155"/>
                  <a:pt x="118" y="155"/>
                  <a:pt x="118" y="155"/>
                </a:cubicBezTo>
                <a:cubicBezTo>
                  <a:pt x="114" y="154"/>
                  <a:pt x="114" y="154"/>
                  <a:pt x="114" y="15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03" y="151"/>
                  <a:pt x="103" y="151"/>
                  <a:pt x="103" y="151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31" y="151"/>
                  <a:pt x="131" y="151"/>
                  <a:pt x="131" y="151"/>
                </a:cubicBezTo>
                <a:cubicBezTo>
                  <a:pt x="134" y="153"/>
                  <a:pt x="134" y="153"/>
                  <a:pt x="134" y="153"/>
                </a:cubicBezTo>
                <a:cubicBezTo>
                  <a:pt x="137" y="156"/>
                  <a:pt x="137" y="156"/>
                  <a:pt x="137" y="156"/>
                </a:cubicBezTo>
                <a:cubicBezTo>
                  <a:pt x="141" y="160"/>
                  <a:pt x="141" y="160"/>
                  <a:pt x="141" y="160"/>
                </a:cubicBezTo>
                <a:cubicBezTo>
                  <a:pt x="144" y="163"/>
                  <a:pt x="144" y="163"/>
                  <a:pt x="144" y="163"/>
                </a:cubicBezTo>
                <a:cubicBezTo>
                  <a:pt x="148" y="168"/>
                  <a:pt x="148" y="168"/>
                  <a:pt x="148" y="168"/>
                </a:cubicBezTo>
                <a:cubicBezTo>
                  <a:pt x="157" y="180"/>
                  <a:pt x="157" y="180"/>
                  <a:pt x="157" y="180"/>
                </a:cubicBezTo>
                <a:cubicBezTo>
                  <a:pt x="167" y="195"/>
                  <a:pt x="167" y="195"/>
                  <a:pt x="167" y="195"/>
                </a:cubicBezTo>
                <a:cubicBezTo>
                  <a:pt x="168" y="194"/>
                  <a:pt x="168" y="194"/>
                  <a:pt x="168" y="194"/>
                </a:cubicBezTo>
                <a:cubicBezTo>
                  <a:pt x="171" y="190"/>
                  <a:pt x="171" y="190"/>
                  <a:pt x="171" y="190"/>
                </a:cubicBezTo>
                <a:cubicBezTo>
                  <a:pt x="176" y="180"/>
                  <a:pt x="176" y="180"/>
                  <a:pt x="176" y="180"/>
                </a:cubicBezTo>
                <a:cubicBezTo>
                  <a:pt x="181" y="168"/>
                  <a:pt x="181" y="168"/>
                  <a:pt x="181" y="168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7" y="161"/>
                  <a:pt x="187" y="161"/>
                  <a:pt x="187" y="161"/>
                </a:cubicBezTo>
                <a:cubicBezTo>
                  <a:pt x="190" y="158"/>
                  <a:pt x="190" y="158"/>
                  <a:pt x="190" y="158"/>
                </a:cubicBezTo>
                <a:cubicBezTo>
                  <a:pt x="194" y="157"/>
                  <a:pt x="194" y="157"/>
                  <a:pt x="194" y="157"/>
                </a:cubicBezTo>
                <a:cubicBezTo>
                  <a:pt x="197" y="156"/>
                  <a:pt x="197" y="156"/>
                  <a:pt x="197" y="156"/>
                </a:cubicBezTo>
                <a:cubicBezTo>
                  <a:pt x="201" y="156"/>
                  <a:pt x="201" y="156"/>
                  <a:pt x="201" y="156"/>
                </a:cubicBezTo>
                <a:cubicBezTo>
                  <a:pt x="209" y="156"/>
                  <a:pt x="209" y="156"/>
                  <a:pt x="209" y="156"/>
                </a:cubicBezTo>
                <a:cubicBezTo>
                  <a:pt x="218" y="157"/>
                  <a:pt x="218" y="157"/>
                  <a:pt x="218" y="157"/>
                </a:cubicBezTo>
                <a:lnTo>
                  <a:pt x="218" y="174"/>
                </a:lnTo>
                <a:close/>
                <a:moveTo>
                  <a:pt x="218" y="87"/>
                </a:moveTo>
                <a:cubicBezTo>
                  <a:pt x="215" y="77"/>
                  <a:pt x="215" y="77"/>
                  <a:pt x="215" y="77"/>
                </a:cubicBezTo>
                <a:cubicBezTo>
                  <a:pt x="218" y="82"/>
                  <a:pt x="218" y="82"/>
                  <a:pt x="218" y="82"/>
                </a:cubicBezTo>
                <a:cubicBezTo>
                  <a:pt x="221" y="87"/>
                  <a:pt x="221" y="87"/>
                  <a:pt x="221" y="87"/>
                </a:cubicBezTo>
                <a:cubicBezTo>
                  <a:pt x="224" y="97"/>
                  <a:pt x="224" y="97"/>
                  <a:pt x="224" y="97"/>
                </a:cubicBezTo>
                <a:lnTo>
                  <a:pt x="218" y="87"/>
                </a:lnTo>
                <a:close/>
                <a:moveTo>
                  <a:pt x="222" y="98"/>
                </a:moveTo>
                <a:cubicBezTo>
                  <a:pt x="225" y="104"/>
                  <a:pt x="225" y="104"/>
                  <a:pt x="225" y="104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8" y="115"/>
                  <a:pt x="228" y="115"/>
                  <a:pt x="228" y="115"/>
                </a:cubicBezTo>
                <a:cubicBezTo>
                  <a:pt x="228" y="120"/>
                  <a:pt x="228" y="120"/>
                  <a:pt x="228" y="120"/>
                </a:cubicBezTo>
                <a:cubicBezTo>
                  <a:pt x="227" y="128"/>
                  <a:pt x="227" y="128"/>
                  <a:pt x="227" y="128"/>
                </a:cubicBezTo>
                <a:cubicBezTo>
                  <a:pt x="225" y="134"/>
                  <a:pt x="225" y="134"/>
                  <a:pt x="225" y="134"/>
                </a:cubicBezTo>
                <a:cubicBezTo>
                  <a:pt x="226" y="127"/>
                  <a:pt x="226" y="127"/>
                  <a:pt x="226" y="127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5" y="109"/>
                  <a:pt x="225" y="109"/>
                  <a:pt x="225" y="109"/>
                </a:cubicBezTo>
                <a:cubicBezTo>
                  <a:pt x="222" y="99"/>
                  <a:pt x="222" y="99"/>
                  <a:pt x="222" y="99"/>
                </a:cubicBezTo>
                <a:lnTo>
                  <a:pt x="222" y="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92" name="Freeform 75"/>
          <p:cNvSpPr>
            <a:spLocks noEditPoints="1"/>
          </p:cNvSpPr>
          <p:nvPr>
            <p:custDataLst>
              <p:tags r:id="rId20"/>
            </p:custDataLst>
          </p:nvPr>
        </p:nvSpPr>
        <p:spPr bwMode="gray">
          <a:xfrm>
            <a:off x="4203067" y="2124212"/>
            <a:ext cx="146050" cy="620712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93" name="Freeform 88"/>
          <p:cNvSpPr>
            <a:spLocks noChangeAspect="1"/>
          </p:cNvSpPr>
          <p:nvPr>
            <p:custDataLst>
              <p:tags r:id="rId21"/>
            </p:custDataLst>
          </p:nvPr>
        </p:nvSpPr>
        <p:spPr bwMode="gray">
          <a:xfrm flipH="1">
            <a:off x="3936530" y="2058481"/>
            <a:ext cx="211137" cy="581025"/>
          </a:xfrm>
          <a:custGeom>
            <a:avLst/>
            <a:gdLst>
              <a:gd name="T0" fmla="*/ 699 w 741"/>
              <a:gd name="T1" fmla="*/ 1191 h 2046"/>
              <a:gd name="T2" fmla="*/ 642 w 741"/>
              <a:gd name="T3" fmla="*/ 1149 h 2046"/>
              <a:gd name="T4" fmla="*/ 652 w 741"/>
              <a:gd name="T5" fmla="*/ 1033 h 2046"/>
              <a:gd name="T6" fmla="*/ 623 w 741"/>
              <a:gd name="T7" fmla="*/ 553 h 2046"/>
              <a:gd name="T8" fmla="*/ 581 w 741"/>
              <a:gd name="T9" fmla="*/ 374 h 2046"/>
              <a:gd name="T10" fmla="*/ 408 w 741"/>
              <a:gd name="T11" fmla="*/ 298 h 2046"/>
              <a:gd name="T12" fmla="*/ 321 w 741"/>
              <a:gd name="T13" fmla="*/ 504 h 2046"/>
              <a:gd name="T14" fmla="*/ 307 w 741"/>
              <a:gd name="T15" fmla="*/ 350 h 2046"/>
              <a:gd name="T16" fmla="*/ 340 w 741"/>
              <a:gd name="T17" fmla="*/ 305 h 2046"/>
              <a:gd name="T18" fmla="*/ 392 w 741"/>
              <a:gd name="T19" fmla="*/ 260 h 2046"/>
              <a:gd name="T20" fmla="*/ 420 w 741"/>
              <a:gd name="T21" fmla="*/ 175 h 2046"/>
              <a:gd name="T22" fmla="*/ 432 w 741"/>
              <a:gd name="T23" fmla="*/ 71 h 2046"/>
              <a:gd name="T24" fmla="*/ 359 w 741"/>
              <a:gd name="T25" fmla="*/ 3 h 2046"/>
              <a:gd name="T26" fmla="*/ 224 w 741"/>
              <a:gd name="T27" fmla="*/ 52 h 2046"/>
              <a:gd name="T28" fmla="*/ 198 w 741"/>
              <a:gd name="T29" fmla="*/ 126 h 2046"/>
              <a:gd name="T30" fmla="*/ 186 w 741"/>
              <a:gd name="T31" fmla="*/ 189 h 2046"/>
              <a:gd name="T32" fmla="*/ 196 w 741"/>
              <a:gd name="T33" fmla="*/ 230 h 2046"/>
              <a:gd name="T34" fmla="*/ 205 w 741"/>
              <a:gd name="T35" fmla="*/ 277 h 2046"/>
              <a:gd name="T36" fmla="*/ 257 w 741"/>
              <a:gd name="T37" fmla="*/ 308 h 2046"/>
              <a:gd name="T38" fmla="*/ 283 w 741"/>
              <a:gd name="T39" fmla="*/ 329 h 2046"/>
              <a:gd name="T40" fmla="*/ 278 w 741"/>
              <a:gd name="T41" fmla="*/ 367 h 2046"/>
              <a:gd name="T42" fmla="*/ 245 w 741"/>
              <a:gd name="T43" fmla="*/ 317 h 2046"/>
              <a:gd name="T44" fmla="*/ 78 w 741"/>
              <a:gd name="T45" fmla="*/ 390 h 2046"/>
              <a:gd name="T46" fmla="*/ 52 w 741"/>
              <a:gd name="T47" fmla="*/ 489 h 2046"/>
              <a:gd name="T48" fmla="*/ 0 w 741"/>
              <a:gd name="T49" fmla="*/ 1073 h 2046"/>
              <a:gd name="T50" fmla="*/ 16 w 741"/>
              <a:gd name="T51" fmla="*/ 1123 h 2046"/>
              <a:gd name="T52" fmla="*/ 30 w 741"/>
              <a:gd name="T53" fmla="*/ 1229 h 2046"/>
              <a:gd name="T54" fmla="*/ 54 w 741"/>
              <a:gd name="T55" fmla="*/ 1227 h 2046"/>
              <a:gd name="T56" fmla="*/ 94 w 741"/>
              <a:gd name="T57" fmla="*/ 1238 h 2046"/>
              <a:gd name="T58" fmla="*/ 82 w 741"/>
              <a:gd name="T59" fmla="*/ 1208 h 2046"/>
              <a:gd name="T60" fmla="*/ 68 w 741"/>
              <a:gd name="T61" fmla="*/ 1153 h 2046"/>
              <a:gd name="T62" fmla="*/ 85 w 741"/>
              <a:gd name="T63" fmla="*/ 1196 h 2046"/>
              <a:gd name="T64" fmla="*/ 99 w 741"/>
              <a:gd name="T65" fmla="*/ 1094 h 2046"/>
              <a:gd name="T66" fmla="*/ 96 w 741"/>
              <a:gd name="T67" fmla="*/ 1021 h 2046"/>
              <a:gd name="T68" fmla="*/ 125 w 741"/>
              <a:gd name="T69" fmla="*/ 1255 h 2046"/>
              <a:gd name="T70" fmla="*/ 148 w 741"/>
              <a:gd name="T71" fmla="*/ 1817 h 2046"/>
              <a:gd name="T72" fmla="*/ 139 w 741"/>
              <a:gd name="T73" fmla="*/ 1923 h 2046"/>
              <a:gd name="T74" fmla="*/ 120 w 741"/>
              <a:gd name="T75" fmla="*/ 1990 h 2046"/>
              <a:gd name="T76" fmla="*/ 132 w 741"/>
              <a:gd name="T77" fmla="*/ 2030 h 2046"/>
              <a:gd name="T78" fmla="*/ 224 w 741"/>
              <a:gd name="T79" fmla="*/ 2030 h 2046"/>
              <a:gd name="T80" fmla="*/ 259 w 741"/>
              <a:gd name="T81" fmla="*/ 1973 h 2046"/>
              <a:gd name="T82" fmla="*/ 269 w 741"/>
              <a:gd name="T83" fmla="*/ 1897 h 2046"/>
              <a:gd name="T84" fmla="*/ 257 w 741"/>
              <a:gd name="T85" fmla="*/ 1775 h 2046"/>
              <a:gd name="T86" fmla="*/ 293 w 741"/>
              <a:gd name="T87" fmla="*/ 1373 h 2046"/>
              <a:gd name="T88" fmla="*/ 316 w 741"/>
              <a:gd name="T89" fmla="*/ 1224 h 2046"/>
              <a:gd name="T90" fmla="*/ 352 w 741"/>
              <a:gd name="T91" fmla="*/ 1458 h 2046"/>
              <a:gd name="T92" fmla="*/ 382 w 741"/>
              <a:gd name="T93" fmla="*/ 1697 h 2046"/>
              <a:gd name="T94" fmla="*/ 363 w 741"/>
              <a:gd name="T95" fmla="*/ 1810 h 2046"/>
              <a:gd name="T96" fmla="*/ 349 w 741"/>
              <a:gd name="T97" fmla="*/ 1921 h 2046"/>
              <a:gd name="T98" fmla="*/ 368 w 741"/>
              <a:gd name="T99" fmla="*/ 1966 h 2046"/>
              <a:gd name="T100" fmla="*/ 352 w 741"/>
              <a:gd name="T101" fmla="*/ 2030 h 2046"/>
              <a:gd name="T102" fmla="*/ 427 w 741"/>
              <a:gd name="T103" fmla="*/ 2044 h 2046"/>
              <a:gd name="T104" fmla="*/ 474 w 741"/>
              <a:gd name="T105" fmla="*/ 1997 h 2046"/>
              <a:gd name="T106" fmla="*/ 491 w 741"/>
              <a:gd name="T107" fmla="*/ 1919 h 2046"/>
              <a:gd name="T108" fmla="*/ 503 w 741"/>
              <a:gd name="T109" fmla="*/ 1824 h 2046"/>
              <a:gd name="T110" fmla="*/ 635 w 741"/>
              <a:gd name="T111" fmla="*/ 1597 h 2046"/>
              <a:gd name="T112" fmla="*/ 741 w 741"/>
              <a:gd name="T113" fmla="*/ 1491 h 2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41" h="2046">
                <a:moveTo>
                  <a:pt x="739" y="1375"/>
                </a:moveTo>
                <a:lnTo>
                  <a:pt x="732" y="1205"/>
                </a:lnTo>
                <a:lnTo>
                  <a:pt x="730" y="1203"/>
                </a:lnTo>
                <a:lnTo>
                  <a:pt x="725" y="1198"/>
                </a:lnTo>
                <a:lnTo>
                  <a:pt x="713" y="1193"/>
                </a:lnTo>
                <a:lnTo>
                  <a:pt x="699" y="1191"/>
                </a:lnTo>
                <a:lnTo>
                  <a:pt x="687" y="1191"/>
                </a:lnTo>
                <a:lnTo>
                  <a:pt x="635" y="1193"/>
                </a:lnTo>
                <a:lnTo>
                  <a:pt x="633" y="1179"/>
                </a:lnTo>
                <a:lnTo>
                  <a:pt x="628" y="1165"/>
                </a:lnTo>
                <a:lnTo>
                  <a:pt x="640" y="1156"/>
                </a:lnTo>
                <a:lnTo>
                  <a:pt x="642" y="1149"/>
                </a:lnTo>
                <a:lnTo>
                  <a:pt x="645" y="1139"/>
                </a:lnTo>
                <a:lnTo>
                  <a:pt x="647" y="1113"/>
                </a:lnTo>
                <a:lnTo>
                  <a:pt x="647" y="1080"/>
                </a:lnTo>
                <a:lnTo>
                  <a:pt x="649" y="1066"/>
                </a:lnTo>
                <a:lnTo>
                  <a:pt x="652" y="1052"/>
                </a:lnTo>
                <a:lnTo>
                  <a:pt x="652" y="1033"/>
                </a:lnTo>
                <a:lnTo>
                  <a:pt x="652" y="957"/>
                </a:lnTo>
                <a:lnTo>
                  <a:pt x="649" y="846"/>
                </a:lnTo>
                <a:lnTo>
                  <a:pt x="642" y="730"/>
                </a:lnTo>
                <a:lnTo>
                  <a:pt x="637" y="676"/>
                </a:lnTo>
                <a:lnTo>
                  <a:pt x="633" y="629"/>
                </a:lnTo>
                <a:lnTo>
                  <a:pt x="623" y="553"/>
                </a:lnTo>
                <a:lnTo>
                  <a:pt x="619" y="494"/>
                </a:lnTo>
                <a:lnTo>
                  <a:pt x="614" y="423"/>
                </a:lnTo>
                <a:lnTo>
                  <a:pt x="611" y="409"/>
                </a:lnTo>
                <a:lnTo>
                  <a:pt x="604" y="395"/>
                </a:lnTo>
                <a:lnTo>
                  <a:pt x="595" y="386"/>
                </a:lnTo>
                <a:lnTo>
                  <a:pt x="581" y="374"/>
                </a:lnTo>
                <a:lnTo>
                  <a:pt x="567" y="367"/>
                </a:lnTo>
                <a:lnTo>
                  <a:pt x="550" y="357"/>
                </a:lnTo>
                <a:lnTo>
                  <a:pt x="512" y="345"/>
                </a:lnTo>
                <a:lnTo>
                  <a:pt x="477" y="334"/>
                </a:lnTo>
                <a:lnTo>
                  <a:pt x="444" y="317"/>
                </a:lnTo>
                <a:lnTo>
                  <a:pt x="408" y="298"/>
                </a:lnTo>
                <a:lnTo>
                  <a:pt x="399" y="310"/>
                </a:lnTo>
                <a:lnTo>
                  <a:pt x="389" y="326"/>
                </a:lnTo>
                <a:lnTo>
                  <a:pt x="373" y="360"/>
                </a:lnTo>
                <a:lnTo>
                  <a:pt x="356" y="400"/>
                </a:lnTo>
                <a:lnTo>
                  <a:pt x="340" y="445"/>
                </a:lnTo>
                <a:lnTo>
                  <a:pt x="321" y="504"/>
                </a:lnTo>
                <a:lnTo>
                  <a:pt x="300" y="369"/>
                </a:lnTo>
                <a:lnTo>
                  <a:pt x="300" y="367"/>
                </a:lnTo>
                <a:lnTo>
                  <a:pt x="304" y="364"/>
                </a:lnTo>
                <a:lnTo>
                  <a:pt x="309" y="360"/>
                </a:lnTo>
                <a:lnTo>
                  <a:pt x="309" y="355"/>
                </a:lnTo>
                <a:lnTo>
                  <a:pt x="307" y="350"/>
                </a:lnTo>
                <a:lnTo>
                  <a:pt x="304" y="341"/>
                </a:lnTo>
                <a:lnTo>
                  <a:pt x="302" y="334"/>
                </a:lnTo>
                <a:lnTo>
                  <a:pt x="297" y="326"/>
                </a:lnTo>
                <a:lnTo>
                  <a:pt x="309" y="322"/>
                </a:lnTo>
                <a:lnTo>
                  <a:pt x="326" y="315"/>
                </a:lnTo>
                <a:lnTo>
                  <a:pt x="340" y="305"/>
                </a:lnTo>
                <a:lnTo>
                  <a:pt x="356" y="293"/>
                </a:lnTo>
                <a:lnTo>
                  <a:pt x="361" y="289"/>
                </a:lnTo>
                <a:lnTo>
                  <a:pt x="370" y="284"/>
                </a:lnTo>
                <a:lnTo>
                  <a:pt x="385" y="277"/>
                </a:lnTo>
                <a:lnTo>
                  <a:pt x="389" y="270"/>
                </a:lnTo>
                <a:lnTo>
                  <a:pt x="392" y="260"/>
                </a:lnTo>
                <a:lnTo>
                  <a:pt x="392" y="234"/>
                </a:lnTo>
                <a:lnTo>
                  <a:pt x="394" y="223"/>
                </a:lnTo>
                <a:lnTo>
                  <a:pt x="396" y="213"/>
                </a:lnTo>
                <a:lnTo>
                  <a:pt x="401" y="201"/>
                </a:lnTo>
                <a:lnTo>
                  <a:pt x="411" y="189"/>
                </a:lnTo>
                <a:lnTo>
                  <a:pt x="420" y="175"/>
                </a:lnTo>
                <a:lnTo>
                  <a:pt x="430" y="159"/>
                </a:lnTo>
                <a:lnTo>
                  <a:pt x="434" y="135"/>
                </a:lnTo>
                <a:lnTo>
                  <a:pt x="439" y="111"/>
                </a:lnTo>
                <a:lnTo>
                  <a:pt x="439" y="97"/>
                </a:lnTo>
                <a:lnTo>
                  <a:pt x="437" y="85"/>
                </a:lnTo>
                <a:lnTo>
                  <a:pt x="432" y="71"/>
                </a:lnTo>
                <a:lnTo>
                  <a:pt x="425" y="57"/>
                </a:lnTo>
                <a:lnTo>
                  <a:pt x="420" y="48"/>
                </a:lnTo>
                <a:lnTo>
                  <a:pt x="401" y="29"/>
                </a:lnTo>
                <a:lnTo>
                  <a:pt x="389" y="19"/>
                </a:lnTo>
                <a:lnTo>
                  <a:pt x="375" y="10"/>
                </a:lnTo>
                <a:lnTo>
                  <a:pt x="359" y="3"/>
                </a:lnTo>
                <a:lnTo>
                  <a:pt x="342" y="0"/>
                </a:lnTo>
                <a:lnTo>
                  <a:pt x="255" y="15"/>
                </a:lnTo>
                <a:lnTo>
                  <a:pt x="233" y="26"/>
                </a:lnTo>
                <a:lnTo>
                  <a:pt x="224" y="34"/>
                </a:lnTo>
                <a:lnTo>
                  <a:pt x="222" y="41"/>
                </a:lnTo>
                <a:lnTo>
                  <a:pt x="224" y="52"/>
                </a:lnTo>
                <a:lnTo>
                  <a:pt x="226" y="60"/>
                </a:lnTo>
                <a:lnTo>
                  <a:pt x="226" y="64"/>
                </a:lnTo>
                <a:lnTo>
                  <a:pt x="224" y="69"/>
                </a:lnTo>
                <a:lnTo>
                  <a:pt x="205" y="107"/>
                </a:lnTo>
                <a:lnTo>
                  <a:pt x="200" y="116"/>
                </a:lnTo>
                <a:lnTo>
                  <a:pt x="198" y="126"/>
                </a:lnTo>
                <a:lnTo>
                  <a:pt x="198" y="133"/>
                </a:lnTo>
                <a:lnTo>
                  <a:pt x="198" y="142"/>
                </a:lnTo>
                <a:lnTo>
                  <a:pt x="184" y="173"/>
                </a:lnTo>
                <a:lnTo>
                  <a:pt x="181" y="182"/>
                </a:lnTo>
                <a:lnTo>
                  <a:pt x="181" y="187"/>
                </a:lnTo>
                <a:lnTo>
                  <a:pt x="186" y="189"/>
                </a:lnTo>
                <a:lnTo>
                  <a:pt x="193" y="192"/>
                </a:lnTo>
                <a:lnTo>
                  <a:pt x="196" y="194"/>
                </a:lnTo>
                <a:lnTo>
                  <a:pt x="198" y="199"/>
                </a:lnTo>
                <a:lnTo>
                  <a:pt x="196" y="215"/>
                </a:lnTo>
                <a:lnTo>
                  <a:pt x="196" y="227"/>
                </a:lnTo>
                <a:lnTo>
                  <a:pt x="196" y="230"/>
                </a:lnTo>
                <a:lnTo>
                  <a:pt x="198" y="239"/>
                </a:lnTo>
                <a:lnTo>
                  <a:pt x="198" y="248"/>
                </a:lnTo>
                <a:lnTo>
                  <a:pt x="196" y="256"/>
                </a:lnTo>
                <a:lnTo>
                  <a:pt x="198" y="265"/>
                </a:lnTo>
                <a:lnTo>
                  <a:pt x="198" y="267"/>
                </a:lnTo>
                <a:lnTo>
                  <a:pt x="205" y="277"/>
                </a:lnTo>
                <a:lnTo>
                  <a:pt x="210" y="279"/>
                </a:lnTo>
                <a:lnTo>
                  <a:pt x="219" y="284"/>
                </a:lnTo>
                <a:lnTo>
                  <a:pt x="238" y="286"/>
                </a:lnTo>
                <a:lnTo>
                  <a:pt x="248" y="286"/>
                </a:lnTo>
                <a:lnTo>
                  <a:pt x="262" y="286"/>
                </a:lnTo>
                <a:lnTo>
                  <a:pt x="257" y="308"/>
                </a:lnTo>
                <a:lnTo>
                  <a:pt x="257" y="312"/>
                </a:lnTo>
                <a:lnTo>
                  <a:pt x="259" y="317"/>
                </a:lnTo>
                <a:lnTo>
                  <a:pt x="271" y="329"/>
                </a:lnTo>
                <a:lnTo>
                  <a:pt x="276" y="331"/>
                </a:lnTo>
                <a:lnTo>
                  <a:pt x="281" y="329"/>
                </a:lnTo>
                <a:lnTo>
                  <a:pt x="283" y="329"/>
                </a:lnTo>
                <a:lnTo>
                  <a:pt x="278" y="331"/>
                </a:lnTo>
                <a:lnTo>
                  <a:pt x="274" y="341"/>
                </a:lnTo>
                <a:lnTo>
                  <a:pt x="271" y="345"/>
                </a:lnTo>
                <a:lnTo>
                  <a:pt x="269" y="350"/>
                </a:lnTo>
                <a:lnTo>
                  <a:pt x="274" y="360"/>
                </a:lnTo>
                <a:lnTo>
                  <a:pt x="278" y="367"/>
                </a:lnTo>
                <a:lnTo>
                  <a:pt x="250" y="456"/>
                </a:lnTo>
                <a:lnTo>
                  <a:pt x="245" y="471"/>
                </a:lnTo>
                <a:lnTo>
                  <a:pt x="245" y="456"/>
                </a:lnTo>
                <a:lnTo>
                  <a:pt x="243" y="362"/>
                </a:lnTo>
                <a:lnTo>
                  <a:pt x="243" y="331"/>
                </a:lnTo>
                <a:lnTo>
                  <a:pt x="245" y="317"/>
                </a:lnTo>
                <a:lnTo>
                  <a:pt x="248" y="315"/>
                </a:lnTo>
                <a:lnTo>
                  <a:pt x="229" y="322"/>
                </a:lnTo>
                <a:lnTo>
                  <a:pt x="172" y="345"/>
                </a:lnTo>
                <a:lnTo>
                  <a:pt x="115" y="369"/>
                </a:lnTo>
                <a:lnTo>
                  <a:pt x="92" y="381"/>
                </a:lnTo>
                <a:lnTo>
                  <a:pt x="78" y="390"/>
                </a:lnTo>
                <a:lnTo>
                  <a:pt x="70" y="397"/>
                </a:lnTo>
                <a:lnTo>
                  <a:pt x="66" y="407"/>
                </a:lnTo>
                <a:lnTo>
                  <a:pt x="61" y="419"/>
                </a:lnTo>
                <a:lnTo>
                  <a:pt x="59" y="430"/>
                </a:lnTo>
                <a:lnTo>
                  <a:pt x="56" y="459"/>
                </a:lnTo>
                <a:lnTo>
                  <a:pt x="52" y="489"/>
                </a:lnTo>
                <a:lnTo>
                  <a:pt x="37" y="650"/>
                </a:lnTo>
                <a:lnTo>
                  <a:pt x="28" y="726"/>
                </a:lnTo>
                <a:lnTo>
                  <a:pt x="21" y="785"/>
                </a:lnTo>
                <a:lnTo>
                  <a:pt x="16" y="851"/>
                </a:lnTo>
                <a:lnTo>
                  <a:pt x="7" y="990"/>
                </a:lnTo>
                <a:lnTo>
                  <a:pt x="0" y="1073"/>
                </a:lnTo>
                <a:lnTo>
                  <a:pt x="2" y="1078"/>
                </a:lnTo>
                <a:lnTo>
                  <a:pt x="2" y="1082"/>
                </a:lnTo>
                <a:lnTo>
                  <a:pt x="9" y="1089"/>
                </a:lnTo>
                <a:lnTo>
                  <a:pt x="16" y="1094"/>
                </a:lnTo>
                <a:lnTo>
                  <a:pt x="18" y="1097"/>
                </a:lnTo>
                <a:lnTo>
                  <a:pt x="16" y="1123"/>
                </a:lnTo>
                <a:lnTo>
                  <a:pt x="14" y="1158"/>
                </a:lnTo>
                <a:lnTo>
                  <a:pt x="16" y="1193"/>
                </a:lnTo>
                <a:lnTo>
                  <a:pt x="18" y="1210"/>
                </a:lnTo>
                <a:lnTo>
                  <a:pt x="21" y="1217"/>
                </a:lnTo>
                <a:lnTo>
                  <a:pt x="23" y="1222"/>
                </a:lnTo>
                <a:lnTo>
                  <a:pt x="30" y="1229"/>
                </a:lnTo>
                <a:lnTo>
                  <a:pt x="33" y="1234"/>
                </a:lnTo>
                <a:lnTo>
                  <a:pt x="35" y="1231"/>
                </a:lnTo>
                <a:lnTo>
                  <a:pt x="37" y="1229"/>
                </a:lnTo>
                <a:lnTo>
                  <a:pt x="35" y="1205"/>
                </a:lnTo>
                <a:lnTo>
                  <a:pt x="40" y="1215"/>
                </a:lnTo>
                <a:lnTo>
                  <a:pt x="54" y="1227"/>
                </a:lnTo>
                <a:lnTo>
                  <a:pt x="68" y="1241"/>
                </a:lnTo>
                <a:lnTo>
                  <a:pt x="78" y="1248"/>
                </a:lnTo>
                <a:lnTo>
                  <a:pt x="85" y="1248"/>
                </a:lnTo>
                <a:lnTo>
                  <a:pt x="87" y="1243"/>
                </a:lnTo>
                <a:lnTo>
                  <a:pt x="87" y="1238"/>
                </a:lnTo>
                <a:lnTo>
                  <a:pt x="94" y="1238"/>
                </a:lnTo>
                <a:lnTo>
                  <a:pt x="101" y="1238"/>
                </a:lnTo>
                <a:lnTo>
                  <a:pt x="104" y="1236"/>
                </a:lnTo>
                <a:lnTo>
                  <a:pt x="106" y="1234"/>
                </a:lnTo>
                <a:lnTo>
                  <a:pt x="104" y="1229"/>
                </a:lnTo>
                <a:lnTo>
                  <a:pt x="92" y="1217"/>
                </a:lnTo>
                <a:lnTo>
                  <a:pt x="82" y="1208"/>
                </a:lnTo>
                <a:lnTo>
                  <a:pt x="73" y="1196"/>
                </a:lnTo>
                <a:lnTo>
                  <a:pt x="66" y="1184"/>
                </a:lnTo>
                <a:lnTo>
                  <a:pt x="63" y="1172"/>
                </a:lnTo>
                <a:lnTo>
                  <a:pt x="63" y="1163"/>
                </a:lnTo>
                <a:lnTo>
                  <a:pt x="66" y="1156"/>
                </a:lnTo>
                <a:lnTo>
                  <a:pt x="68" y="1153"/>
                </a:lnTo>
                <a:lnTo>
                  <a:pt x="73" y="1153"/>
                </a:lnTo>
                <a:lnTo>
                  <a:pt x="78" y="1156"/>
                </a:lnTo>
                <a:lnTo>
                  <a:pt x="80" y="1165"/>
                </a:lnTo>
                <a:lnTo>
                  <a:pt x="82" y="1186"/>
                </a:lnTo>
                <a:lnTo>
                  <a:pt x="82" y="1191"/>
                </a:lnTo>
                <a:lnTo>
                  <a:pt x="85" y="1196"/>
                </a:lnTo>
                <a:lnTo>
                  <a:pt x="92" y="1201"/>
                </a:lnTo>
                <a:lnTo>
                  <a:pt x="99" y="1201"/>
                </a:lnTo>
                <a:lnTo>
                  <a:pt x="104" y="1201"/>
                </a:lnTo>
                <a:lnTo>
                  <a:pt x="101" y="1137"/>
                </a:lnTo>
                <a:lnTo>
                  <a:pt x="99" y="1108"/>
                </a:lnTo>
                <a:lnTo>
                  <a:pt x="99" y="1094"/>
                </a:lnTo>
                <a:lnTo>
                  <a:pt x="99" y="1087"/>
                </a:lnTo>
                <a:lnTo>
                  <a:pt x="96" y="1075"/>
                </a:lnTo>
                <a:lnTo>
                  <a:pt x="94" y="1064"/>
                </a:lnTo>
                <a:lnTo>
                  <a:pt x="92" y="1054"/>
                </a:lnTo>
                <a:lnTo>
                  <a:pt x="94" y="1030"/>
                </a:lnTo>
                <a:lnTo>
                  <a:pt x="96" y="1021"/>
                </a:lnTo>
                <a:lnTo>
                  <a:pt x="96" y="1026"/>
                </a:lnTo>
                <a:lnTo>
                  <a:pt x="99" y="1052"/>
                </a:lnTo>
                <a:lnTo>
                  <a:pt x="99" y="1087"/>
                </a:lnTo>
                <a:lnTo>
                  <a:pt x="106" y="1120"/>
                </a:lnTo>
                <a:lnTo>
                  <a:pt x="113" y="1167"/>
                </a:lnTo>
                <a:lnTo>
                  <a:pt x="125" y="1255"/>
                </a:lnTo>
                <a:lnTo>
                  <a:pt x="132" y="1349"/>
                </a:lnTo>
                <a:lnTo>
                  <a:pt x="137" y="1420"/>
                </a:lnTo>
                <a:lnTo>
                  <a:pt x="139" y="1503"/>
                </a:lnTo>
                <a:lnTo>
                  <a:pt x="144" y="1623"/>
                </a:lnTo>
                <a:lnTo>
                  <a:pt x="151" y="1803"/>
                </a:lnTo>
                <a:lnTo>
                  <a:pt x="148" y="1817"/>
                </a:lnTo>
                <a:lnTo>
                  <a:pt x="146" y="1831"/>
                </a:lnTo>
                <a:lnTo>
                  <a:pt x="139" y="1867"/>
                </a:lnTo>
                <a:lnTo>
                  <a:pt x="137" y="1883"/>
                </a:lnTo>
                <a:lnTo>
                  <a:pt x="134" y="1900"/>
                </a:lnTo>
                <a:lnTo>
                  <a:pt x="134" y="1914"/>
                </a:lnTo>
                <a:lnTo>
                  <a:pt x="139" y="1923"/>
                </a:lnTo>
                <a:lnTo>
                  <a:pt x="146" y="1940"/>
                </a:lnTo>
                <a:lnTo>
                  <a:pt x="151" y="1949"/>
                </a:lnTo>
                <a:lnTo>
                  <a:pt x="148" y="1959"/>
                </a:lnTo>
                <a:lnTo>
                  <a:pt x="141" y="1966"/>
                </a:lnTo>
                <a:lnTo>
                  <a:pt x="127" y="1978"/>
                </a:lnTo>
                <a:lnTo>
                  <a:pt x="120" y="1990"/>
                </a:lnTo>
                <a:lnTo>
                  <a:pt x="118" y="1999"/>
                </a:lnTo>
                <a:lnTo>
                  <a:pt x="115" y="2011"/>
                </a:lnTo>
                <a:lnTo>
                  <a:pt x="118" y="2016"/>
                </a:lnTo>
                <a:lnTo>
                  <a:pt x="120" y="2023"/>
                </a:lnTo>
                <a:lnTo>
                  <a:pt x="125" y="2027"/>
                </a:lnTo>
                <a:lnTo>
                  <a:pt x="132" y="2030"/>
                </a:lnTo>
                <a:lnTo>
                  <a:pt x="141" y="2034"/>
                </a:lnTo>
                <a:lnTo>
                  <a:pt x="153" y="2037"/>
                </a:lnTo>
                <a:lnTo>
                  <a:pt x="174" y="2039"/>
                </a:lnTo>
                <a:lnTo>
                  <a:pt x="193" y="2037"/>
                </a:lnTo>
                <a:lnTo>
                  <a:pt x="210" y="2034"/>
                </a:lnTo>
                <a:lnTo>
                  <a:pt x="224" y="2030"/>
                </a:lnTo>
                <a:lnTo>
                  <a:pt x="233" y="2023"/>
                </a:lnTo>
                <a:lnTo>
                  <a:pt x="243" y="2016"/>
                </a:lnTo>
                <a:lnTo>
                  <a:pt x="255" y="2001"/>
                </a:lnTo>
                <a:lnTo>
                  <a:pt x="259" y="1997"/>
                </a:lnTo>
                <a:lnTo>
                  <a:pt x="259" y="1990"/>
                </a:lnTo>
                <a:lnTo>
                  <a:pt x="259" y="1973"/>
                </a:lnTo>
                <a:lnTo>
                  <a:pt x="257" y="1956"/>
                </a:lnTo>
                <a:lnTo>
                  <a:pt x="259" y="1945"/>
                </a:lnTo>
                <a:lnTo>
                  <a:pt x="264" y="1931"/>
                </a:lnTo>
                <a:lnTo>
                  <a:pt x="269" y="1919"/>
                </a:lnTo>
                <a:lnTo>
                  <a:pt x="271" y="1907"/>
                </a:lnTo>
                <a:lnTo>
                  <a:pt x="269" y="1897"/>
                </a:lnTo>
                <a:lnTo>
                  <a:pt x="269" y="1886"/>
                </a:lnTo>
                <a:lnTo>
                  <a:pt x="262" y="1867"/>
                </a:lnTo>
                <a:lnTo>
                  <a:pt x="252" y="1850"/>
                </a:lnTo>
                <a:lnTo>
                  <a:pt x="250" y="1838"/>
                </a:lnTo>
                <a:lnTo>
                  <a:pt x="250" y="1819"/>
                </a:lnTo>
                <a:lnTo>
                  <a:pt x="257" y="1775"/>
                </a:lnTo>
                <a:lnTo>
                  <a:pt x="264" y="1720"/>
                </a:lnTo>
                <a:lnTo>
                  <a:pt x="269" y="1668"/>
                </a:lnTo>
                <a:lnTo>
                  <a:pt x="274" y="1614"/>
                </a:lnTo>
                <a:lnTo>
                  <a:pt x="278" y="1548"/>
                </a:lnTo>
                <a:lnTo>
                  <a:pt x="285" y="1470"/>
                </a:lnTo>
                <a:lnTo>
                  <a:pt x="293" y="1373"/>
                </a:lnTo>
                <a:lnTo>
                  <a:pt x="295" y="1328"/>
                </a:lnTo>
                <a:lnTo>
                  <a:pt x="297" y="1293"/>
                </a:lnTo>
                <a:lnTo>
                  <a:pt x="302" y="1264"/>
                </a:lnTo>
                <a:lnTo>
                  <a:pt x="307" y="1245"/>
                </a:lnTo>
                <a:lnTo>
                  <a:pt x="311" y="1231"/>
                </a:lnTo>
                <a:lnTo>
                  <a:pt x="316" y="1224"/>
                </a:lnTo>
                <a:lnTo>
                  <a:pt x="318" y="1219"/>
                </a:lnTo>
                <a:lnTo>
                  <a:pt x="321" y="1243"/>
                </a:lnTo>
                <a:lnTo>
                  <a:pt x="323" y="1271"/>
                </a:lnTo>
                <a:lnTo>
                  <a:pt x="335" y="1340"/>
                </a:lnTo>
                <a:lnTo>
                  <a:pt x="344" y="1406"/>
                </a:lnTo>
                <a:lnTo>
                  <a:pt x="352" y="1458"/>
                </a:lnTo>
                <a:lnTo>
                  <a:pt x="356" y="1498"/>
                </a:lnTo>
                <a:lnTo>
                  <a:pt x="363" y="1534"/>
                </a:lnTo>
                <a:lnTo>
                  <a:pt x="370" y="1571"/>
                </a:lnTo>
                <a:lnTo>
                  <a:pt x="375" y="1609"/>
                </a:lnTo>
                <a:lnTo>
                  <a:pt x="380" y="1652"/>
                </a:lnTo>
                <a:lnTo>
                  <a:pt x="382" y="1697"/>
                </a:lnTo>
                <a:lnTo>
                  <a:pt x="382" y="1718"/>
                </a:lnTo>
                <a:lnTo>
                  <a:pt x="380" y="1737"/>
                </a:lnTo>
                <a:lnTo>
                  <a:pt x="378" y="1756"/>
                </a:lnTo>
                <a:lnTo>
                  <a:pt x="370" y="1772"/>
                </a:lnTo>
                <a:lnTo>
                  <a:pt x="363" y="1793"/>
                </a:lnTo>
                <a:lnTo>
                  <a:pt x="363" y="1810"/>
                </a:lnTo>
                <a:lnTo>
                  <a:pt x="366" y="1824"/>
                </a:lnTo>
                <a:lnTo>
                  <a:pt x="368" y="1843"/>
                </a:lnTo>
                <a:lnTo>
                  <a:pt x="363" y="1864"/>
                </a:lnTo>
                <a:lnTo>
                  <a:pt x="359" y="1886"/>
                </a:lnTo>
                <a:lnTo>
                  <a:pt x="352" y="1905"/>
                </a:lnTo>
                <a:lnTo>
                  <a:pt x="349" y="1921"/>
                </a:lnTo>
                <a:lnTo>
                  <a:pt x="349" y="1926"/>
                </a:lnTo>
                <a:lnTo>
                  <a:pt x="352" y="1933"/>
                </a:lnTo>
                <a:lnTo>
                  <a:pt x="361" y="1945"/>
                </a:lnTo>
                <a:lnTo>
                  <a:pt x="370" y="1956"/>
                </a:lnTo>
                <a:lnTo>
                  <a:pt x="370" y="1961"/>
                </a:lnTo>
                <a:lnTo>
                  <a:pt x="368" y="1966"/>
                </a:lnTo>
                <a:lnTo>
                  <a:pt x="359" y="1973"/>
                </a:lnTo>
                <a:lnTo>
                  <a:pt x="354" y="1985"/>
                </a:lnTo>
                <a:lnTo>
                  <a:pt x="349" y="1997"/>
                </a:lnTo>
                <a:lnTo>
                  <a:pt x="349" y="2011"/>
                </a:lnTo>
                <a:lnTo>
                  <a:pt x="349" y="2025"/>
                </a:lnTo>
                <a:lnTo>
                  <a:pt x="352" y="2030"/>
                </a:lnTo>
                <a:lnTo>
                  <a:pt x="356" y="2034"/>
                </a:lnTo>
                <a:lnTo>
                  <a:pt x="363" y="2039"/>
                </a:lnTo>
                <a:lnTo>
                  <a:pt x="375" y="2044"/>
                </a:lnTo>
                <a:lnTo>
                  <a:pt x="389" y="2044"/>
                </a:lnTo>
                <a:lnTo>
                  <a:pt x="408" y="2046"/>
                </a:lnTo>
                <a:lnTo>
                  <a:pt x="427" y="2044"/>
                </a:lnTo>
                <a:lnTo>
                  <a:pt x="444" y="2039"/>
                </a:lnTo>
                <a:lnTo>
                  <a:pt x="453" y="2034"/>
                </a:lnTo>
                <a:lnTo>
                  <a:pt x="463" y="2027"/>
                </a:lnTo>
                <a:lnTo>
                  <a:pt x="470" y="2020"/>
                </a:lnTo>
                <a:lnTo>
                  <a:pt x="472" y="2011"/>
                </a:lnTo>
                <a:lnTo>
                  <a:pt x="474" y="1997"/>
                </a:lnTo>
                <a:lnTo>
                  <a:pt x="472" y="1973"/>
                </a:lnTo>
                <a:lnTo>
                  <a:pt x="472" y="1964"/>
                </a:lnTo>
                <a:lnTo>
                  <a:pt x="474" y="1956"/>
                </a:lnTo>
                <a:lnTo>
                  <a:pt x="479" y="1949"/>
                </a:lnTo>
                <a:lnTo>
                  <a:pt x="486" y="1935"/>
                </a:lnTo>
                <a:lnTo>
                  <a:pt x="491" y="1919"/>
                </a:lnTo>
                <a:lnTo>
                  <a:pt x="491" y="1900"/>
                </a:lnTo>
                <a:lnTo>
                  <a:pt x="491" y="1879"/>
                </a:lnTo>
                <a:lnTo>
                  <a:pt x="491" y="1869"/>
                </a:lnTo>
                <a:lnTo>
                  <a:pt x="493" y="1862"/>
                </a:lnTo>
                <a:lnTo>
                  <a:pt x="498" y="1848"/>
                </a:lnTo>
                <a:lnTo>
                  <a:pt x="503" y="1824"/>
                </a:lnTo>
                <a:lnTo>
                  <a:pt x="507" y="1803"/>
                </a:lnTo>
                <a:lnTo>
                  <a:pt x="510" y="1777"/>
                </a:lnTo>
                <a:lnTo>
                  <a:pt x="510" y="1704"/>
                </a:lnTo>
                <a:lnTo>
                  <a:pt x="507" y="1628"/>
                </a:lnTo>
                <a:lnTo>
                  <a:pt x="564" y="1616"/>
                </a:lnTo>
                <a:lnTo>
                  <a:pt x="635" y="1597"/>
                </a:lnTo>
                <a:lnTo>
                  <a:pt x="725" y="1571"/>
                </a:lnTo>
                <a:lnTo>
                  <a:pt x="730" y="1569"/>
                </a:lnTo>
                <a:lnTo>
                  <a:pt x="734" y="1567"/>
                </a:lnTo>
                <a:lnTo>
                  <a:pt x="739" y="1560"/>
                </a:lnTo>
                <a:lnTo>
                  <a:pt x="741" y="1550"/>
                </a:lnTo>
                <a:lnTo>
                  <a:pt x="741" y="1491"/>
                </a:lnTo>
                <a:lnTo>
                  <a:pt x="739" y="137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94" name="Freeform 79"/>
          <p:cNvSpPr>
            <a:spLocks noEditPoints="1"/>
          </p:cNvSpPr>
          <p:nvPr>
            <p:custDataLst>
              <p:tags r:id="rId22"/>
            </p:custDataLst>
          </p:nvPr>
        </p:nvSpPr>
        <p:spPr bwMode="gray">
          <a:xfrm>
            <a:off x="3563860" y="2055054"/>
            <a:ext cx="176212" cy="584200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195" name="Freeform 96"/>
          <p:cNvSpPr>
            <a:spLocks noChangeAspect="1" noEditPoints="1"/>
          </p:cNvSpPr>
          <p:nvPr>
            <p:custDataLst>
              <p:tags r:id="rId23"/>
            </p:custDataLst>
          </p:nvPr>
        </p:nvSpPr>
        <p:spPr bwMode="gray">
          <a:xfrm flipH="1">
            <a:off x="3787305" y="1952836"/>
            <a:ext cx="149225" cy="465137"/>
          </a:xfrm>
          <a:custGeom>
            <a:avLst/>
            <a:gdLst>
              <a:gd name="T0" fmla="*/ 270 w 306"/>
              <a:gd name="T1" fmla="*/ 314 h 957"/>
              <a:gd name="T2" fmla="*/ 250 w 306"/>
              <a:gd name="T3" fmla="*/ 172 h 957"/>
              <a:gd name="T4" fmla="*/ 224 w 306"/>
              <a:gd name="T5" fmla="*/ 147 h 957"/>
              <a:gd name="T6" fmla="*/ 226 w 306"/>
              <a:gd name="T7" fmla="*/ 102 h 957"/>
              <a:gd name="T8" fmla="*/ 209 w 306"/>
              <a:gd name="T9" fmla="*/ 49 h 957"/>
              <a:gd name="T10" fmla="*/ 191 w 306"/>
              <a:gd name="T11" fmla="*/ 6 h 957"/>
              <a:gd name="T12" fmla="*/ 138 w 306"/>
              <a:gd name="T13" fmla="*/ 8 h 957"/>
              <a:gd name="T14" fmla="*/ 116 w 306"/>
              <a:gd name="T15" fmla="*/ 41 h 957"/>
              <a:gd name="T16" fmla="*/ 101 w 306"/>
              <a:gd name="T17" fmla="*/ 79 h 957"/>
              <a:gd name="T18" fmla="*/ 93 w 306"/>
              <a:gd name="T19" fmla="*/ 113 h 957"/>
              <a:gd name="T20" fmla="*/ 95 w 306"/>
              <a:gd name="T21" fmla="*/ 118 h 957"/>
              <a:gd name="T22" fmla="*/ 97 w 306"/>
              <a:gd name="T23" fmla="*/ 124 h 957"/>
              <a:gd name="T24" fmla="*/ 87 w 306"/>
              <a:gd name="T25" fmla="*/ 154 h 957"/>
              <a:gd name="T26" fmla="*/ 55 w 306"/>
              <a:gd name="T27" fmla="*/ 189 h 957"/>
              <a:gd name="T28" fmla="*/ 53 w 306"/>
              <a:gd name="T29" fmla="*/ 427 h 957"/>
              <a:gd name="T30" fmla="*/ 53 w 306"/>
              <a:gd name="T31" fmla="*/ 488 h 957"/>
              <a:gd name="T32" fmla="*/ 5 w 306"/>
              <a:gd name="T33" fmla="*/ 501 h 957"/>
              <a:gd name="T34" fmla="*/ 8 w 306"/>
              <a:gd name="T35" fmla="*/ 684 h 957"/>
              <a:gd name="T36" fmla="*/ 87 w 306"/>
              <a:gd name="T37" fmla="*/ 838 h 957"/>
              <a:gd name="T38" fmla="*/ 76 w 306"/>
              <a:gd name="T39" fmla="*/ 939 h 957"/>
              <a:gd name="T40" fmla="*/ 94 w 306"/>
              <a:gd name="T41" fmla="*/ 956 h 957"/>
              <a:gd name="T42" fmla="*/ 102 w 306"/>
              <a:gd name="T43" fmla="*/ 870 h 957"/>
              <a:gd name="T44" fmla="*/ 130 w 306"/>
              <a:gd name="T45" fmla="*/ 707 h 957"/>
              <a:gd name="T46" fmla="*/ 183 w 306"/>
              <a:gd name="T47" fmla="*/ 639 h 957"/>
              <a:gd name="T48" fmla="*/ 192 w 306"/>
              <a:gd name="T49" fmla="*/ 741 h 957"/>
              <a:gd name="T50" fmla="*/ 202 w 306"/>
              <a:gd name="T51" fmla="*/ 885 h 957"/>
              <a:gd name="T52" fmla="*/ 211 w 306"/>
              <a:gd name="T53" fmla="*/ 910 h 957"/>
              <a:gd name="T54" fmla="*/ 222 w 306"/>
              <a:gd name="T55" fmla="*/ 941 h 957"/>
              <a:gd name="T56" fmla="*/ 258 w 306"/>
              <a:gd name="T57" fmla="*/ 947 h 957"/>
              <a:gd name="T58" fmla="*/ 227 w 306"/>
              <a:gd name="T59" fmla="*/ 873 h 957"/>
              <a:gd name="T60" fmla="*/ 227 w 306"/>
              <a:gd name="T61" fmla="*/ 657 h 957"/>
              <a:gd name="T62" fmla="*/ 245 w 306"/>
              <a:gd name="T63" fmla="*/ 630 h 957"/>
              <a:gd name="T64" fmla="*/ 258 w 306"/>
              <a:gd name="T65" fmla="*/ 441 h 957"/>
              <a:gd name="T66" fmla="*/ 281 w 306"/>
              <a:gd name="T67" fmla="*/ 481 h 957"/>
              <a:gd name="T68" fmla="*/ 286 w 306"/>
              <a:gd name="T69" fmla="*/ 492 h 957"/>
              <a:gd name="T70" fmla="*/ 295 w 306"/>
              <a:gd name="T71" fmla="*/ 495 h 957"/>
              <a:gd name="T72" fmla="*/ 305 w 306"/>
              <a:gd name="T73" fmla="*/ 497 h 957"/>
              <a:gd name="T74" fmla="*/ 63 w 306"/>
              <a:gd name="T75" fmla="*/ 500 h 957"/>
              <a:gd name="T76" fmla="*/ 74 w 306"/>
              <a:gd name="T77" fmla="*/ 495 h 957"/>
              <a:gd name="T78" fmla="*/ 81 w 306"/>
              <a:gd name="T79" fmla="*/ 479 h 957"/>
              <a:gd name="T80" fmla="*/ 79 w 306"/>
              <a:gd name="T81" fmla="*/ 455 h 957"/>
              <a:gd name="T82" fmla="*/ 87 w 306"/>
              <a:gd name="T83" fmla="*/ 442 h 957"/>
              <a:gd name="T84" fmla="*/ 99 w 306"/>
              <a:gd name="T85" fmla="*/ 126 h 957"/>
              <a:gd name="T86" fmla="*/ 213 w 306"/>
              <a:gd name="T87" fmla="*/ 188 h 957"/>
              <a:gd name="T88" fmla="*/ 187 w 306"/>
              <a:gd name="T89" fmla="*/ 251 h 957"/>
              <a:gd name="T90" fmla="*/ 189 w 306"/>
              <a:gd name="T91" fmla="*/ 382 h 957"/>
              <a:gd name="T92" fmla="*/ 172 w 306"/>
              <a:gd name="T93" fmla="*/ 391 h 957"/>
              <a:gd name="T94" fmla="*/ 146 w 306"/>
              <a:gd name="T95" fmla="*/ 374 h 957"/>
              <a:gd name="T96" fmla="*/ 151 w 306"/>
              <a:gd name="T97" fmla="*/ 232 h 957"/>
              <a:gd name="T98" fmla="*/ 133 w 306"/>
              <a:gd name="T99" fmla="*/ 184 h 957"/>
              <a:gd name="T100" fmla="*/ 122 w 306"/>
              <a:gd name="T101" fmla="*/ 159 h 957"/>
              <a:gd name="T102" fmla="*/ 131 w 306"/>
              <a:gd name="T103" fmla="*/ 151 h 957"/>
              <a:gd name="T104" fmla="*/ 167 w 306"/>
              <a:gd name="T105" fmla="*/ 195 h 957"/>
              <a:gd name="T106" fmla="*/ 190 w 306"/>
              <a:gd name="T107" fmla="*/ 158 h 957"/>
              <a:gd name="T108" fmla="*/ 218 w 306"/>
              <a:gd name="T109" fmla="*/ 87 h 957"/>
              <a:gd name="T110" fmla="*/ 225 w 306"/>
              <a:gd name="T111" fmla="*/ 104 h 957"/>
              <a:gd name="T112" fmla="*/ 226 w 306"/>
              <a:gd name="T113" fmla="*/ 119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6" h="957">
                <a:moveTo>
                  <a:pt x="304" y="482"/>
                </a:moveTo>
                <a:cubicBezTo>
                  <a:pt x="302" y="477"/>
                  <a:pt x="302" y="477"/>
                  <a:pt x="302" y="477"/>
                </a:cubicBezTo>
                <a:cubicBezTo>
                  <a:pt x="293" y="461"/>
                  <a:pt x="293" y="461"/>
                  <a:pt x="293" y="461"/>
                </a:cubicBezTo>
                <a:cubicBezTo>
                  <a:pt x="288" y="453"/>
                  <a:pt x="288" y="453"/>
                  <a:pt x="288" y="453"/>
                </a:cubicBezTo>
                <a:cubicBezTo>
                  <a:pt x="286" y="446"/>
                  <a:pt x="286" y="446"/>
                  <a:pt x="286" y="446"/>
                </a:cubicBezTo>
                <a:cubicBezTo>
                  <a:pt x="275" y="355"/>
                  <a:pt x="275" y="355"/>
                  <a:pt x="275" y="355"/>
                </a:cubicBezTo>
                <a:cubicBezTo>
                  <a:pt x="270" y="314"/>
                  <a:pt x="270" y="314"/>
                  <a:pt x="270" y="314"/>
                </a:cubicBezTo>
                <a:cubicBezTo>
                  <a:pt x="266" y="271"/>
                  <a:pt x="266" y="271"/>
                  <a:pt x="266" y="271"/>
                </a:cubicBezTo>
                <a:cubicBezTo>
                  <a:pt x="262" y="232"/>
                  <a:pt x="262" y="232"/>
                  <a:pt x="262" y="232"/>
                </a:cubicBezTo>
                <a:cubicBezTo>
                  <a:pt x="258" y="204"/>
                  <a:pt x="258" y="204"/>
                  <a:pt x="258" y="204"/>
                </a:cubicBezTo>
                <a:cubicBezTo>
                  <a:pt x="255" y="189"/>
                  <a:pt x="255" y="189"/>
                  <a:pt x="255" y="189"/>
                </a:cubicBezTo>
                <a:cubicBezTo>
                  <a:pt x="254" y="183"/>
                  <a:pt x="254" y="183"/>
                  <a:pt x="254" y="183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0" y="172"/>
                  <a:pt x="250" y="172"/>
                  <a:pt x="250" y="172"/>
                </a:cubicBezTo>
                <a:cubicBezTo>
                  <a:pt x="247" y="167"/>
                  <a:pt x="247" y="167"/>
                  <a:pt x="247" y="167"/>
                </a:cubicBezTo>
                <a:cubicBezTo>
                  <a:pt x="241" y="163"/>
                  <a:pt x="241" y="163"/>
                  <a:pt x="241" y="163"/>
                </a:cubicBezTo>
                <a:cubicBezTo>
                  <a:pt x="233" y="158"/>
                  <a:pt x="233" y="158"/>
                  <a:pt x="233" y="158"/>
                </a:cubicBezTo>
                <a:cubicBezTo>
                  <a:pt x="228" y="156"/>
                  <a:pt x="228" y="156"/>
                  <a:pt x="228" y="156"/>
                </a:cubicBezTo>
                <a:cubicBezTo>
                  <a:pt x="227" y="155"/>
                  <a:pt x="227" y="155"/>
                  <a:pt x="227" y="155"/>
                </a:cubicBezTo>
                <a:cubicBezTo>
                  <a:pt x="225" y="151"/>
                  <a:pt x="225" y="151"/>
                  <a:pt x="225" y="151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224" y="142"/>
                  <a:pt x="224" y="142"/>
                  <a:pt x="224" y="142"/>
                </a:cubicBezTo>
                <a:cubicBezTo>
                  <a:pt x="225" y="135"/>
                  <a:pt x="225" y="135"/>
                  <a:pt x="225" y="135"/>
                </a:cubicBezTo>
                <a:cubicBezTo>
                  <a:pt x="227" y="131"/>
                  <a:pt x="227" y="131"/>
                  <a:pt x="227" y="131"/>
                </a:cubicBezTo>
                <a:cubicBezTo>
                  <a:pt x="229" y="127"/>
                  <a:pt x="229" y="127"/>
                  <a:pt x="229" y="127"/>
                </a:cubicBezTo>
                <a:cubicBezTo>
                  <a:pt x="230" y="118"/>
                  <a:pt x="230" y="118"/>
                  <a:pt x="230" y="118"/>
                </a:cubicBezTo>
                <a:cubicBezTo>
                  <a:pt x="229" y="110"/>
                  <a:pt x="229" y="110"/>
                  <a:pt x="229" y="110"/>
                </a:cubicBezTo>
                <a:cubicBezTo>
                  <a:pt x="226" y="102"/>
                  <a:pt x="226" y="102"/>
                  <a:pt x="226" y="102"/>
                </a:cubicBezTo>
                <a:cubicBezTo>
                  <a:pt x="226" y="97"/>
                  <a:pt x="226" y="97"/>
                  <a:pt x="226" y="97"/>
                </a:cubicBezTo>
                <a:cubicBezTo>
                  <a:pt x="225" y="91"/>
                  <a:pt x="225" y="91"/>
                  <a:pt x="225" y="91"/>
                </a:cubicBezTo>
                <a:cubicBezTo>
                  <a:pt x="222" y="84"/>
                  <a:pt x="222" y="84"/>
                  <a:pt x="222" y="84"/>
                </a:cubicBezTo>
                <a:cubicBezTo>
                  <a:pt x="217" y="75"/>
                  <a:pt x="217" y="75"/>
                  <a:pt x="217" y="75"/>
                </a:cubicBezTo>
                <a:cubicBezTo>
                  <a:pt x="214" y="69"/>
                  <a:pt x="214" y="69"/>
                  <a:pt x="214" y="69"/>
                </a:cubicBezTo>
                <a:cubicBezTo>
                  <a:pt x="212" y="63"/>
                  <a:pt x="212" y="63"/>
                  <a:pt x="212" y="63"/>
                </a:cubicBezTo>
                <a:cubicBezTo>
                  <a:pt x="209" y="49"/>
                  <a:pt x="209" y="49"/>
                  <a:pt x="209" y="49"/>
                </a:cubicBezTo>
                <a:cubicBezTo>
                  <a:pt x="208" y="34"/>
                  <a:pt x="208" y="34"/>
                  <a:pt x="208" y="34"/>
                </a:cubicBezTo>
                <a:cubicBezTo>
                  <a:pt x="207" y="29"/>
                  <a:pt x="207" y="29"/>
                  <a:pt x="207" y="29"/>
                </a:cubicBezTo>
                <a:cubicBezTo>
                  <a:pt x="206" y="25"/>
                  <a:pt x="206" y="25"/>
                  <a:pt x="206" y="25"/>
                </a:cubicBezTo>
                <a:cubicBezTo>
                  <a:pt x="202" y="18"/>
                  <a:pt x="202" y="18"/>
                  <a:pt x="202" y="18"/>
                </a:cubicBezTo>
                <a:cubicBezTo>
                  <a:pt x="199" y="13"/>
                  <a:pt x="199" y="13"/>
                  <a:pt x="199" y="13"/>
                </a:cubicBezTo>
                <a:cubicBezTo>
                  <a:pt x="195" y="9"/>
                  <a:pt x="195" y="9"/>
                  <a:pt x="195" y="9"/>
                </a:cubicBezTo>
                <a:cubicBezTo>
                  <a:pt x="191" y="6"/>
                  <a:pt x="191" y="6"/>
                  <a:pt x="191" y="6"/>
                </a:cubicBezTo>
                <a:cubicBezTo>
                  <a:pt x="185" y="3"/>
                  <a:pt x="185" y="3"/>
                  <a:pt x="185" y="3"/>
                </a:cubicBezTo>
                <a:cubicBezTo>
                  <a:pt x="179" y="1"/>
                  <a:pt x="179" y="1"/>
                  <a:pt x="179" y="1"/>
                </a:cubicBezTo>
                <a:cubicBezTo>
                  <a:pt x="172" y="0"/>
                  <a:pt x="172" y="0"/>
                  <a:pt x="172" y="0"/>
                </a:cubicBezTo>
                <a:cubicBezTo>
                  <a:pt x="165" y="0"/>
                  <a:pt x="165" y="0"/>
                  <a:pt x="165" y="0"/>
                </a:cubicBezTo>
                <a:cubicBezTo>
                  <a:pt x="156" y="1"/>
                  <a:pt x="156" y="1"/>
                  <a:pt x="156" y="1"/>
                </a:cubicBezTo>
                <a:cubicBezTo>
                  <a:pt x="147" y="4"/>
                  <a:pt x="147" y="4"/>
                  <a:pt x="147" y="4"/>
                </a:cubicBezTo>
                <a:cubicBezTo>
                  <a:pt x="138" y="8"/>
                  <a:pt x="138" y="8"/>
                  <a:pt x="138" y="8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0" y="14"/>
                  <a:pt x="130" y="14"/>
                  <a:pt x="130" y="14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5" y="49"/>
                  <a:pt x="115" y="49"/>
                  <a:pt x="115" y="49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06" y="72"/>
                  <a:pt x="106" y="72"/>
                  <a:pt x="106" y="72"/>
                </a:cubicBezTo>
                <a:cubicBezTo>
                  <a:pt x="103" y="76"/>
                  <a:pt x="103" y="76"/>
                  <a:pt x="103" y="76"/>
                </a:cubicBezTo>
                <a:cubicBezTo>
                  <a:pt x="100" y="79"/>
                  <a:pt x="100" y="79"/>
                  <a:pt x="100" y="79"/>
                </a:cubicBezTo>
                <a:cubicBezTo>
                  <a:pt x="101" y="79"/>
                  <a:pt x="101" y="79"/>
                  <a:pt x="101" y="79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8" y="73"/>
                  <a:pt x="108" y="73"/>
                  <a:pt x="108" y="73"/>
                </a:cubicBezTo>
                <a:cubicBezTo>
                  <a:pt x="112" y="65"/>
                  <a:pt x="112" y="65"/>
                  <a:pt x="112" y="65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00" y="92"/>
                  <a:pt x="100" y="92"/>
                  <a:pt x="100" y="92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93" y="113"/>
                  <a:pt x="93" y="113"/>
                  <a:pt x="93" y="113"/>
                </a:cubicBezTo>
                <a:cubicBezTo>
                  <a:pt x="92" y="118"/>
                  <a:pt x="92" y="118"/>
                  <a:pt x="92" y="118"/>
                </a:cubicBezTo>
                <a:cubicBezTo>
                  <a:pt x="92" y="124"/>
                  <a:pt x="92" y="124"/>
                  <a:pt x="92" y="124"/>
                </a:cubicBezTo>
                <a:cubicBezTo>
                  <a:pt x="93" y="131"/>
                  <a:pt x="93" y="131"/>
                  <a:pt x="93" y="131"/>
                </a:cubicBezTo>
                <a:cubicBezTo>
                  <a:pt x="95" y="137"/>
                  <a:pt x="95" y="137"/>
                  <a:pt x="95" y="137"/>
                </a:cubicBezTo>
                <a:cubicBezTo>
                  <a:pt x="95" y="133"/>
                  <a:pt x="95" y="133"/>
                  <a:pt x="95" y="133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95" y="118"/>
                  <a:pt x="95" y="118"/>
                  <a:pt x="95" y="118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99" y="104"/>
                  <a:pt x="99" y="104"/>
                  <a:pt x="99" y="104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101" y="103"/>
                  <a:pt x="101" y="103"/>
                  <a:pt x="101" y="103"/>
                </a:cubicBezTo>
                <a:cubicBezTo>
                  <a:pt x="100" y="109"/>
                  <a:pt x="100" y="109"/>
                  <a:pt x="100" y="109"/>
                </a:cubicBezTo>
                <a:cubicBezTo>
                  <a:pt x="98" y="116"/>
                  <a:pt x="98" y="116"/>
                  <a:pt x="98" y="116"/>
                </a:cubicBezTo>
                <a:cubicBezTo>
                  <a:pt x="97" y="124"/>
                  <a:pt x="97" y="124"/>
                  <a:pt x="97" y="124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1" y="147"/>
                  <a:pt x="101" y="147"/>
                  <a:pt x="101" y="147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5" y="153"/>
                  <a:pt x="95" y="153"/>
                  <a:pt x="95" y="153"/>
                </a:cubicBezTo>
                <a:cubicBezTo>
                  <a:pt x="87" y="154"/>
                  <a:pt x="87" y="154"/>
                  <a:pt x="87" y="154"/>
                </a:cubicBezTo>
                <a:cubicBezTo>
                  <a:pt x="80" y="156"/>
                  <a:pt x="80" y="156"/>
                  <a:pt x="80" y="156"/>
                </a:cubicBezTo>
                <a:cubicBezTo>
                  <a:pt x="73" y="159"/>
                  <a:pt x="73" y="159"/>
                  <a:pt x="73" y="159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63" y="168"/>
                  <a:pt x="63" y="168"/>
                  <a:pt x="63" y="168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57" y="182"/>
                  <a:pt x="57" y="182"/>
                  <a:pt x="57" y="182"/>
                </a:cubicBezTo>
                <a:cubicBezTo>
                  <a:pt x="55" y="189"/>
                  <a:pt x="55" y="189"/>
                  <a:pt x="55" y="189"/>
                </a:cubicBezTo>
                <a:cubicBezTo>
                  <a:pt x="55" y="197"/>
                  <a:pt x="55" y="197"/>
                  <a:pt x="55" y="197"/>
                </a:cubicBezTo>
                <a:cubicBezTo>
                  <a:pt x="51" y="301"/>
                  <a:pt x="51" y="301"/>
                  <a:pt x="51" y="301"/>
                </a:cubicBezTo>
                <a:cubicBezTo>
                  <a:pt x="50" y="366"/>
                  <a:pt x="50" y="366"/>
                  <a:pt x="50" y="366"/>
                </a:cubicBezTo>
                <a:cubicBezTo>
                  <a:pt x="50" y="389"/>
                  <a:pt x="50" y="389"/>
                  <a:pt x="50" y="389"/>
                </a:cubicBezTo>
                <a:cubicBezTo>
                  <a:pt x="50" y="403"/>
                  <a:pt x="50" y="403"/>
                  <a:pt x="50" y="403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53" y="427"/>
                  <a:pt x="53" y="427"/>
                  <a:pt x="53" y="427"/>
                </a:cubicBezTo>
                <a:cubicBezTo>
                  <a:pt x="54" y="444"/>
                  <a:pt x="54" y="444"/>
                  <a:pt x="54" y="444"/>
                </a:cubicBezTo>
                <a:cubicBezTo>
                  <a:pt x="53" y="465"/>
                  <a:pt x="53" y="465"/>
                  <a:pt x="53" y="465"/>
                </a:cubicBezTo>
                <a:cubicBezTo>
                  <a:pt x="53" y="475"/>
                  <a:pt x="53" y="475"/>
                  <a:pt x="53" y="475"/>
                </a:cubicBezTo>
                <a:cubicBezTo>
                  <a:pt x="53" y="479"/>
                  <a:pt x="53" y="479"/>
                  <a:pt x="53" y="479"/>
                </a:cubicBezTo>
                <a:cubicBezTo>
                  <a:pt x="55" y="481"/>
                  <a:pt x="55" y="481"/>
                  <a:pt x="55" y="481"/>
                </a:cubicBezTo>
                <a:cubicBezTo>
                  <a:pt x="56" y="482"/>
                  <a:pt x="56" y="482"/>
                  <a:pt x="56" y="482"/>
                </a:cubicBezTo>
                <a:cubicBezTo>
                  <a:pt x="53" y="488"/>
                  <a:pt x="53" y="488"/>
                  <a:pt x="53" y="488"/>
                </a:cubicBezTo>
                <a:cubicBezTo>
                  <a:pt x="52" y="495"/>
                  <a:pt x="52" y="495"/>
                  <a:pt x="52" y="495"/>
                </a:cubicBezTo>
                <a:cubicBezTo>
                  <a:pt x="27" y="494"/>
                  <a:pt x="27" y="494"/>
                  <a:pt x="27" y="494"/>
                </a:cubicBezTo>
                <a:cubicBezTo>
                  <a:pt x="21" y="494"/>
                  <a:pt x="21" y="494"/>
                  <a:pt x="21" y="494"/>
                </a:cubicBezTo>
                <a:cubicBezTo>
                  <a:pt x="14" y="496"/>
                  <a:pt x="14" y="496"/>
                  <a:pt x="14" y="496"/>
                </a:cubicBezTo>
                <a:cubicBezTo>
                  <a:pt x="8" y="498"/>
                  <a:pt x="8" y="498"/>
                  <a:pt x="8" y="498"/>
                </a:cubicBezTo>
                <a:cubicBezTo>
                  <a:pt x="6" y="500"/>
                  <a:pt x="6" y="500"/>
                  <a:pt x="6" y="500"/>
                </a:cubicBezTo>
                <a:cubicBezTo>
                  <a:pt x="5" y="501"/>
                  <a:pt x="5" y="501"/>
                  <a:pt x="5" y="501"/>
                </a:cubicBezTo>
                <a:cubicBezTo>
                  <a:pt x="2" y="585"/>
                  <a:pt x="2" y="585"/>
                  <a:pt x="2" y="585"/>
                </a:cubicBezTo>
                <a:cubicBezTo>
                  <a:pt x="0" y="643"/>
                  <a:pt x="0" y="643"/>
                  <a:pt x="0" y="643"/>
                </a:cubicBezTo>
                <a:cubicBezTo>
                  <a:pt x="0" y="673"/>
                  <a:pt x="0" y="673"/>
                  <a:pt x="0" y="673"/>
                </a:cubicBezTo>
                <a:cubicBezTo>
                  <a:pt x="1" y="678"/>
                  <a:pt x="1" y="678"/>
                  <a:pt x="1" y="678"/>
                </a:cubicBezTo>
                <a:cubicBezTo>
                  <a:pt x="3" y="681"/>
                  <a:pt x="3" y="681"/>
                  <a:pt x="3" y="681"/>
                </a:cubicBezTo>
                <a:cubicBezTo>
                  <a:pt x="6" y="682"/>
                  <a:pt x="6" y="682"/>
                  <a:pt x="6" y="682"/>
                </a:cubicBezTo>
                <a:cubicBezTo>
                  <a:pt x="8" y="684"/>
                  <a:pt x="8" y="684"/>
                  <a:pt x="8" y="684"/>
                </a:cubicBezTo>
                <a:cubicBezTo>
                  <a:pt x="38" y="692"/>
                  <a:pt x="38" y="692"/>
                  <a:pt x="38" y="692"/>
                </a:cubicBezTo>
                <a:cubicBezTo>
                  <a:pt x="90" y="706"/>
                  <a:pt x="90" y="706"/>
                  <a:pt x="90" y="706"/>
                </a:cubicBezTo>
                <a:cubicBezTo>
                  <a:pt x="88" y="722"/>
                  <a:pt x="88" y="722"/>
                  <a:pt x="88" y="722"/>
                </a:cubicBezTo>
                <a:cubicBezTo>
                  <a:pt x="87" y="740"/>
                  <a:pt x="87" y="740"/>
                  <a:pt x="87" y="740"/>
                </a:cubicBezTo>
                <a:cubicBezTo>
                  <a:pt x="88" y="794"/>
                  <a:pt x="88" y="794"/>
                  <a:pt x="88" y="794"/>
                </a:cubicBezTo>
                <a:cubicBezTo>
                  <a:pt x="87" y="821"/>
                  <a:pt x="87" y="821"/>
                  <a:pt x="87" y="821"/>
                </a:cubicBezTo>
                <a:cubicBezTo>
                  <a:pt x="87" y="838"/>
                  <a:pt x="87" y="838"/>
                  <a:pt x="87" y="838"/>
                </a:cubicBezTo>
                <a:cubicBezTo>
                  <a:pt x="82" y="872"/>
                  <a:pt x="82" y="872"/>
                  <a:pt x="82" y="872"/>
                </a:cubicBezTo>
                <a:cubicBezTo>
                  <a:pt x="80" y="892"/>
                  <a:pt x="80" y="892"/>
                  <a:pt x="80" y="892"/>
                </a:cubicBezTo>
                <a:cubicBezTo>
                  <a:pt x="76" y="907"/>
                  <a:pt x="76" y="907"/>
                  <a:pt x="76" y="907"/>
                </a:cubicBezTo>
                <a:cubicBezTo>
                  <a:pt x="75" y="914"/>
                  <a:pt x="75" y="914"/>
                  <a:pt x="75" y="914"/>
                </a:cubicBezTo>
                <a:cubicBezTo>
                  <a:pt x="75" y="922"/>
                  <a:pt x="75" y="922"/>
                  <a:pt x="75" y="922"/>
                </a:cubicBezTo>
                <a:cubicBezTo>
                  <a:pt x="75" y="930"/>
                  <a:pt x="75" y="930"/>
                  <a:pt x="75" y="930"/>
                </a:cubicBezTo>
                <a:cubicBezTo>
                  <a:pt x="76" y="939"/>
                  <a:pt x="76" y="939"/>
                  <a:pt x="76" y="939"/>
                </a:cubicBezTo>
                <a:cubicBezTo>
                  <a:pt x="78" y="946"/>
                  <a:pt x="78" y="946"/>
                  <a:pt x="78" y="946"/>
                </a:cubicBezTo>
                <a:cubicBezTo>
                  <a:pt x="81" y="952"/>
                  <a:pt x="81" y="952"/>
                  <a:pt x="81" y="952"/>
                </a:cubicBezTo>
                <a:cubicBezTo>
                  <a:pt x="83" y="954"/>
                  <a:pt x="83" y="954"/>
                  <a:pt x="83" y="954"/>
                </a:cubicBezTo>
                <a:cubicBezTo>
                  <a:pt x="86" y="956"/>
                  <a:pt x="86" y="956"/>
                  <a:pt x="86" y="956"/>
                </a:cubicBezTo>
                <a:cubicBezTo>
                  <a:pt x="89" y="957"/>
                  <a:pt x="89" y="957"/>
                  <a:pt x="89" y="957"/>
                </a:cubicBezTo>
                <a:cubicBezTo>
                  <a:pt x="92" y="957"/>
                  <a:pt x="92" y="957"/>
                  <a:pt x="92" y="957"/>
                </a:cubicBezTo>
                <a:cubicBezTo>
                  <a:pt x="94" y="956"/>
                  <a:pt x="94" y="956"/>
                  <a:pt x="94" y="956"/>
                </a:cubicBezTo>
                <a:cubicBezTo>
                  <a:pt x="97" y="954"/>
                  <a:pt x="97" y="954"/>
                  <a:pt x="97" y="954"/>
                </a:cubicBezTo>
                <a:cubicBezTo>
                  <a:pt x="99" y="951"/>
                  <a:pt x="99" y="951"/>
                  <a:pt x="99" y="951"/>
                </a:cubicBezTo>
                <a:cubicBezTo>
                  <a:pt x="100" y="947"/>
                  <a:pt x="100" y="947"/>
                  <a:pt x="100" y="947"/>
                </a:cubicBezTo>
                <a:cubicBezTo>
                  <a:pt x="102" y="939"/>
                  <a:pt x="102" y="939"/>
                  <a:pt x="102" y="939"/>
                </a:cubicBezTo>
                <a:cubicBezTo>
                  <a:pt x="103" y="930"/>
                  <a:pt x="103" y="930"/>
                  <a:pt x="103" y="930"/>
                </a:cubicBezTo>
                <a:cubicBezTo>
                  <a:pt x="102" y="895"/>
                  <a:pt x="102" y="895"/>
                  <a:pt x="102" y="895"/>
                </a:cubicBezTo>
                <a:cubicBezTo>
                  <a:pt x="102" y="870"/>
                  <a:pt x="102" y="870"/>
                  <a:pt x="102" y="870"/>
                </a:cubicBezTo>
                <a:cubicBezTo>
                  <a:pt x="103" y="857"/>
                  <a:pt x="103" y="857"/>
                  <a:pt x="103" y="857"/>
                </a:cubicBezTo>
                <a:cubicBezTo>
                  <a:pt x="105" y="845"/>
                  <a:pt x="105" y="845"/>
                  <a:pt x="105" y="845"/>
                </a:cubicBezTo>
                <a:cubicBezTo>
                  <a:pt x="119" y="775"/>
                  <a:pt x="119" y="775"/>
                  <a:pt x="119" y="775"/>
                </a:cubicBezTo>
                <a:cubicBezTo>
                  <a:pt x="126" y="739"/>
                  <a:pt x="126" y="739"/>
                  <a:pt x="126" y="739"/>
                </a:cubicBezTo>
                <a:cubicBezTo>
                  <a:pt x="129" y="725"/>
                  <a:pt x="129" y="725"/>
                  <a:pt x="129" y="725"/>
                </a:cubicBezTo>
                <a:cubicBezTo>
                  <a:pt x="129" y="717"/>
                  <a:pt x="129" y="717"/>
                  <a:pt x="129" y="717"/>
                </a:cubicBezTo>
                <a:cubicBezTo>
                  <a:pt x="130" y="707"/>
                  <a:pt x="130" y="707"/>
                  <a:pt x="130" y="707"/>
                </a:cubicBezTo>
                <a:cubicBezTo>
                  <a:pt x="133" y="694"/>
                  <a:pt x="133" y="694"/>
                  <a:pt x="133" y="694"/>
                </a:cubicBezTo>
                <a:cubicBezTo>
                  <a:pt x="139" y="670"/>
                  <a:pt x="139" y="670"/>
                  <a:pt x="139" y="670"/>
                </a:cubicBezTo>
                <a:cubicBezTo>
                  <a:pt x="145" y="642"/>
                  <a:pt x="145" y="642"/>
                  <a:pt x="145" y="642"/>
                </a:cubicBezTo>
                <a:cubicBezTo>
                  <a:pt x="166" y="642"/>
                  <a:pt x="166" y="642"/>
                  <a:pt x="166" y="642"/>
                </a:cubicBezTo>
                <a:cubicBezTo>
                  <a:pt x="177" y="641"/>
                  <a:pt x="177" y="641"/>
                  <a:pt x="177" y="641"/>
                </a:cubicBezTo>
                <a:cubicBezTo>
                  <a:pt x="181" y="641"/>
                  <a:pt x="181" y="641"/>
                  <a:pt x="181" y="641"/>
                </a:cubicBezTo>
                <a:cubicBezTo>
                  <a:pt x="183" y="639"/>
                  <a:pt x="183" y="639"/>
                  <a:pt x="183" y="639"/>
                </a:cubicBezTo>
                <a:cubicBezTo>
                  <a:pt x="183" y="640"/>
                  <a:pt x="183" y="640"/>
                  <a:pt x="183" y="640"/>
                </a:cubicBezTo>
                <a:cubicBezTo>
                  <a:pt x="183" y="642"/>
                  <a:pt x="183" y="642"/>
                  <a:pt x="183" y="642"/>
                </a:cubicBezTo>
                <a:cubicBezTo>
                  <a:pt x="184" y="650"/>
                  <a:pt x="184" y="650"/>
                  <a:pt x="184" y="650"/>
                </a:cubicBezTo>
                <a:cubicBezTo>
                  <a:pt x="184" y="667"/>
                  <a:pt x="184" y="667"/>
                  <a:pt x="184" y="667"/>
                </a:cubicBezTo>
                <a:cubicBezTo>
                  <a:pt x="185" y="691"/>
                  <a:pt x="185" y="691"/>
                  <a:pt x="185" y="691"/>
                </a:cubicBezTo>
                <a:cubicBezTo>
                  <a:pt x="188" y="717"/>
                  <a:pt x="188" y="717"/>
                  <a:pt x="188" y="717"/>
                </a:cubicBezTo>
                <a:cubicBezTo>
                  <a:pt x="192" y="741"/>
                  <a:pt x="192" y="741"/>
                  <a:pt x="192" y="741"/>
                </a:cubicBezTo>
                <a:cubicBezTo>
                  <a:pt x="195" y="759"/>
                  <a:pt x="195" y="759"/>
                  <a:pt x="195" y="759"/>
                </a:cubicBezTo>
                <a:cubicBezTo>
                  <a:pt x="199" y="780"/>
                  <a:pt x="199" y="780"/>
                  <a:pt x="199" y="780"/>
                </a:cubicBezTo>
                <a:cubicBezTo>
                  <a:pt x="202" y="810"/>
                  <a:pt x="202" y="810"/>
                  <a:pt x="202" y="810"/>
                </a:cubicBezTo>
                <a:cubicBezTo>
                  <a:pt x="205" y="839"/>
                  <a:pt x="205" y="839"/>
                  <a:pt x="205" y="839"/>
                </a:cubicBezTo>
                <a:cubicBezTo>
                  <a:pt x="205" y="861"/>
                  <a:pt x="205" y="861"/>
                  <a:pt x="205" y="861"/>
                </a:cubicBezTo>
                <a:cubicBezTo>
                  <a:pt x="204" y="875"/>
                  <a:pt x="204" y="875"/>
                  <a:pt x="204" y="875"/>
                </a:cubicBezTo>
                <a:cubicBezTo>
                  <a:pt x="202" y="885"/>
                  <a:pt x="202" y="885"/>
                  <a:pt x="202" y="885"/>
                </a:cubicBezTo>
                <a:cubicBezTo>
                  <a:pt x="201" y="892"/>
                  <a:pt x="201" y="892"/>
                  <a:pt x="201" y="892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911"/>
                  <a:pt x="201" y="911"/>
                  <a:pt x="201" y="911"/>
                </a:cubicBezTo>
                <a:cubicBezTo>
                  <a:pt x="204" y="911"/>
                  <a:pt x="204" y="911"/>
                  <a:pt x="204" y="911"/>
                </a:cubicBezTo>
                <a:cubicBezTo>
                  <a:pt x="205" y="906"/>
                  <a:pt x="206" y="904"/>
                  <a:pt x="206" y="903"/>
                </a:cubicBezTo>
                <a:cubicBezTo>
                  <a:pt x="211" y="910"/>
                  <a:pt x="211" y="910"/>
                  <a:pt x="211" y="910"/>
                </a:cubicBezTo>
                <a:cubicBezTo>
                  <a:pt x="214" y="918"/>
                  <a:pt x="214" y="918"/>
                  <a:pt x="214" y="918"/>
                </a:cubicBezTo>
                <a:cubicBezTo>
                  <a:pt x="215" y="922"/>
                  <a:pt x="215" y="922"/>
                  <a:pt x="215" y="922"/>
                </a:cubicBezTo>
                <a:cubicBezTo>
                  <a:pt x="215" y="925"/>
                  <a:pt x="215" y="925"/>
                  <a:pt x="215" y="925"/>
                </a:cubicBezTo>
                <a:cubicBezTo>
                  <a:pt x="216" y="929"/>
                  <a:pt x="216" y="929"/>
                  <a:pt x="216" y="929"/>
                </a:cubicBezTo>
                <a:cubicBezTo>
                  <a:pt x="217" y="933"/>
                  <a:pt x="217" y="933"/>
                  <a:pt x="217" y="933"/>
                </a:cubicBezTo>
                <a:cubicBezTo>
                  <a:pt x="219" y="937"/>
                  <a:pt x="219" y="937"/>
                  <a:pt x="219" y="937"/>
                </a:cubicBezTo>
                <a:cubicBezTo>
                  <a:pt x="222" y="941"/>
                  <a:pt x="222" y="941"/>
                  <a:pt x="222" y="941"/>
                </a:cubicBezTo>
                <a:cubicBezTo>
                  <a:pt x="227" y="945"/>
                  <a:pt x="227" y="945"/>
                  <a:pt x="227" y="945"/>
                </a:cubicBezTo>
                <a:cubicBezTo>
                  <a:pt x="233" y="947"/>
                  <a:pt x="233" y="947"/>
                  <a:pt x="233" y="947"/>
                </a:cubicBezTo>
                <a:cubicBezTo>
                  <a:pt x="241" y="949"/>
                  <a:pt x="241" y="949"/>
                  <a:pt x="241" y="949"/>
                </a:cubicBezTo>
                <a:cubicBezTo>
                  <a:pt x="252" y="950"/>
                  <a:pt x="252" y="950"/>
                  <a:pt x="252" y="950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7" y="948"/>
                  <a:pt x="257" y="948"/>
                  <a:pt x="257" y="948"/>
                </a:cubicBezTo>
                <a:cubicBezTo>
                  <a:pt x="258" y="947"/>
                  <a:pt x="258" y="947"/>
                  <a:pt x="258" y="947"/>
                </a:cubicBezTo>
                <a:cubicBezTo>
                  <a:pt x="257" y="943"/>
                  <a:pt x="257" y="943"/>
                  <a:pt x="257" y="943"/>
                </a:cubicBezTo>
                <a:cubicBezTo>
                  <a:pt x="256" y="938"/>
                  <a:pt x="256" y="938"/>
                  <a:pt x="256" y="938"/>
                </a:cubicBezTo>
                <a:cubicBezTo>
                  <a:pt x="249" y="927"/>
                  <a:pt x="249" y="927"/>
                  <a:pt x="249" y="927"/>
                </a:cubicBezTo>
                <a:cubicBezTo>
                  <a:pt x="242" y="915"/>
                  <a:pt x="242" y="915"/>
                  <a:pt x="242" y="915"/>
                </a:cubicBezTo>
                <a:cubicBezTo>
                  <a:pt x="235" y="902"/>
                  <a:pt x="235" y="902"/>
                  <a:pt x="235" y="902"/>
                </a:cubicBezTo>
                <a:cubicBezTo>
                  <a:pt x="230" y="887"/>
                  <a:pt x="230" y="887"/>
                  <a:pt x="230" y="887"/>
                </a:cubicBezTo>
                <a:cubicBezTo>
                  <a:pt x="227" y="873"/>
                  <a:pt x="227" y="873"/>
                  <a:pt x="227" y="873"/>
                </a:cubicBezTo>
                <a:cubicBezTo>
                  <a:pt x="226" y="861"/>
                  <a:pt x="226" y="861"/>
                  <a:pt x="226" y="861"/>
                </a:cubicBezTo>
                <a:cubicBezTo>
                  <a:pt x="229" y="795"/>
                  <a:pt x="229" y="795"/>
                  <a:pt x="229" y="795"/>
                </a:cubicBezTo>
                <a:cubicBezTo>
                  <a:pt x="231" y="748"/>
                  <a:pt x="231" y="748"/>
                  <a:pt x="231" y="748"/>
                </a:cubicBezTo>
                <a:cubicBezTo>
                  <a:pt x="231" y="726"/>
                  <a:pt x="231" y="726"/>
                  <a:pt x="231" y="726"/>
                </a:cubicBezTo>
                <a:cubicBezTo>
                  <a:pt x="231" y="709"/>
                  <a:pt x="231" y="709"/>
                  <a:pt x="231" y="709"/>
                </a:cubicBezTo>
                <a:cubicBezTo>
                  <a:pt x="229" y="681"/>
                  <a:pt x="229" y="681"/>
                  <a:pt x="229" y="681"/>
                </a:cubicBezTo>
                <a:cubicBezTo>
                  <a:pt x="227" y="657"/>
                  <a:pt x="227" y="657"/>
                  <a:pt x="227" y="657"/>
                </a:cubicBezTo>
                <a:cubicBezTo>
                  <a:pt x="227" y="641"/>
                  <a:pt x="227" y="641"/>
                  <a:pt x="227" y="641"/>
                </a:cubicBezTo>
                <a:cubicBezTo>
                  <a:pt x="227" y="636"/>
                  <a:pt x="227" y="636"/>
                  <a:pt x="227" y="636"/>
                </a:cubicBezTo>
                <a:cubicBezTo>
                  <a:pt x="228" y="634"/>
                  <a:pt x="228" y="634"/>
                  <a:pt x="228" y="634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1" y="633"/>
                  <a:pt x="241" y="633"/>
                  <a:pt x="241" y="633"/>
                </a:cubicBezTo>
                <a:cubicBezTo>
                  <a:pt x="244" y="632"/>
                  <a:pt x="244" y="632"/>
                  <a:pt x="244" y="632"/>
                </a:cubicBezTo>
                <a:cubicBezTo>
                  <a:pt x="245" y="630"/>
                  <a:pt x="245" y="630"/>
                  <a:pt x="245" y="630"/>
                </a:cubicBezTo>
                <a:cubicBezTo>
                  <a:pt x="246" y="627"/>
                  <a:pt x="246" y="627"/>
                  <a:pt x="246" y="627"/>
                </a:cubicBezTo>
                <a:cubicBezTo>
                  <a:pt x="248" y="530"/>
                  <a:pt x="248" y="530"/>
                  <a:pt x="248" y="530"/>
                </a:cubicBezTo>
                <a:cubicBezTo>
                  <a:pt x="249" y="461"/>
                  <a:pt x="249" y="461"/>
                  <a:pt x="249" y="461"/>
                </a:cubicBezTo>
                <a:cubicBezTo>
                  <a:pt x="249" y="434"/>
                  <a:pt x="249" y="434"/>
                  <a:pt x="249" y="434"/>
                </a:cubicBezTo>
                <a:cubicBezTo>
                  <a:pt x="248" y="418"/>
                  <a:pt x="248" y="418"/>
                  <a:pt x="248" y="418"/>
                </a:cubicBezTo>
                <a:cubicBezTo>
                  <a:pt x="252" y="428"/>
                  <a:pt x="252" y="428"/>
                  <a:pt x="252" y="428"/>
                </a:cubicBezTo>
                <a:cubicBezTo>
                  <a:pt x="258" y="441"/>
                  <a:pt x="258" y="441"/>
                  <a:pt x="258" y="441"/>
                </a:cubicBezTo>
                <a:cubicBezTo>
                  <a:pt x="266" y="458"/>
                  <a:pt x="266" y="458"/>
                  <a:pt x="266" y="458"/>
                </a:cubicBezTo>
                <a:cubicBezTo>
                  <a:pt x="271" y="467"/>
                  <a:pt x="271" y="467"/>
                  <a:pt x="271" y="467"/>
                </a:cubicBezTo>
                <a:cubicBezTo>
                  <a:pt x="275" y="474"/>
                  <a:pt x="275" y="474"/>
                  <a:pt x="275" y="474"/>
                </a:cubicBezTo>
                <a:cubicBezTo>
                  <a:pt x="279" y="477"/>
                  <a:pt x="279" y="477"/>
                  <a:pt x="279" y="477"/>
                </a:cubicBezTo>
                <a:cubicBezTo>
                  <a:pt x="281" y="479"/>
                  <a:pt x="281" y="479"/>
                  <a:pt x="281" y="479"/>
                </a:cubicBezTo>
                <a:cubicBezTo>
                  <a:pt x="282" y="480"/>
                  <a:pt x="282" y="480"/>
                  <a:pt x="282" y="480"/>
                </a:cubicBezTo>
                <a:cubicBezTo>
                  <a:pt x="281" y="481"/>
                  <a:pt x="281" y="481"/>
                  <a:pt x="281" y="481"/>
                </a:cubicBezTo>
                <a:cubicBezTo>
                  <a:pt x="279" y="483"/>
                  <a:pt x="279" y="483"/>
                  <a:pt x="279" y="483"/>
                </a:cubicBezTo>
                <a:cubicBezTo>
                  <a:pt x="276" y="486"/>
                  <a:pt x="276" y="486"/>
                  <a:pt x="276" y="486"/>
                </a:cubicBezTo>
                <a:cubicBezTo>
                  <a:pt x="276" y="488"/>
                  <a:pt x="276" y="488"/>
                  <a:pt x="276" y="488"/>
                </a:cubicBezTo>
                <a:cubicBezTo>
                  <a:pt x="280" y="488"/>
                  <a:pt x="280" y="488"/>
                  <a:pt x="280" y="488"/>
                </a:cubicBezTo>
                <a:cubicBezTo>
                  <a:pt x="283" y="488"/>
                  <a:pt x="283" y="488"/>
                  <a:pt x="283" y="488"/>
                </a:cubicBezTo>
                <a:cubicBezTo>
                  <a:pt x="285" y="490"/>
                  <a:pt x="285" y="490"/>
                  <a:pt x="285" y="490"/>
                </a:cubicBezTo>
                <a:cubicBezTo>
                  <a:pt x="286" y="492"/>
                  <a:pt x="286" y="492"/>
                  <a:pt x="286" y="492"/>
                </a:cubicBezTo>
                <a:cubicBezTo>
                  <a:pt x="284" y="495"/>
                  <a:pt x="284" y="495"/>
                  <a:pt x="284" y="495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3" y="498"/>
                  <a:pt x="283" y="498"/>
                  <a:pt x="283" y="498"/>
                </a:cubicBezTo>
                <a:cubicBezTo>
                  <a:pt x="285" y="499"/>
                  <a:pt x="285" y="499"/>
                  <a:pt x="285" y="499"/>
                </a:cubicBezTo>
                <a:cubicBezTo>
                  <a:pt x="288" y="499"/>
                  <a:pt x="288" y="499"/>
                  <a:pt x="288" y="499"/>
                </a:cubicBezTo>
                <a:cubicBezTo>
                  <a:pt x="295" y="495"/>
                  <a:pt x="295" y="495"/>
                  <a:pt x="295" y="495"/>
                </a:cubicBezTo>
                <a:cubicBezTo>
                  <a:pt x="298" y="494"/>
                  <a:pt x="298" y="494"/>
                  <a:pt x="298" y="494"/>
                </a:cubicBezTo>
                <a:cubicBezTo>
                  <a:pt x="299" y="495"/>
                  <a:pt x="299" y="495"/>
                  <a:pt x="299" y="495"/>
                </a:cubicBezTo>
                <a:cubicBezTo>
                  <a:pt x="299" y="496"/>
                  <a:pt x="299" y="496"/>
                  <a:pt x="299" y="496"/>
                </a:cubicBezTo>
                <a:cubicBezTo>
                  <a:pt x="299" y="499"/>
                  <a:pt x="299" y="499"/>
                  <a:pt x="299" y="499"/>
                </a:cubicBezTo>
                <a:cubicBezTo>
                  <a:pt x="301" y="501"/>
                  <a:pt x="301" y="501"/>
                  <a:pt x="301" y="501"/>
                </a:cubicBezTo>
                <a:cubicBezTo>
                  <a:pt x="303" y="501"/>
                  <a:pt x="303" y="501"/>
                  <a:pt x="303" y="501"/>
                </a:cubicBezTo>
                <a:cubicBezTo>
                  <a:pt x="305" y="497"/>
                  <a:pt x="305" y="497"/>
                  <a:pt x="305" y="497"/>
                </a:cubicBezTo>
                <a:cubicBezTo>
                  <a:pt x="306" y="492"/>
                  <a:pt x="306" y="492"/>
                  <a:pt x="306" y="492"/>
                </a:cubicBezTo>
                <a:cubicBezTo>
                  <a:pt x="306" y="487"/>
                  <a:pt x="306" y="487"/>
                  <a:pt x="306" y="487"/>
                </a:cubicBezTo>
                <a:lnTo>
                  <a:pt x="304" y="482"/>
                </a:lnTo>
                <a:close/>
                <a:moveTo>
                  <a:pt x="68" y="502"/>
                </a:moveTo>
                <a:cubicBezTo>
                  <a:pt x="66" y="503"/>
                  <a:pt x="66" y="503"/>
                  <a:pt x="66" y="503"/>
                </a:cubicBezTo>
                <a:cubicBezTo>
                  <a:pt x="64" y="502"/>
                  <a:pt x="64" y="502"/>
                  <a:pt x="64" y="502"/>
                </a:cubicBezTo>
                <a:cubicBezTo>
                  <a:pt x="63" y="500"/>
                  <a:pt x="63" y="500"/>
                  <a:pt x="63" y="500"/>
                </a:cubicBezTo>
                <a:cubicBezTo>
                  <a:pt x="63" y="491"/>
                  <a:pt x="63" y="491"/>
                  <a:pt x="63" y="491"/>
                </a:cubicBezTo>
                <a:cubicBezTo>
                  <a:pt x="71" y="501"/>
                  <a:pt x="71" y="501"/>
                  <a:pt x="71" y="501"/>
                </a:cubicBezTo>
                <a:lnTo>
                  <a:pt x="68" y="502"/>
                </a:lnTo>
                <a:close/>
                <a:moveTo>
                  <a:pt x="76" y="497"/>
                </a:moveTo>
                <a:cubicBezTo>
                  <a:pt x="75" y="500"/>
                  <a:pt x="75" y="500"/>
                  <a:pt x="75" y="500"/>
                </a:cubicBezTo>
                <a:cubicBezTo>
                  <a:pt x="73" y="500"/>
                  <a:pt x="73" y="500"/>
                  <a:pt x="73" y="500"/>
                </a:cubicBezTo>
                <a:cubicBezTo>
                  <a:pt x="74" y="495"/>
                  <a:pt x="74" y="495"/>
                  <a:pt x="74" y="495"/>
                </a:cubicBezTo>
                <a:cubicBezTo>
                  <a:pt x="75" y="490"/>
                  <a:pt x="75" y="490"/>
                  <a:pt x="75" y="490"/>
                </a:cubicBezTo>
                <a:cubicBezTo>
                  <a:pt x="76" y="494"/>
                  <a:pt x="76" y="494"/>
                  <a:pt x="76" y="494"/>
                </a:cubicBezTo>
                <a:lnTo>
                  <a:pt x="76" y="497"/>
                </a:lnTo>
                <a:close/>
                <a:moveTo>
                  <a:pt x="87" y="471"/>
                </a:moveTo>
                <a:cubicBezTo>
                  <a:pt x="86" y="486"/>
                  <a:pt x="86" y="486"/>
                  <a:pt x="86" y="486"/>
                </a:cubicBezTo>
                <a:cubicBezTo>
                  <a:pt x="84" y="482"/>
                  <a:pt x="84" y="482"/>
                  <a:pt x="84" y="482"/>
                </a:cubicBezTo>
                <a:cubicBezTo>
                  <a:pt x="81" y="479"/>
                  <a:pt x="81" y="479"/>
                  <a:pt x="81" y="479"/>
                </a:cubicBezTo>
                <a:cubicBezTo>
                  <a:pt x="79" y="478"/>
                  <a:pt x="79" y="478"/>
                  <a:pt x="79" y="478"/>
                </a:cubicBezTo>
                <a:cubicBezTo>
                  <a:pt x="76" y="472"/>
                  <a:pt x="76" y="472"/>
                  <a:pt x="76" y="472"/>
                </a:cubicBezTo>
                <a:cubicBezTo>
                  <a:pt x="75" y="470"/>
                  <a:pt x="75" y="470"/>
                  <a:pt x="75" y="470"/>
                </a:cubicBezTo>
                <a:cubicBezTo>
                  <a:pt x="75" y="468"/>
                  <a:pt x="75" y="468"/>
                  <a:pt x="75" y="468"/>
                </a:cubicBezTo>
                <a:cubicBezTo>
                  <a:pt x="76" y="463"/>
                  <a:pt x="76" y="463"/>
                  <a:pt x="76" y="463"/>
                </a:cubicBezTo>
                <a:cubicBezTo>
                  <a:pt x="79" y="458"/>
                  <a:pt x="79" y="458"/>
                  <a:pt x="79" y="458"/>
                </a:cubicBezTo>
                <a:cubicBezTo>
                  <a:pt x="79" y="455"/>
                  <a:pt x="79" y="455"/>
                  <a:pt x="79" y="455"/>
                </a:cubicBezTo>
                <a:cubicBezTo>
                  <a:pt x="80" y="451"/>
                  <a:pt x="80" y="451"/>
                  <a:pt x="80" y="451"/>
                </a:cubicBezTo>
                <a:cubicBezTo>
                  <a:pt x="81" y="406"/>
                  <a:pt x="81" y="406"/>
                  <a:pt x="81" y="406"/>
                </a:cubicBezTo>
                <a:cubicBezTo>
                  <a:pt x="82" y="384"/>
                  <a:pt x="82" y="384"/>
                  <a:pt x="82" y="384"/>
                </a:cubicBezTo>
                <a:cubicBezTo>
                  <a:pt x="83" y="379"/>
                  <a:pt x="83" y="379"/>
                  <a:pt x="83" y="379"/>
                </a:cubicBezTo>
                <a:cubicBezTo>
                  <a:pt x="83" y="380"/>
                  <a:pt x="83" y="380"/>
                  <a:pt x="83" y="380"/>
                </a:cubicBezTo>
                <a:cubicBezTo>
                  <a:pt x="86" y="412"/>
                  <a:pt x="86" y="412"/>
                  <a:pt x="86" y="412"/>
                </a:cubicBezTo>
                <a:cubicBezTo>
                  <a:pt x="87" y="442"/>
                  <a:pt x="87" y="442"/>
                  <a:pt x="87" y="442"/>
                </a:cubicBezTo>
                <a:cubicBezTo>
                  <a:pt x="88" y="458"/>
                  <a:pt x="88" y="458"/>
                  <a:pt x="88" y="458"/>
                </a:cubicBezTo>
                <a:lnTo>
                  <a:pt x="87" y="471"/>
                </a:lnTo>
                <a:close/>
                <a:moveTo>
                  <a:pt x="100" y="138"/>
                </a:moveTo>
                <a:cubicBezTo>
                  <a:pt x="99" y="132"/>
                  <a:pt x="99" y="132"/>
                  <a:pt x="99" y="132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43"/>
                  <a:pt x="101" y="143"/>
                  <a:pt x="101" y="143"/>
                </a:cubicBezTo>
                <a:lnTo>
                  <a:pt x="100" y="138"/>
                </a:lnTo>
                <a:close/>
                <a:moveTo>
                  <a:pt x="218" y="174"/>
                </a:moveTo>
                <a:cubicBezTo>
                  <a:pt x="217" y="184"/>
                  <a:pt x="217" y="184"/>
                  <a:pt x="217" y="184"/>
                </a:cubicBezTo>
                <a:cubicBezTo>
                  <a:pt x="216" y="192"/>
                  <a:pt x="216" y="192"/>
                  <a:pt x="216" y="192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99" y="192"/>
                  <a:pt x="199" y="192"/>
                  <a:pt x="199" y="192"/>
                </a:cubicBezTo>
                <a:cubicBezTo>
                  <a:pt x="197" y="205"/>
                  <a:pt x="197" y="205"/>
                  <a:pt x="197" y="205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190" y="233"/>
                  <a:pt x="190" y="233"/>
                  <a:pt x="190" y="233"/>
                </a:cubicBezTo>
                <a:cubicBezTo>
                  <a:pt x="187" y="251"/>
                  <a:pt x="187" y="251"/>
                  <a:pt x="187" y="251"/>
                </a:cubicBezTo>
                <a:cubicBezTo>
                  <a:pt x="183" y="287"/>
                  <a:pt x="183" y="287"/>
                  <a:pt x="183" y="287"/>
                </a:cubicBezTo>
                <a:cubicBezTo>
                  <a:pt x="182" y="305"/>
                  <a:pt x="182" y="305"/>
                  <a:pt x="182" y="305"/>
                </a:cubicBezTo>
                <a:cubicBezTo>
                  <a:pt x="183" y="322"/>
                  <a:pt x="183" y="322"/>
                  <a:pt x="183" y="322"/>
                </a:cubicBezTo>
                <a:cubicBezTo>
                  <a:pt x="186" y="356"/>
                  <a:pt x="186" y="356"/>
                  <a:pt x="186" y="356"/>
                </a:cubicBezTo>
                <a:cubicBezTo>
                  <a:pt x="187" y="369"/>
                  <a:pt x="187" y="369"/>
                  <a:pt x="187" y="369"/>
                </a:cubicBezTo>
                <a:cubicBezTo>
                  <a:pt x="188" y="375"/>
                  <a:pt x="188" y="375"/>
                  <a:pt x="188" y="375"/>
                </a:cubicBezTo>
                <a:cubicBezTo>
                  <a:pt x="189" y="382"/>
                  <a:pt x="189" y="382"/>
                  <a:pt x="189" y="382"/>
                </a:cubicBezTo>
                <a:cubicBezTo>
                  <a:pt x="192" y="389"/>
                  <a:pt x="192" y="389"/>
                  <a:pt x="192" y="389"/>
                </a:cubicBezTo>
                <a:cubicBezTo>
                  <a:pt x="193" y="392"/>
                  <a:pt x="193" y="392"/>
                  <a:pt x="193" y="392"/>
                </a:cubicBezTo>
                <a:cubicBezTo>
                  <a:pt x="194" y="396"/>
                  <a:pt x="194" y="396"/>
                  <a:pt x="194" y="396"/>
                </a:cubicBezTo>
                <a:cubicBezTo>
                  <a:pt x="190" y="396"/>
                  <a:pt x="190" y="396"/>
                  <a:pt x="190" y="396"/>
                </a:cubicBezTo>
                <a:cubicBezTo>
                  <a:pt x="186" y="395"/>
                  <a:pt x="186" y="395"/>
                  <a:pt x="186" y="395"/>
                </a:cubicBezTo>
                <a:cubicBezTo>
                  <a:pt x="179" y="393"/>
                  <a:pt x="179" y="393"/>
                  <a:pt x="179" y="393"/>
                </a:cubicBezTo>
                <a:cubicBezTo>
                  <a:pt x="172" y="391"/>
                  <a:pt x="172" y="391"/>
                  <a:pt x="172" y="391"/>
                </a:cubicBezTo>
                <a:cubicBezTo>
                  <a:pt x="165" y="389"/>
                  <a:pt x="165" y="389"/>
                  <a:pt x="165" y="389"/>
                </a:cubicBezTo>
                <a:cubicBezTo>
                  <a:pt x="159" y="389"/>
                  <a:pt x="159" y="389"/>
                  <a:pt x="159" y="389"/>
                </a:cubicBezTo>
                <a:cubicBezTo>
                  <a:pt x="153" y="390"/>
                  <a:pt x="153" y="390"/>
                  <a:pt x="153" y="390"/>
                </a:cubicBezTo>
                <a:cubicBezTo>
                  <a:pt x="140" y="393"/>
                  <a:pt x="140" y="393"/>
                  <a:pt x="140" y="393"/>
                </a:cubicBezTo>
                <a:cubicBezTo>
                  <a:pt x="141" y="389"/>
                  <a:pt x="141" y="389"/>
                  <a:pt x="141" y="389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6" y="374"/>
                  <a:pt x="146" y="374"/>
                  <a:pt x="146" y="374"/>
                </a:cubicBezTo>
                <a:cubicBezTo>
                  <a:pt x="150" y="358"/>
                  <a:pt x="150" y="358"/>
                  <a:pt x="150" y="358"/>
                </a:cubicBezTo>
                <a:cubicBezTo>
                  <a:pt x="152" y="342"/>
                  <a:pt x="152" y="342"/>
                  <a:pt x="152" y="342"/>
                </a:cubicBezTo>
                <a:cubicBezTo>
                  <a:pt x="153" y="324"/>
                  <a:pt x="153" y="324"/>
                  <a:pt x="153" y="324"/>
                </a:cubicBezTo>
                <a:cubicBezTo>
                  <a:pt x="153" y="305"/>
                  <a:pt x="153" y="305"/>
                  <a:pt x="153" y="305"/>
                </a:cubicBezTo>
                <a:cubicBezTo>
                  <a:pt x="152" y="268"/>
                  <a:pt x="152" y="268"/>
                  <a:pt x="152" y="268"/>
                </a:cubicBezTo>
                <a:cubicBezTo>
                  <a:pt x="152" y="250"/>
                  <a:pt x="152" y="250"/>
                  <a:pt x="152" y="250"/>
                </a:cubicBezTo>
                <a:cubicBezTo>
                  <a:pt x="151" y="232"/>
                  <a:pt x="151" y="232"/>
                  <a:pt x="151" y="232"/>
                </a:cubicBezTo>
                <a:cubicBezTo>
                  <a:pt x="149" y="216"/>
                  <a:pt x="149" y="216"/>
                  <a:pt x="149" y="216"/>
                </a:cubicBezTo>
                <a:cubicBezTo>
                  <a:pt x="147" y="207"/>
                  <a:pt x="147" y="207"/>
                  <a:pt x="147" y="207"/>
                </a:cubicBezTo>
                <a:cubicBezTo>
                  <a:pt x="144" y="198"/>
                  <a:pt x="144" y="198"/>
                  <a:pt x="144" y="198"/>
                </a:cubicBezTo>
                <a:cubicBezTo>
                  <a:pt x="140" y="190"/>
                  <a:pt x="140" y="190"/>
                  <a:pt x="140" y="190"/>
                </a:cubicBezTo>
                <a:cubicBezTo>
                  <a:pt x="138" y="186"/>
                  <a:pt x="138" y="186"/>
                  <a:pt x="138" y="186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31" y="185"/>
                  <a:pt x="131" y="185"/>
                  <a:pt x="131" y="185"/>
                </a:cubicBezTo>
                <a:cubicBezTo>
                  <a:pt x="128" y="189"/>
                  <a:pt x="128" y="189"/>
                  <a:pt x="128" y="189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74"/>
                  <a:pt x="126" y="174"/>
                  <a:pt x="126" y="174"/>
                </a:cubicBezTo>
                <a:cubicBezTo>
                  <a:pt x="125" y="167"/>
                  <a:pt x="125" y="167"/>
                  <a:pt x="125" y="167"/>
                </a:cubicBezTo>
                <a:cubicBezTo>
                  <a:pt x="124" y="163"/>
                  <a:pt x="124" y="163"/>
                  <a:pt x="124" y="163"/>
                </a:cubicBezTo>
                <a:cubicBezTo>
                  <a:pt x="122" y="159"/>
                  <a:pt x="122" y="159"/>
                  <a:pt x="122" y="159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18" y="155"/>
                  <a:pt x="118" y="155"/>
                  <a:pt x="118" y="155"/>
                </a:cubicBezTo>
                <a:cubicBezTo>
                  <a:pt x="114" y="154"/>
                  <a:pt x="114" y="154"/>
                  <a:pt x="114" y="15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03" y="151"/>
                  <a:pt x="103" y="151"/>
                  <a:pt x="103" y="151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31" y="151"/>
                  <a:pt x="131" y="151"/>
                  <a:pt x="131" y="151"/>
                </a:cubicBezTo>
                <a:cubicBezTo>
                  <a:pt x="134" y="153"/>
                  <a:pt x="134" y="153"/>
                  <a:pt x="134" y="153"/>
                </a:cubicBezTo>
                <a:cubicBezTo>
                  <a:pt x="137" y="156"/>
                  <a:pt x="137" y="156"/>
                  <a:pt x="137" y="156"/>
                </a:cubicBezTo>
                <a:cubicBezTo>
                  <a:pt x="141" y="160"/>
                  <a:pt x="141" y="160"/>
                  <a:pt x="141" y="160"/>
                </a:cubicBezTo>
                <a:cubicBezTo>
                  <a:pt x="144" y="163"/>
                  <a:pt x="144" y="163"/>
                  <a:pt x="144" y="163"/>
                </a:cubicBezTo>
                <a:cubicBezTo>
                  <a:pt x="148" y="168"/>
                  <a:pt x="148" y="168"/>
                  <a:pt x="148" y="168"/>
                </a:cubicBezTo>
                <a:cubicBezTo>
                  <a:pt x="157" y="180"/>
                  <a:pt x="157" y="180"/>
                  <a:pt x="157" y="180"/>
                </a:cubicBezTo>
                <a:cubicBezTo>
                  <a:pt x="167" y="195"/>
                  <a:pt x="167" y="195"/>
                  <a:pt x="167" y="195"/>
                </a:cubicBezTo>
                <a:cubicBezTo>
                  <a:pt x="168" y="194"/>
                  <a:pt x="168" y="194"/>
                  <a:pt x="168" y="194"/>
                </a:cubicBezTo>
                <a:cubicBezTo>
                  <a:pt x="171" y="190"/>
                  <a:pt x="171" y="190"/>
                  <a:pt x="171" y="190"/>
                </a:cubicBezTo>
                <a:cubicBezTo>
                  <a:pt x="176" y="180"/>
                  <a:pt x="176" y="180"/>
                  <a:pt x="176" y="180"/>
                </a:cubicBezTo>
                <a:cubicBezTo>
                  <a:pt x="181" y="168"/>
                  <a:pt x="181" y="168"/>
                  <a:pt x="181" y="168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7" y="161"/>
                  <a:pt x="187" y="161"/>
                  <a:pt x="187" y="161"/>
                </a:cubicBezTo>
                <a:cubicBezTo>
                  <a:pt x="190" y="158"/>
                  <a:pt x="190" y="158"/>
                  <a:pt x="190" y="158"/>
                </a:cubicBezTo>
                <a:cubicBezTo>
                  <a:pt x="194" y="157"/>
                  <a:pt x="194" y="157"/>
                  <a:pt x="194" y="157"/>
                </a:cubicBezTo>
                <a:cubicBezTo>
                  <a:pt x="197" y="156"/>
                  <a:pt x="197" y="156"/>
                  <a:pt x="197" y="156"/>
                </a:cubicBezTo>
                <a:cubicBezTo>
                  <a:pt x="201" y="156"/>
                  <a:pt x="201" y="156"/>
                  <a:pt x="201" y="156"/>
                </a:cubicBezTo>
                <a:cubicBezTo>
                  <a:pt x="209" y="156"/>
                  <a:pt x="209" y="156"/>
                  <a:pt x="209" y="156"/>
                </a:cubicBezTo>
                <a:cubicBezTo>
                  <a:pt x="218" y="157"/>
                  <a:pt x="218" y="157"/>
                  <a:pt x="218" y="157"/>
                </a:cubicBezTo>
                <a:lnTo>
                  <a:pt x="218" y="174"/>
                </a:lnTo>
                <a:close/>
                <a:moveTo>
                  <a:pt x="218" y="87"/>
                </a:moveTo>
                <a:cubicBezTo>
                  <a:pt x="215" y="77"/>
                  <a:pt x="215" y="77"/>
                  <a:pt x="215" y="77"/>
                </a:cubicBezTo>
                <a:cubicBezTo>
                  <a:pt x="218" y="82"/>
                  <a:pt x="218" y="82"/>
                  <a:pt x="218" y="82"/>
                </a:cubicBezTo>
                <a:cubicBezTo>
                  <a:pt x="221" y="87"/>
                  <a:pt x="221" y="87"/>
                  <a:pt x="221" y="87"/>
                </a:cubicBezTo>
                <a:cubicBezTo>
                  <a:pt x="224" y="97"/>
                  <a:pt x="224" y="97"/>
                  <a:pt x="224" y="97"/>
                </a:cubicBezTo>
                <a:lnTo>
                  <a:pt x="218" y="87"/>
                </a:lnTo>
                <a:close/>
                <a:moveTo>
                  <a:pt x="222" y="98"/>
                </a:moveTo>
                <a:cubicBezTo>
                  <a:pt x="225" y="104"/>
                  <a:pt x="225" y="104"/>
                  <a:pt x="225" y="104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8" y="115"/>
                  <a:pt x="228" y="115"/>
                  <a:pt x="228" y="115"/>
                </a:cubicBezTo>
                <a:cubicBezTo>
                  <a:pt x="228" y="120"/>
                  <a:pt x="228" y="120"/>
                  <a:pt x="228" y="120"/>
                </a:cubicBezTo>
                <a:cubicBezTo>
                  <a:pt x="227" y="128"/>
                  <a:pt x="227" y="128"/>
                  <a:pt x="227" y="128"/>
                </a:cubicBezTo>
                <a:cubicBezTo>
                  <a:pt x="225" y="134"/>
                  <a:pt x="225" y="134"/>
                  <a:pt x="225" y="134"/>
                </a:cubicBezTo>
                <a:cubicBezTo>
                  <a:pt x="226" y="127"/>
                  <a:pt x="226" y="127"/>
                  <a:pt x="226" y="127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5" y="109"/>
                  <a:pt x="225" y="109"/>
                  <a:pt x="225" y="109"/>
                </a:cubicBezTo>
                <a:cubicBezTo>
                  <a:pt x="222" y="99"/>
                  <a:pt x="222" y="99"/>
                  <a:pt x="222" y="99"/>
                </a:cubicBezTo>
                <a:lnTo>
                  <a:pt x="222" y="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196" name="Gruppieren 60"/>
          <p:cNvGrpSpPr>
            <a:grpSpLocks noChangeAspect="1"/>
          </p:cNvGrpSpPr>
          <p:nvPr>
            <p:custDataLst>
              <p:tags r:id="rId24"/>
            </p:custDataLst>
          </p:nvPr>
        </p:nvGrpSpPr>
        <p:grpSpPr bwMode="gray">
          <a:xfrm flipH="1">
            <a:off x="5089427" y="1745429"/>
            <a:ext cx="201326" cy="549605"/>
            <a:chOff x="9969500" y="2562225"/>
            <a:chExt cx="277813" cy="625475"/>
          </a:xfrm>
        </p:grpSpPr>
        <p:sp>
          <p:nvSpPr>
            <p:cNvPr id="197" name="Freeform 37"/>
            <p:cNvSpPr>
              <a:spLocks noChangeAspect="1" noEditPoints="1"/>
            </p:cNvSpPr>
            <p:nvPr/>
          </p:nvSpPr>
          <p:spPr bwMode="gray">
            <a:xfrm>
              <a:off x="9969500" y="2562225"/>
              <a:ext cx="277813" cy="625475"/>
            </a:xfrm>
            <a:custGeom>
              <a:avLst/>
              <a:gdLst>
                <a:gd name="T0" fmla="*/ 23 w 74"/>
                <a:gd name="T1" fmla="*/ 88 h 167"/>
                <a:gd name="T2" fmla="*/ 21 w 74"/>
                <a:gd name="T3" fmla="*/ 84 h 167"/>
                <a:gd name="T4" fmla="*/ 12 w 74"/>
                <a:gd name="T5" fmla="*/ 85 h 167"/>
                <a:gd name="T6" fmla="*/ 14 w 74"/>
                <a:gd name="T7" fmla="*/ 71 h 167"/>
                <a:gd name="T8" fmla="*/ 4 w 74"/>
                <a:gd name="T9" fmla="*/ 45 h 167"/>
                <a:gd name="T10" fmla="*/ 12 w 74"/>
                <a:gd name="T11" fmla="*/ 35 h 167"/>
                <a:gd name="T12" fmla="*/ 16 w 74"/>
                <a:gd name="T13" fmla="*/ 27 h 167"/>
                <a:gd name="T14" fmla="*/ 32 w 74"/>
                <a:gd name="T15" fmla="*/ 23 h 167"/>
                <a:gd name="T16" fmla="*/ 30 w 74"/>
                <a:gd name="T17" fmla="*/ 14 h 167"/>
                <a:gd name="T18" fmla="*/ 39 w 74"/>
                <a:gd name="T19" fmla="*/ 1 h 167"/>
                <a:gd name="T20" fmla="*/ 48 w 74"/>
                <a:gd name="T21" fmla="*/ 13 h 167"/>
                <a:gd name="T22" fmla="*/ 46 w 74"/>
                <a:gd name="T23" fmla="*/ 19 h 167"/>
                <a:gd name="T24" fmla="*/ 45 w 74"/>
                <a:gd name="T25" fmla="*/ 25 h 167"/>
                <a:gd name="T26" fmla="*/ 60 w 74"/>
                <a:gd name="T27" fmla="*/ 31 h 167"/>
                <a:gd name="T28" fmla="*/ 67 w 74"/>
                <a:gd name="T29" fmla="*/ 38 h 167"/>
                <a:gd name="T30" fmla="*/ 72 w 74"/>
                <a:gd name="T31" fmla="*/ 50 h 167"/>
                <a:gd name="T32" fmla="*/ 60 w 74"/>
                <a:gd name="T33" fmla="*/ 67 h 167"/>
                <a:gd name="T34" fmla="*/ 55 w 74"/>
                <a:gd name="T35" fmla="*/ 88 h 167"/>
                <a:gd name="T36" fmla="*/ 53 w 74"/>
                <a:gd name="T37" fmla="*/ 122 h 167"/>
                <a:gd name="T38" fmla="*/ 50 w 74"/>
                <a:gd name="T39" fmla="*/ 138 h 167"/>
                <a:gd name="T40" fmla="*/ 48 w 74"/>
                <a:gd name="T41" fmla="*/ 144 h 167"/>
                <a:gd name="T42" fmla="*/ 56 w 74"/>
                <a:gd name="T43" fmla="*/ 155 h 167"/>
                <a:gd name="T44" fmla="*/ 44 w 74"/>
                <a:gd name="T45" fmla="*/ 151 h 167"/>
                <a:gd name="T46" fmla="*/ 39 w 74"/>
                <a:gd name="T47" fmla="*/ 148 h 167"/>
                <a:gd name="T48" fmla="*/ 39 w 74"/>
                <a:gd name="T49" fmla="*/ 139 h 167"/>
                <a:gd name="T50" fmla="*/ 40 w 74"/>
                <a:gd name="T51" fmla="*/ 125 h 167"/>
                <a:gd name="T52" fmla="*/ 40 w 74"/>
                <a:gd name="T53" fmla="*/ 120 h 167"/>
                <a:gd name="T54" fmla="*/ 40 w 74"/>
                <a:gd name="T55" fmla="*/ 116 h 167"/>
                <a:gd name="T56" fmla="*/ 40 w 74"/>
                <a:gd name="T57" fmla="*/ 105 h 167"/>
                <a:gd name="T58" fmla="*/ 39 w 74"/>
                <a:gd name="T59" fmla="*/ 97 h 167"/>
                <a:gd name="T60" fmla="*/ 36 w 74"/>
                <a:gd name="T61" fmla="*/ 104 h 167"/>
                <a:gd name="T62" fmla="*/ 33 w 74"/>
                <a:gd name="T63" fmla="*/ 117 h 167"/>
                <a:gd name="T64" fmla="*/ 27 w 74"/>
                <a:gd name="T65" fmla="*/ 146 h 167"/>
                <a:gd name="T66" fmla="*/ 26 w 74"/>
                <a:gd name="T67" fmla="*/ 152 h 167"/>
                <a:gd name="T68" fmla="*/ 22 w 74"/>
                <a:gd name="T69" fmla="*/ 167 h 167"/>
                <a:gd name="T70" fmla="*/ 17 w 74"/>
                <a:gd name="T71" fmla="*/ 154 h 167"/>
                <a:gd name="T72" fmla="*/ 18 w 74"/>
                <a:gd name="T73" fmla="*/ 141 h 167"/>
                <a:gd name="T74" fmla="*/ 20 w 74"/>
                <a:gd name="T75" fmla="*/ 122 h 167"/>
                <a:gd name="T76" fmla="*/ 23 w 74"/>
                <a:gd name="T77" fmla="*/ 113 h 167"/>
                <a:gd name="T78" fmla="*/ 23 w 74"/>
                <a:gd name="T79" fmla="*/ 106 h 167"/>
                <a:gd name="T80" fmla="*/ 18 w 74"/>
                <a:gd name="T81" fmla="*/ 42 h 167"/>
                <a:gd name="T82" fmla="*/ 13 w 74"/>
                <a:gd name="T83" fmla="*/ 53 h 167"/>
                <a:gd name="T84" fmla="*/ 16 w 74"/>
                <a:gd name="T85" fmla="*/ 59 h 167"/>
                <a:gd name="T86" fmla="*/ 18 w 74"/>
                <a:gd name="T87" fmla="*/ 42 h 167"/>
                <a:gd name="T88" fmla="*/ 59 w 74"/>
                <a:gd name="T89" fmla="*/ 53 h 167"/>
                <a:gd name="T90" fmla="*/ 63 w 74"/>
                <a:gd name="T91" fmla="*/ 48 h 167"/>
                <a:gd name="T92" fmla="*/ 59 w 74"/>
                <a:gd name="T93" fmla="*/ 45 h 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"/>
                <a:gd name="T142" fmla="*/ 0 h 167"/>
                <a:gd name="T143" fmla="*/ 74 w 74"/>
                <a:gd name="T144" fmla="*/ 167 h 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" h="167">
                  <a:moveTo>
                    <a:pt x="23" y="96"/>
                  </a:moveTo>
                  <a:cubicBezTo>
                    <a:pt x="23" y="95"/>
                    <a:pt x="23" y="94"/>
                    <a:pt x="23" y="93"/>
                  </a:cubicBezTo>
                  <a:cubicBezTo>
                    <a:pt x="23" y="92"/>
                    <a:pt x="23" y="89"/>
                    <a:pt x="23" y="88"/>
                  </a:cubicBezTo>
                  <a:cubicBezTo>
                    <a:pt x="24" y="88"/>
                    <a:pt x="23" y="88"/>
                    <a:pt x="23" y="88"/>
                  </a:cubicBezTo>
                  <a:cubicBezTo>
                    <a:pt x="23" y="87"/>
                    <a:pt x="23" y="86"/>
                    <a:pt x="23" y="85"/>
                  </a:cubicBezTo>
                  <a:cubicBezTo>
                    <a:pt x="23" y="85"/>
                    <a:pt x="22" y="84"/>
                    <a:pt x="21" y="84"/>
                  </a:cubicBezTo>
                  <a:cubicBezTo>
                    <a:pt x="21" y="84"/>
                    <a:pt x="21" y="86"/>
                    <a:pt x="19" y="87"/>
                  </a:cubicBezTo>
                  <a:cubicBezTo>
                    <a:pt x="17" y="88"/>
                    <a:pt x="15" y="86"/>
                    <a:pt x="13" y="86"/>
                  </a:cubicBezTo>
                  <a:cubicBezTo>
                    <a:pt x="12" y="85"/>
                    <a:pt x="13" y="85"/>
                    <a:pt x="12" y="85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1" y="84"/>
                    <a:pt x="12" y="82"/>
                    <a:pt x="13" y="80"/>
                  </a:cubicBezTo>
                  <a:cubicBezTo>
                    <a:pt x="13" y="79"/>
                    <a:pt x="14" y="72"/>
                    <a:pt x="14" y="71"/>
                  </a:cubicBezTo>
                  <a:cubicBezTo>
                    <a:pt x="14" y="71"/>
                    <a:pt x="11" y="67"/>
                    <a:pt x="10" y="65"/>
                  </a:cubicBezTo>
                  <a:cubicBezTo>
                    <a:pt x="8" y="64"/>
                    <a:pt x="3" y="56"/>
                    <a:pt x="1" y="53"/>
                  </a:cubicBezTo>
                  <a:cubicBezTo>
                    <a:pt x="0" y="51"/>
                    <a:pt x="2" y="48"/>
                    <a:pt x="4" y="45"/>
                  </a:cubicBezTo>
                  <a:cubicBezTo>
                    <a:pt x="6" y="42"/>
                    <a:pt x="8" y="40"/>
                    <a:pt x="9" y="40"/>
                  </a:cubicBezTo>
                  <a:cubicBezTo>
                    <a:pt x="10" y="39"/>
                    <a:pt x="11" y="37"/>
                    <a:pt x="11" y="37"/>
                  </a:cubicBezTo>
                  <a:cubicBezTo>
                    <a:pt x="11" y="36"/>
                    <a:pt x="12" y="36"/>
                    <a:pt x="12" y="35"/>
                  </a:cubicBezTo>
                  <a:cubicBezTo>
                    <a:pt x="13" y="35"/>
                    <a:pt x="13" y="34"/>
                    <a:pt x="14" y="33"/>
                  </a:cubicBezTo>
                  <a:cubicBezTo>
                    <a:pt x="14" y="33"/>
                    <a:pt x="14" y="32"/>
                    <a:pt x="15" y="31"/>
                  </a:cubicBezTo>
                  <a:cubicBezTo>
                    <a:pt x="15" y="31"/>
                    <a:pt x="15" y="29"/>
                    <a:pt x="16" y="27"/>
                  </a:cubicBezTo>
                  <a:cubicBezTo>
                    <a:pt x="16" y="26"/>
                    <a:pt x="20" y="25"/>
                    <a:pt x="22" y="25"/>
                  </a:cubicBezTo>
                  <a:cubicBezTo>
                    <a:pt x="24" y="25"/>
                    <a:pt x="27" y="24"/>
                    <a:pt x="29" y="25"/>
                  </a:cubicBezTo>
                  <a:cubicBezTo>
                    <a:pt x="30" y="25"/>
                    <a:pt x="30" y="24"/>
                    <a:pt x="32" y="23"/>
                  </a:cubicBezTo>
                  <a:cubicBezTo>
                    <a:pt x="34" y="21"/>
                    <a:pt x="33" y="19"/>
                    <a:pt x="33" y="18"/>
                  </a:cubicBezTo>
                  <a:cubicBezTo>
                    <a:pt x="33" y="18"/>
                    <a:pt x="33" y="18"/>
                    <a:pt x="32" y="18"/>
                  </a:cubicBezTo>
                  <a:cubicBezTo>
                    <a:pt x="31" y="17"/>
                    <a:pt x="31" y="15"/>
                    <a:pt x="30" y="14"/>
                  </a:cubicBezTo>
                  <a:cubicBezTo>
                    <a:pt x="30" y="13"/>
                    <a:pt x="30" y="12"/>
                    <a:pt x="31" y="12"/>
                  </a:cubicBezTo>
                  <a:cubicBezTo>
                    <a:pt x="31" y="12"/>
                    <a:pt x="30" y="8"/>
                    <a:pt x="31" y="5"/>
                  </a:cubicBezTo>
                  <a:cubicBezTo>
                    <a:pt x="32" y="2"/>
                    <a:pt x="37" y="1"/>
                    <a:pt x="39" y="1"/>
                  </a:cubicBezTo>
                  <a:cubicBezTo>
                    <a:pt x="42" y="0"/>
                    <a:pt x="45" y="3"/>
                    <a:pt x="47" y="5"/>
                  </a:cubicBezTo>
                  <a:cubicBezTo>
                    <a:pt x="48" y="7"/>
                    <a:pt x="48" y="11"/>
                    <a:pt x="47" y="12"/>
                  </a:cubicBezTo>
                  <a:cubicBezTo>
                    <a:pt x="47" y="13"/>
                    <a:pt x="47" y="13"/>
                    <a:pt x="48" y="13"/>
                  </a:cubicBezTo>
                  <a:cubicBezTo>
                    <a:pt x="48" y="13"/>
                    <a:pt x="48" y="14"/>
                    <a:pt x="47" y="16"/>
                  </a:cubicBezTo>
                  <a:cubicBezTo>
                    <a:pt x="47" y="18"/>
                    <a:pt x="47" y="18"/>
                    <a:pt x="46" y="18"/>
                  </a:cubicBezTo>
                  <a:cubicBezTo>
                    <a:pt x="46" y="18"/>
                    <a:pt x="46" y="18"/>
                    <a:pt x="46" y="19"/>
                  </a:cubicBezTo>
                  <a:cubicBezTo>
                    <a:pt x="46" y="20"/>
                    <a:pt x="45" y="22"/>
                    <a:pt x="44" y="23"/>
                  </a:cubicBezTo>
                  <a:cubicBezTo>
                    <a:pt x="44" y="23"/>
                    <a:pt x="44" y="24"/>
                    <a:pt x="44" y="24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6" y="24"/>
                    <a:pt x="52" y="24"/>
                    <a:pt x="55" y="24"/>
                  </a:cubicBezTo>
                  <a:cubicBezTo>
                    <a:pt x="57" y="24"/>
                    <a:pt x="57" y="26"/>
                    <a:pt x="58" y="27"/>
                  </a:cubicBezTo>
                  <a:cubicBezTo>
                    <a:pt x="59" y="28"/>
                    <a:pt x="60" y="30"/>
                    <a:pt x="60" y="31"/>
                  </a:cubicBezTo>
                  <a:cubicBezTo>
                    <a:pt x="61" y="31"/>
                    <a:pt x="61" y="32"/>
                    <a:pt x="62" y="33"/>
                  </a:cubicBezTo>
                  <a:cubicBezTo>
                    <a:pt x="62" y="33"/>
                    <a:pt x="64" y="35"/>
                    <a:pt x="64" y="36"/>
                  </a:cubicBezTo>
                  <a:cubicBezTo>
                    <a:pt x="65" y="36"/>
                    <a:pt x="66" y="38"/>
                    <a:pt x="67" y="38"/>
                  </a:cubicBezTo>
                  <a:cubicBezTo>
                    <a:pt x="67" y="38"/>
                    <a:pt x="68" y="40"/>
                    <a:pt x="69" y="41"/>
                  </a:cubicBezTo>
                  <a:cubicBezTo>
                    <a:pt x="70" y="41"/>
                    <a:pt x="72" y="43"/>
                    <a:pt x="73" y="45"/>
                  </a:cubicBezTo>
                  <a:cubicBezTo>
                    <a:pt x="74" y="47"/>
                    <a:pt x="73" y="49"/>
                    <a:pt x="72" y="50"/>
                  </a:cubicBezTo>
                  <a:cubicBezTo>
                    <a:pt x="71" y="51"/>
                    <a:pt x="69" y="55"/>
                    <a:pt x="68" y="57"/>
                  </a:cubicBezTo>
                  <a:cubicBezTo>
                    <a:pt x="67" y="58"/>
                    <a:pt x="63" y="62"/>
                    <a:pt x="63" y="63"/>
                  </a:cubicBezTo>
                  <a:cubicBezTo>
                    <a:pt x="62" y="63"/>
                    <a:pt x="60" y="67"/>
                    <a:pt x="60" y="67"/>
                  </a:cubicBezTo>
                  <a:cubicBezTo>
                    <a:pt x="59" y="67"/>
                    <a:pt x="61" y="77"/>
                    <a:pt x="62" y="79"/>
                  </a:cubicBezTo>
                  <a:cubicBezTo>
                    <a:pt x="62" y="82"/>
                    <a:pt x="56" y="82"/>
                    <a:pt x="56" y="81"/>
                  </a:cubicBezTo>
                  <a:cubicBezTo>
                    <a:pt x="55" y="81"/>
                    <a:pt x="55" y="86"/>
                    <a:pt x="55" y="88"/>
                  </a:cubicBezTo>
                  <a:cubicBezTo>
                    <a:pt x="55" y="90"/>
                    <a:pt x="55" y="93"/>
                    <a:pt x="55" y="94"/>
                  </a:cubicBezTo>
                  <a:cubicBezTo>
                    <a:pt x="54" y="96"/>
                    <a:pt x="53" y="113"/>
                    <a:pt x="53" y="115"/>
                  </a:cubicBezTo>
                  <a:cubicBezTo>
                    <a:pt x="53" y="118"/>
                    <a:pt x="53" y="120"/>
                    <a:pt x="53" y="122"/>
                  </a:cubicBezTo>
                  <a:cubicBezTo>
                    <a:pt x="53" y="123"/>
                    <a:pt x="53" y="124"/>
                    <a:pt x="53" y="125"/>
                  </a:cubicBezTo>
                  <a:cubicBezTo>
                    <a:pt x="52" y="126"/>
                    <a:pt x="50" y="130"/>
                    <a:pt x="50" y="133"/>
                  </a:cubicBezTo>
                  <a:cubicBezTo>
                    <a:pt x="49" y="135"/>
                    <a:pt x="50" y="136"/>
                    <a:pt x="50" y="138"/>
                  </a:cubicBezTo>
                  <a:cubicBezTo>
                    <a:pt x="50" y="139"/>
                    <a:pt x="49" y="140"/>
                    <a:pt x="49" y="140"/>
                  </a:cubicBezTo>
                  <a:cubicBezTo>
                    <a:pt x="49" y="141"/>
                    <a:pt x="49" y="141"/>
                    <a:pt x="48" y="142"/>
                  </a:cubicBezTo>
                  <a:cubicBezTo>
                    <a:pt x="47" y="143"/>
                    <a:pt x="48" y="143"/>
                    <a:pt x="48" y="144"/>
                  </a:cubicBezTo>
                  <a:cubicBezTo>
                    <a:pt x="49" y="144"/>
                    <a:pt x="49" y="145"/>
                    <a:pt x="48" y="146"/>
                  </a:cubicBezTo>
                  <a:cubicBezTo>
                    <a:pt x="48" y="146"/>
                    <a:pt x="54" y="152"/>
                    <a:pt x="55" y="153"/>
                  </a:cubicBezTo>
                  <a:cubicBezTo>
                    <a:pt x="57" y="153"/>
                    <a:pt x="57" y="154"/>
                    <a:pt x="56" y="155"/>
                  </a:cubicBezTo>
                  <a:cubicBezTo>
                    <a:pt x="56" y="155"/>
                    <a:pt x="53" y="156"/>
                    <a:pt x="51" y="156"/>
                  </a:cubicBezTo>
                  <a:cubicBezTo>
                    <a:pt x="49" y="156"/>
                    <a:pt x="45" y="154"/>
                    <a:pt x="45" y="153"/>
                  </a:cubicBezTo>
                  <a:cubicBezTo>
                    <a:pt x="45" y="153"/>
                    <a:pt x="44" y="152"/>
                    <a:pt x="44" y="151"/>
                  </a:cubicBezTo>
                  <a:cubicBezTo>
                    <a:pt x="43" y="150"/>
                    <a:pt x="43" y="151"/>
                    <a:pt x="42" y="151"/>
                  </a:cubicBezTo>
                  <a:cubicBezTo>
                    <a:pt x="42" y="151"/>
                    <a:pt x="39" y="150"/>
                    <a:pt x="39" y="150"/>
                  </a:cubicBezTo>
                  <a:cubicBezTo>
                    <a:pt x="38" y="149"/>
                    <a:pt x="39" y="149"/>
                    <a:pt x="39" y="148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38" y="145"/>
                    <a:pt x="38" y="144"/>
                  </a:cubicBezTo>
                  <a:cubicBezTo>
                    <a:pt x="37" y="143"/>
                    <a:pt x="38" y="140"/>
                    <a:pt x="39" y="139"/>
                  </a:cubicBezTo>
                  <a:cubicBezTo>
                    <a:pt x="40" y="138"/>
                    <a:pt x="40" y="137"/>
                    <a:pt x="40" y="136"/>
                  </a:cubicBezTo>
                  <a:cubicBezTo>
                    <a:pt x="40" y="135"/>
                    <a:pt x="40" y="130"/>
                    <a:pt x="40" y="129"/>
                  </a:cubicBezTo>
                  <a:cubicBezTo>
                    <a:pt x="40" y="127"/>
                    <a:pt x="40" y="126"/>
                    <a:pt x="40" y="125"/>
                  </a:cubicBezTo>
                  <a:cubicBezTo>
                    <a:pt x="40" y="125"/>
                    <a:pt x="40" y="125"/>
                    <a:pt x="40" y="124"/>
                  </a:cubicBezTo>
                  <a:cubicBezTo>
                    <a:pt x="40" y="124"/>
                    <a:pt x="40" y="123"/>
                    <a:pt x="40" y="122"/>
                  </a:cubicBezTo>
                  <a:cubicBezTo>
                    <a:pt x="39" y="121"/>
                    <a:pt x="40" y="121"/>
                    <a:pt x="40" y="120"/>
                  </a:cubicBezTo>
                  <a:cubicBezTo>
                    <a:pt x="40" y="120"/>
                    <a:pt x="40" y="120"/>
                    <a:pt x="40" y="119"/>
                  </a:cubicBezTo>
                  <a:cubicBezTo>
                    <a:pt x="40" y="119"/>
                    <a:pt x="40" y="119"/>
                    <a:pt x="40" y="118"/>
                  </a:cubicBezTo>
                  <a:cubicBezTo>
                    <a:pt x="41" y="117"/>
                    <a:pt x="41" y="117"/>
                    <a:pt x="40" y="116"/>
                  </a:cubicBezTo>
                  <a:cubicBezTo>
                    <a:pt x="40" y="116"/>
                    <a:pt x="40" y="115"/>
                    <a:pt x="41" y="114"/>
                  </a:cubicBezTo>
                  <a:cubicBezTo>
                    <a:pt x="41" y="113"/>
                    <a:pt x="40" y="110"/>
                    <a:pt x="40" y="108"/>
                  </a:cubicBezTo>
                  <a:cubicBezTo>
                    <a:pt x="40" y="107"/>
                    <a:pt x="40" y="105"/>
                    <a:pt x="40" y="105"/>
                  </a:cubicBezTo>
                  <a:cubicBezTo>
                    <a:pt x="40" y="104"/>
                    <a:pt x="40" y="104"/>
                    <a:pt x="39" y="104"/>
                  </a:cubicBezTo>
                  <a:cubicBezTo>
                    <a:pt x="39" y="103"/>
                    <a:pt x="39" y="97"/>
                    <a:pt x="39" y="96"/>
                  </a:cubicBezTo>
                  <a:cubicBezTo>
                    <a:pt x="39" y="96"/>
                    <a:pt x="39" y="96"/>
                    <a:pt x="39" y="97"/>
                  </a:cubicBezTo>
                  <a:cubicBezTo>
                    <a:pt x="39" y="98"/>
                    <a:pt x="37" y="100"/>
                    <a:pt x="38" y="101"/>
                  </a:cubicBezTo>
                  <a:cubicBezTo>
                    <a:pt x="38" y="101"/>
                    <a:pt x="38" y="101"/>
                    <a:pt x="37" y="102"/>
                  </a:cubicBezTo>
                  <a:cubicBezTo>
                    <a:pt x="37" y="102"/>
                    <a:pt x="37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6" y="106"/>
                    <a:pt x="35" y="107"/>
                    <a:pt x="35" y="108"/>
                  </a:cubicBezTo>
                  <a:cubicBezTo>
                    <a:pt x="35" y="108"/>
                    <a:pt x="33" y="116"/>
                    <a:pt x="33" y="117"/>
                  </a:cubicBezTo>
                  <a:cubicBezTo>
                    <a:pt x="33" y="119"/>
                    <a:pt x="33" y="119"/>
                    <a:pt x="33" y="120"/>
                  </a:cubicBezTo>
                  <a:cubicBezTo>
                    <a:pt x="33" y="121"/>
                    <a:pt x="30" y="134"/>
                    <a:pt x="29" y="136"/>
                  </a:cubicBezTo>
                  <a:cubicBezTo>
                    <a:pt x="29" y="139"/>
                    <a:pt x="28" y="145"/>
                    <a:pt x="27" y="146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48"/>
                    <a:pt x="28" y="148"/>
                    <a:pt x="27" y="149"/>
                  </a:cubicBezTo>
                  <a:cubicBezTo>
                    <a:pt x="27" y="151"/>
                    <a:pt x="26" y="151"/>
                    <a:pt x="26" y="152"/>
                  </a:cubicBezTo>
                  <a:cubicBezTo>
                    <a:pt x="26" y="153"/>
                    <a:pt x="26" y="155"/>
                    <a:pt x="25" y="155"/>
                  </a:cubicBezTo>
                  <a:cubicBezTo>
                    <a:pt x="24" y="156"/>
                    <a:pt x="26" y="158"/>
                    <a:pt x="27" y="162"/>
                  </a:cubicBezTo>
                  <a:cubicBezTo>
                    <a:pt x="28" y="166"/>
                    <a:pt x="25" y="167"/>
                    <a:pt x="22" y="167"/>
                  </a:cubicBezTo>
                  <a:cubicBezTo>
                    <a:pt x="19" y="167"/>
                    <a:pt x="17" y="163"/>
                    <a:pt x="17" y="161"/>
                  </a:cubicBezTo>
                  <a:cubicBezTo>
                    <a:pt x="17" y="160"/>
                    <a:pt x="17" y="158"/>
                    <a:pt x="17" y="156"/>
                  </a:cubicBezTo>
                  <a:cubicBezTo>
                    <a:pt x="16" y="155"/>
                    <a:pt x="17" y="155"/>
                    <a:pt x="17" y="154"/>
                  </a:cubicBezTo>
                  <a:cubicBezTo>
                    <a:pt x="16" y="154"/>
                    <a:pt x="16" y="151"/>
                    <a:pt x="15" y="150"/>
                  </a:cubicBezTo>
                  <a:cubicBezTo>
                    <a:pt x="15" y="148"/>
                    <a:pt x="18" y="146"/>
                    <a:pt x="18" y="146"/>
                  </a:cubicBezTo>
                  <a:cubicBezTo>
                    <a:pt x="19" y="145"/>
                    <a:pt x="19" y="143"/>
                    <a:pt x="18" y="141"/>
                  </a:cubicBezTo>
                  <a:cubicBezTo>
                    <a:pt x="17" y="140"/>
                    <a:pt x="18" y="131"/>
                    <a:pt x="18" y="129"/>
                  </a:cubicBezTo>
                  <a:cubicBezTo>
                    <a:pt x="19" y="127"/>
                    <a:pt x="19" y="126"/>
                    <a:pt x="19" y="125"/>
                  </a:cubicBezTo>
                  <a:cubicBezTo>
                    <a:pt x="19" y="124"/>
                    <a:pt x="19" y="124"/>
                    <a:pt x="20" y="122"/>
                  </a:cubicBezTo>
                  <a:cubicBezTo>
                    <a:pt x="20" y="121"/>
                    <a:pt x="21" y="119"/>
                    <a:pt x="21" y="118"/>
                  </a:cubicBezTo>
                  <a:cubicBezTo>
                    <a:pt x="22" y="117"/>
                    <a:pt x="22" y="117"/>
                    <a:pt x="22" y="115"/>
                  </a:cubicBezTo>
                  <a:cubicBezTo>
                    <a:pt x="22" y="114"/>
                    <a:pt x="22" y="114"/>
                    <a:pt x="23" y="113"/>
                  </a:cubicBezTo>
                  <a:cubicBezTo>
                    <a:pt x="23" y="112"/>
                    <a:pt x="23" y="112"/>
                    <a:pt x="23" y="111"/>
                  </a:cubicBezTo>
                  <a:cubicBezTo>
                    <a:pt x="23" y="110"/>
                    <a:pt x="23" y="109"/>
                    <a:pt x="23" y="108"/>
                  </a:cubicBezTo>
                  <a:cubicBezTo>
                    <a:pt x="23" y="107"/>
                    <a:pt x="23" y="107"/>
                    <a:pt x="23" y="106"/>
                  </a:cubicBezTo>
                  <a:cubicBezTo>
                    <a:pt x="23" y="105"/>
                    <a:pt x="23" y="100"/>
                    <a:pt x="23" y="99"/>
                  </a:cubicBezTo>
                  <a:cubicBezTo>
                    <a:pt x="23" y="99"/>
                    <a:pt x="23" y="97"/>
                    <a:pt x="23" y="96"/>
                  </a:cubicBezTo>
                  <a:close/>
                  <a:moveTo>
                    <a:pt x="18" y="42"/>
                  </a:moveTo>
                  <a:cubicBezTo>
                    <a:pt x="18" y="41"/>
                    <a:pt x="16" y="46"/>
                    <a:pt x="15" y="47"/>
                  </a:cubicBezTo>
                  <a:cubicBezTo>
                    <a:pt x="15" y="48"/>
                    <a:pt x="14" y="50"/>
                    <a:pt x="13" y="51"/>
                  </a:cubicBezTo>
                  <a:cubicBezTo>
                    <a:pt x="13" y="52"/>
                    <a:pt x="13" y="52"/>
                    <a:pt x="13" y="53"/>
                  </a:cubicBezTo>
                  <a:cubicBezTo>
                    <a:pt x="14" y="53"/>
                    <a:pt x="14" y="54"/>
                    <a:pt x="14" y="55"/>
                  </a:cubicBezTo>
                  <a:cubicBezTo>
                    <a:pt x="14" y="56"/>
                    <a:pt x="14" y="56"/>
                    <a:pt x="15" y="56"/>
                  </a:cubicBezTo>
                  <a:cubicBezTo>
                    <a:pt x="16" y="57"/>
                    <a:pt x="16" y="58"/>
                    <a:pt x="16" y="59"/>
                  </a:cubicBezTo>
                  <a:cubicBezTo>
                    <a:pt x="16" y="60"/>
                    <a:pt x="17" y="58"/>
                    <a:pt x="18" y="57"/>
                  </a:cubicBezTo>
                  <a:cubicBezTo>
                    <a:pt x="18" y="56"/>
                    <a:pt x="18" y="53"/>
                    <a:pt x="18" y="52"/>
                  </a:cubicBezTo>
                  <a:cubicBezTo>
                    <a:pt x="18" y="52"/>
                    <a:pt x="18" y="43"/>
                    <a:pt x="18" y="42"/>
                  </a:cubicBezTo>
                  <a:close/>
                  <a:moveTo>
                    <a:pt x="59" y="49"/>
                  </a:moveTo>
                  <a:cubicBezTo>
                    <a:pt x="59" y="50"/>
                    <a:pt x="58" y="56"/>
                    <a:pt x="58" y="55"/>
                  </a:cubicBezTo>
                  <a:cubicBezTo>
                    <a:pt x="59" y="55"/>
                    <a:pt x="58" y="53"/>
                    <a:pt x="59" y="53"/>
                  </a:cubicBezTo>
                  <a:cubicBezTo>
                    <a:pt x="60" y="53"/>
                    <a:pt x="61" y="52"/>
                    <a:pt x="61" y="51"/>
                  </a:cubicBezTo>
                  <a:cubicBezTo>
                    <a:pt x="61" y="50"/>
                    <a:pt x="62" y="50"/>
                    <a:pt x="62" y="50"/>
                  </a:cubicBezTo>
                  <a:cubicBezTo>
                    <a:pt x="63" y="49"/>
                    <a:pt x="63" y="49"/>
                    <a:pt x="63" y="48"/>
                  </a:cubicBezTo>
                  <a:cubicBezTo>
                    <a:pt x="63" y="48"/>
                    <a:pt x="62" y="47"/>
                    <a:pt x="62" y="47"/>
                  </a:cubicBezTo>
                  <a:cubicBezTo>
                    <a:pt x="62" y="47"/>
                    <a:pt x="61" y="47"/>
                    <a:pt x="61" y="46"/>
                  </a:cubicBezTo>
                  <a:cubicBezTo>
                    <a:pt x="61" y="46"/>
                    <a:pt x="59" y="44"/>
                    <a:pt x="59" y="45"/>
                  </a:cubicBezTo>
                  <a:cubicBezTo>
                    <a:pt x="59" y="46"/>
                    <a:pt x="59" y="49"/>
                    <a:pt x="59" y="4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8" name="Freeform 38"/>
            <p:cNvSpPr>
              <a:spLocks noChangeAspect="1"/>
            </p:cNvSpPr>
            <p:nvPr/>
          </p:nvSpPr>
          <p:spPr bwMode="gray">
            <a:xfrm>
              <a:off x="10063163" y="2636838"/>
              <a:ext cx="104775" cy="201613"/>
            </a:xfrm>
            <a:custGeom>
              <a:avLst/>
              <a:gdLst>
                <a:gd name="T0" fmla="*/ 7 w 28"/>
                <a:gd name="T1" fmla="*/ 25 h 54"/>
                <a:gd name="T2" fmla="*/ 4 w 28"/>
                <a:gd name="T3" fmla="*/ 36 h 54"/>
                <a:gd name="T4" fmla="*/ 1 w 28"/>
                <a:gd name="T5" fmla="*/ 45 h 54"/>
                <a:gd name="T6" fmla="*/ 2 w 28"/>
                <a:gd name="T7" fmla="*/ 46 h 54"/>
                <a:gd name="T8" fmla="*/ 5 w 28"/>
                <a:gd name="T9" fmla="*/ 48 h 54"/>
                <a:gd name="T10" fmla="*/ 10 w 28"/>
                <a:gd name="T11" fmla="*/ 51 h 54"/>
                <a:gd name="T12" fmla="*/ 9 w 28"/>
                <a:gd name="T13" fmla="*/ 52 h 54"/>
                <a:gd name="T14" fmla="*/ 4 w 28"/>
                <a:gd name="T15" fmla="*/ 50 h 54"/>
                <a:gd name="T16" fmla="*/ 5 w 28"/>
                <a:gd name="T17" fmla="*/ 50 h 54"/>
                <a:gd name="T18" fmla="*/ 8 w 28"/>
                <a:gd name="T19" fmla="*/ 53 h 54"/>
                <a:gd name="T20" fmla="*/ 9 w 28"/>
                <a:gd name="T21" fmla="*/ 54 h 54"/>
                <a:gd name="T22" fmla="*/ 17 w 28"/>
                <a:gd name="T23" fmla="*/ 54 h 54"/>
                <a:gd name="T24" fmla="*/ 19 w 28"/>
                <a:gd name="T25" fmla="*/ 54 h 54"/>
                <a:gd name="T26" fmla="*/ 25 w 28"/>
                <a:gd name="T27" fmla="*/ 51 h 54"/>
                <a:gd name="T28" fmla="*/ 25 w 28"/>
                <a:gd name="T29" fmla="*/ 44 h 54"/>
                <a:gd name="T30" fmla="*/ 26 w 28"/>
                <a:gd name="T31" fmla="*/ 42 h 54"/>
                <a:gd name="T32" fmla="*/ 27 w 28"/>
                <a:gd name="T33" fmla="*/ 39 h 54"/>
                <a:gd name="T34" fmla="*/ 27 w 28"/>
                <a:gd name="T35" fmla="*/ 35 h 54"/>
                <a:gd name="T36" fmla="*/ 25 w 28"/>
                <a:gd name="T37" fmla="*/ 23 h 54"/>
                <a:gd name="T38" fmla="*/ 21 w 28"/>
                <a:gd name="T39" fmla="*/ 14 h 54"/>
                <a:gd name="T40" fmla="*/ 20 w 28"/>
                <a:gd name="T41" fmla="*/ 6 h 54"/>
                <a:gd name="T42" fmla="*/ 19 w 28"/>
                <a:gd name="T43" fmla="*/ 3 h 54"/>
                <a:gd name="T44" fmla="*/ 15 w 28"/>
                <a:gd name="T45" fmla="*/ 6 h 54"/>
                <a:gd name="T46" fmla="*/ 9 w 28"/>
                <a:gd name="T47" fmla="*/ 2 h 54"/>
                <a:gd name="T48" fmla="*/ 8 w 28"/>
                <a:gd name="T49" fmla="*/ 1 h 54"/>
                <a:gd name="T50" fmla="*/ 7 w 28"/>
                <a:gd name="T51" fmla="*/ 2 h 54"/>
                <a:gd name="T52" fmla="*/ 7 w 28"/>
                <a:gd name="T53" fmla="*/ 3 h 54"/>
                <a:gd name="T54" fmla="*/ 8 w 28"/>
                <a:gd name="T55" fmla="*/ 14 h 54"/>
                <a:gd name="T56" fmla="*/ 7 w 28"/>
                <a:gd name="T57" fmla="*/ 25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8"/>
                <a:gd name="T88" fmla="*/ 0 h 54"/>
                <a:gd name="T89" fmla="*/ 28 w 28"/>
                <a:gd name="T90" fmla="*/ 54 h 5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8" h="54">
                  <a:moveTo>
                    <a:pt x="7" y="25"/>
                  </a:moveTo>
                  <a:cubicBezTo>
                    <a:pt x="6" y="27"/>
                    <a:pt x="5" y="33"/>
                    <a:pt x="4" y="36"/>
                  </a:cubicBezTo>
                  <a:cubicBezTo>
                    <a:pt x="2" y="40"/>
                    <a:pt x="0" y="44"/>
                    <a:pt x="1" y="45"/>
                  </a:cubicBezTo>
                  <a:cubicBezTo>
                    <a:pt x="1" y="45"/>
                    <a:pt x="1" y="46"/>
                    <a:pt x="2" y="46"/>
                  </a:cubicBezTo>
                  <a:cubicBezTo>
                    <a:pt x="2" y="47"/>
                    <a:pt x="3" y="47"/>
                    <a:pt x="5" y="48"/>
                  </a:cubicBezTo>
                  <a:cubicBezTo>
                    <a:pt x="7" y="49"/>
                    <a:pt x="10" y="50"/>
                    <a:pt x="10" y="51"/>
                  </a:cubicBezTo>
                  <a:cubicBezTo>
                    <a:pt x="10" y="52"/>
                    <a:pt x="9" y="52"/>
                    <a:pt x="9" y="52"/>
                  </a:cubicBezTo>
                  <a:cubicBezTo>
                    <a:pt x="8" y="51"/>
                    <a:pt x="5" y="49"/>
                    <a:pt x="4" y="50"/>
                  </a:cubicBezTo>
                  <a:cubicBezTo>
                    <a:pt x="4" y="50"/>
                    <a:pt x="4" y="50"/>
                    <a:pt x="5" y="50"/>
                  </a:cubicBezTo>
                  <a:cubicBezTo>
                    <a:pt x="5" y="51"/>
                    <a:pt x="7" y="53"/>
                    <a:pt x="8" y="53"/>
                  </a:cubicBezTo>
                  <a:cubicBezTo>
                    <a:pt x="8" y="54"/>
                    <a:pt x="8" y="54"/>
                    <a:pt x="9" y="54"/>
                  </a:cubicBezTo>
                  <a:cubicBezTo>
                    <a:pt x="10" y="54"/>
                    <a:pt x="16" y="54"/>
                    <a:pt x="17" y="54"/>
                  </a:cubicBezTo>
                  <a:cubicBezTo>
                    <a:pt x="18" y="54"/>
                    <a:pt x="18" y="54"/>
                    <a:pt x="19" y="54"/>
                  </a:cubicBezTo>
                  <a:cubicBezTo>
                    <a:pt x="20" y="54"/>
                    <a:pt x="25" y="52"/>
                    <a:pt x="25" y="51"/>
                  </a:cubicBezTo>
                  <a:cubicBezTo>
                    <a:pt x="25" y="51"/>
                    <a:pt x="25" y="45"/>
                    <a:pt x="25" y="44"/>
                  </a:cubicBezTo>
                  <a:cubicBezTo>
                    <a:pt x="26" y="43"/>
                    <a:pt x="26" y="42"/>
                    <a:pt x="26" y="42"/>
                  </a:cubicBezTo>
                  <a:cubicBezTo>
                    <a:pt x="26" y="41"/>
                    <a:pt x="26" y="40"/>
                    <a:pt x="27" y="39"/>
                  </a:cubicBezTo>
                  <a:cubicBezTo>
                    <a:pt x="27" y="38"/>
                    <a:pt x="28" y="37"/>
                    <a:pt x="27" y="35"/>
                  </a:cubicBezTo>
                  <a:cubicBezTo>
                    <a:pt x="27" y="34"/>
                    <a:pt x="26" y="25"/>
                    <a:pt x="25" y="23"/>
                  </a:cubicBezTo>
                  <a:cubicBezTo>
                    <a:pt x="25" y="21"/>
                    <a:pt x="22" y="17"/>
                    <a:pt x="21" y="14"/>
                  </a:cubicBezTo>
                  <a:cubicBezTo>
                    <a:pt x="21" y="10"/>
                    <a:pt x="20" y="7"/>
                    <a:pt x="20" y="6"/>
                  </a:cubicBezTo>
                  <a:cubicBezTo>
                    <a:pt x="20" y="4"/>
                    <a:pt x="20" y="2"/>
                    <a:pt x="19" y="3"/>
                  </a:cubicBezTo>
                  <a:cubicBezTo>
                    <a:pt x="18" y="4"/>
                    <a:pt x="15" y="7"/>
                    <a:pt x="15" y="6"/>
                  </a:cubicBezTo>
                  <a:cubicBezTo>
                    <a:pt x="14" y="5"/>
                    <a:pt x="10" y="3"/>
                    <a:pt x="9" y="2"/>
                  </a:cubicBezTo>
                  <a:cubicBezTo>
                    <a:pt x="8" y="1"/>
                    <a:pt x="8" y="0"/>
                    <a:pt x="8" y="1"/>
                  </a:cubicBezTo>
                  <a:cubicBezTo>
                    <a:pt x="8" y="1"/>
                    <a:pt x="8" y="2"/>
                    <a:pt x="7" y="2"/>
                  </a:cubicBezTo>
                  <a:cubicBezTo>
                    <a:pt x="7" y="3"/>
                    <a:pt x="7" y="2"/>
                    <a:pt x="7" y="3"/>
                  </a:cubicBezTo>
                  <a:cubicBezTo>
                    <a:pt x="7" y="3"/>
                    <a:pt x="8" y="9"/>
                    <a:pt x="8" y="14"/>
                  </a:cubicBezTo>
                  <a:cubicBezTo>
                    <a:pt x="7" y="18"/>
                    <a:pt x="7" y="25"/>
                    <a:pt x="7" y="25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9" name="Freeform 39"/>
            <p:cNvSpPr>
              <a:spLocks noChangeAspect="1"/>
            </p:cNvSpPr>
            <p:nvPr/>
          </p:nvSpPr>
          <p:spPr bwMode="gray">
            <a:xfrm>
              <a:off x="10107613" y="2659063"/>
              <a:ext cx="57150" cy="184150"/>
            </a:xfrm>
            <a:custGeom>
              <a:avLst/>
              <a:gdLst>
                <a:gd name="T0" fmla="*/ 1 w 15"/>
                <a:gd name="T1" fmla="*/ 2 h 49"/>
                <a:gd name="T2" fmla="*/ 2 w 15"/>
                <a:gd name="T3" fmla="*/ 3 h 49"/>
                <a:gd name="T4" fmla="*/ 2 w 15"/>
                <a:gd name="T5" fmla="*/ 5 h 49"/>
                <a:gd name="T6" fmla="*/ 2 w 15"/>
                <a:gd name="T7" fmla="*/ 10 h 49"/>
                <a:gd name="T8" fmla="*/ 4 w 15"/>
                <a:gd name="T9" fmla="*/ 29 h 49"/>
                <a:gd name="T10" fmla="*/ 6 w 15"/>
                <a:gd name="T11" fmla="*/ 45 h 49"/>
                <a:gd name="T12" fmla="*/ 10 w 15"/>
                <a:gd name="T13" fmla="*/ 48 h 49"/>
                <a:gd name="T14" fmla="*/ 14 w 15"/>
                <a:gd name="T15" fmla="*/ 42 h 49"/>
                <a:gd name="T16" fmla="*/ 11 w 15"/>
                <a:gd name="T17" fmla="*/ 24 h 49"/>
                <a:gd name="T18" fmla="*/ 8 w 15"/>
                <a:gd name="T19" fmla="*/ 9 h 49"/>
                <a:gd name="T20" fmla="*/ 6 w 15"/>
                <a:gd name="T21" fmla="*/ 5 h 49"/>
                <a:gd name="T22" fmla="*/ 5 w 15"/>
                <a:gd name="T23" fmla="*/ 3 h 49"/>
                <a:gd name="T24" fmla="*/ 6 w 15"/>
                <a:gd name="T25" fmla="*/ 1 h 49"/>
                <a:gd name="T26" fmla="*/ 2 w 15"/>
                <a:gd name="T27" fmla="*/ 0 h 49"/>
                <a:gd name="T28" fmla="*/ 0 w 15"/>
                <a:gd name="T29" fmla="*/ 1 h 49"/>
                <a:gd name="T30" fmla="*/ 1 w 15"/>
                <a:gd name="T31" fmla="*/ 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49"/>
                <a:gd name="T50" fmla="*/ 15 w 15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49">
                  <a:moveTo>
                    <a:pt x="1" y="2"/>
                  </a:moveTo>
                  <a:cubicBezTo>
                    <a:pt x="1" y="2"/>
                    <a:pt x="2" y="3"/>
                    <a:pt x="2" y="3"/>
                  </a:cubicBezTo>
                  <a:cubicBezTo>
                    <a:pt x="3" y="3"/>
                    <a:pt x="3" y="4"/>
                    <a:pt x="2" y="5"/>
                  </a:cubicBezTo>
                  <a:cubicBezTo>
                    <a:pt x="2" y="6"/>
                    <a:pt x="1" y="7"/>
                    <a:pt x="2" y="10"/>
                  </a:cubicBezTo>
                  <a:cubicBezTo>
                    <a:pt x="2" y="14"/>
                    <a:pt x="4" y="27"/>
                    <a:pt x="4" y="29"/>
                  </a:cubicBezTo>
                  <a:cubicBezTo>
                    <a:pt x="4" y="31"/>
                    <a:pt x="4" y="43"/>
                    <a:pt x="6" y="45"/>
                  </a:cubicBezTo>
                  <a:cubicBezTo>
                    <a:pt x="7" y="46"/>
                    <a:pt x="10" y="49"/>
                    <a:pt x="10" y="48"/>
                  </a:cubicBezTo>
                  <a:cubicBezTo>
                    <a:pt x="11" y="47"/>
                    <a:pt x="15" y="45"/>
                    <a:pt x="14" y="42"/>
                  </a:cubicBezTo>
                  <a:cubicBezTo>
                    <a:pt x="14" y="39"/>
                    <a:pt x="12" y="26"/>
                    <a:pt x="11" y="24"/>
                  </a:cubicBezTo>
                  <a:cubicBezTo>
                    <a:pt x="10" y="21"/>
                    <a:pt x="8" y="10"/>
                    <a:pt x="8" y="9"/>
                  </a:cubicBezTo>
                  <a:cubicBezTo>
                    <a:pt x="8" y="8"/>
                    <a:pt x="6" y="5"/>
                    <a:pt x="6" y="5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2"/>
                    <a:pt x="7" y="1"/>
                    <a:pt x="6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0" name="Freeform 40"/>
            <p:cNvSpPr>
              <a:spLocks noChangeAspect="1"/>
            </p:cNvSpPr>
            <p:nvPr/>
          </p:nvSpPr>
          <p:spPr bwMode="gray">
            <a:xfrm>
              <a:off x="10088563" y="2647950"/>
              <a:ext cx="19050" cy="14288"/>
            </a:xfrm>
            <a:custGeom>
              <a:avLst/>
              <a:gdLst>
                <a:gd name="T0" fmla="*/ 12 w 12"/>
                <a:gd name="T1" fmla="*/ 9 h 9"/>
                <a:gd name="T2" fmla="*/ 0 w 12"/>
                <a:gd name="T3" fmla="*/ 0 h 9"/>
                <a:gd name="T4" fmla="*/ 0 w 12"/>
                <a:gd name="T5" fmla="*/ 0 h 9"/>
                <a:gd name="T6" fmla="*/ 12 w 12"/>
                <a:gd name="T7" fmla="*/ 9 h 9"/>
                <a:gd name="T8" fmla="*/ 12 w 12"/>
                <a:gd name="T9" fmla="*/ 9 h 9"/>
                <a:gd name="T10" fmla="*/ 12 w 12"/>
                <a:gd name="T11" fmla="*/ 9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12" y="9"/>
                  </a:moveTo>
                  <a:lnTo>
                    <a:pt x="0" y="0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1" name="Freeform 41"/>
            <p:cNvSpPr>
              <a:spLocks noChangeAspect="1"/>
            </p:cNvSpPr>
            <p:nvPr/>
          </p:nvSpPr>
          <p:spPr bwMode="gray">
            <a:xfrm>
              <a:off x="10129838" y="2655888"/>
              <a:ext cx="7938" cy="6350"/>
            </a:xfrm>
            <a:custGeom>
              <a:avLst/>
              <a:gdLst>
                <a:gd name="T0" fmla="*/ 5 w 5"/>
                <a:gd name="T1" fmla="*/ 0 h 4"/>
                <a:gd name="T2" fmla="*/ 5 w 5"/>
                <a:gd name="T3" fmla="*/ 0 h 4"/>
                <a:gd name="T4" fmla="*/ 0 w 5"/>
                <a:gd name="T5" fmla="*/ 4 h 4"/>
                <a:gd name="T6" fmla="*/ 0 w 5"/>
                <a:gd name="T7" fmla="*/ 4 h 4"/>
                <a:gd name="T8" fmla="*/ 5 w 5"/>
                <a:gd name="T9" fmla="*/ 0 h 4"/>
                <a:gd name="T10" fmla="*/ 5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5" y="0"/>
                  </a:moveTo>
                  <a:lnTo>
                    <a:pt x="5" y="0"/>
                  </a:lnTo>
                  <a:lnTo>
                    <a:pt x="0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2" name="Freeform 42"/>
            <p:cNvSpPr>
              <a:spLocks noChangeAspect="1"/>
            </p:cNvSpPr>
            <p:nvPr/>
          </p:nvSpPr>
          <p:spPr bwMode="gray">
            <a:xfrm>
              <a:off x="10074275" y="2832100"/>
              <a:ext cx="11113" cy="6350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2 h 2"/>
                <a:gd name="T4" fmla="*/ 2 w 3"/>
                <a:gd name="T5" fmla="*/ 2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cubicBezTo>
                    <a:pt x="0" y="0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03" name="Freeform 43"/>
            <p:cNvSpPr>
              <a:spLocks noChangeAspect="1"/>
            </p:cNvSpPr>
            <p:nvPr/>
          </p:nvSpPr>
          <p:spPr bwMode="gray">
            <a:xfrm>
              <a:off x="10069513" y="2835275"/>
              <a:ext cx="4763" cy="31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04" name="Freeform 75"/>
          <p:cNvSpPr>
            <a:spLocks noEditPoints="1"/>
          </p:cNvSpPr>
          <p:nvPr>
            <p:custDataLst>
              <p:tags r:id="rId25"/>
            </p:custDataLst>
          </p:nvPr>
        </p:nvSpPr>
        <p:spPr bwMode="gray">
          <a:xfrm>
            <a:off x="5211207" y="2061608"/>
            <a:ext cx="146050" cy="620712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05" name="Freeform 88"/>
          <p:cNvSpPr>
            <a:spLocks noChangeAspect="1"/>
          </p:cNvSpPr>
          <p:nvPr>
            <p:custDataLst>
              <p:tags r:id="rId26"/>
            </p:custDataLst>
          </p:nvPr>
        </p:nvSpPr>
        <p:spPr bwMode="gray">
          <a:xfrm flipH="1">
            <a:off x="4944670" y="1995877"/>
            <a:ext cx="211137" cy="581025"/>
          </a:xfrm>
          <a:custGeom>
            <a:avLst/>
            <a:gdLst>
              <a:gd name="T0" fmla="*/ 699 w 741"/>
              <a:gd name="T1" fmla="*/ 1191 h 2046"/>
              <a:gd name="T2" fmla="*/ 642 w 741"/>
              <a:gd name="T3" fmla="*/ 1149 h 2046"/>
              <a:gd name="T4" fmla="*/ 652 w 741"/>
              <a:gd name="T5" fmla="*/ 1033 h 2046"/>
              <a:gd name="T6" fmla="*/ 623 w 741"/>
              <a:gd name="T7" fmla="*/ 553 h 2046"/>
              <a:gd name="T8" fmla="*/ 581 w 741"/>
              <a:gd name="T9" fmla="*/ 374 h 2046"/>
              <a:gd name="T10" fmla="*/ 408 w 741"/>
              <a:gd name="T11" fmla="*/ 298 h 2046"/>
              <a:gd name="T12" fmla="*/ 321 w 741"/>
              <a:gd name="T13" fmla="*/ 504 h 2046"/>
              <a:gd name="T14" fmla="*/ 307 w 741"/>
              <a:gd name="T15" fmla="*/ 350 h 2046"/>
              <a:gd name="T16" fmla="*/ 340 w 741"/>
              <a:gd name="T17" fmla="*/ 305 h 2046"/>
              <a:gd name="T18" fmla="*/ 392 w 741"/>
              <a:gd name="T19" fmla="*/ 260 h 2046"/>
              <a:gd name="T20" fmla="*/ 420 w 741"/>
              <a:gd name="T21" fmla="*/ 175 h 2046"/>
              <a:gd name="T22" fmla="*/ 432 w 741"/>
              <a:gd name="T23" fmla="*/ 71 h 2046"/>
              <a:gd name="T24" fmla="*/ 359 w 741"/>
              <a:gd name="T25" fmla="*/ 3 h 2046"/>
              <a:gd name="T26" fmla="*/ 224 w 741"/>
              <a:gd name="T27" fmla="*/ 52 h 2046"/>
              <a:gd name="T28" fmla="*/ 198 w 741"/>
              <a:gd name="T29" fmla="*/ 126 h 2046"/>
              <a:gd name="T30" fmla="*/ 186 w 741"/>
              <a:gd name="T31" fmla="*/ 189 h 2046"/>
              <a:gd name="T32" fmla="*/ 196 w 741"/>
              <a:gd name="T33" fmla="*/ 230 h 2046"/>
              <a:gd name="T34" fmla="*/ 205 w 741"/>
              <a:gd name="T35" fmla="*/ 277 h 2046"/>
              <a:gd name="T36" fmla="*/ 257 w 741"/>
              <a:gd name="T37" fmla="*/ 308 h 2046"/>
              <a:gd name="T38" fmla="*/ 283 w 741"/>
              <a:gd name="T39" fmla="*/ 329 h 2046"/>
              <a:gd name="T40" fmla="*/ 278 w 741"/>
              <a:gd name="T41" fmla="*/ 367 h 2046"/>
              <a:gd name="T42" fmla="*/ 245 w 741"/>
              <a:gd name="T43" fmla="*/ 317 h 2046"/>
              <a:gd name="T44" fmla="*/ 78 w 741"/>
              <a:gd name="T45" fmla="*/ 390 h 2046"/>
              <a:gd name="T46" fmla="*/ 52 w 741"/>
              <a:gd name="T47" fmla="*/ 489 h 2046"/>
              <a:gd name="T48" fmla="*/ 0 w 741"/>
              <a:gd name="T49" fmla="*/ 1073 h 2046"/>
              <a:gd name="T50" fmla="*/ 16 w 741"/>
              <a:gd name="T51" fmla="*/ 1123 h 2046"/>
              <a:gd name="T52" fmla="*/ 30 w 741"/>
              <a:gd name="T53" fmla="*/ 1229 h 2046"/>
              <a:gd name="T54" fmla="*/ 54 w 741"/>
              <a:gd name="T55" fmla="*/ 1227 h 2046"/>
              <a:gd name="T56" fmla="*/ 94 w 741"/>
              <a:gd name="T57" fmla="*/ 1238 h 2046"/>
              <a:gd name="T58" fmla="*/ 82 w 741"/>
              <a:gd name="T59" fmla="*/ 1208 h 2046"/>
              <a:gd name="T60" fmla="*/ 68 w 741"/>
              <a:gd name="T61" fmla="*/ 1153 h 2046"/>
              <a:gd name="T62" fmla="*/ 85 w 741"/>
              <a:gd name="T63" fmla="*/ 1196 h 2046"/>
              <a:gd name="T64" fmla="*/ 99 w 741"/>
              <a:gd name="T65" fmla="*/ 1094 h 2046"/>
              <a:gd name="T66" fmla="*/ 96 w 741"/>
              <a:gd name="T67" fmla="*/ 1021 h 2046"/>
              <a:gd name="T68" fmla="*/ 125 w 741"/>
              <a:gd name="T69" fmla="*/ 1255 h 2046"/>
              <a:gd name="T70" fmla="*/ 148 w 741"/>
              <a:gd name="T71" fmla="*/ 1817 h 2046"/>
              <a:gd name="T72" fmla="*/ 139 w 741"/>
              <a:gd name="T73" fmla="*/ 1923 h 2046"/>
              <a:gd name="T74" fmla="*/ 120 w 741"/>
              <a:gd name="T75" fmla="*/ 1990 h 2046"/>
              <a:gd name="T76" fmla="*/ 132 w 741"/>
              <a:gd name="T77" fmla="*/ 2030 h 2046"/>
              <a:gd name="T78" fmla="*/ 224 w 741"/>
              <a:gd name="T79" fmla="*/ 2030 h 2046"/>
              <a:gd name="T80" fmla="*/ 259 w 741"/>
              <a:gd name="T81" fmla="*/ 1973 h 2046"/>
              <a:gd name="T82" fmla="*/ 269 w 741"/>
              <a:gd name="T83" fmla="*/ 1897 h 2046"/>
              <a:gd name="T84" fmla="*/ 257 w 741"/>
              <a:gd name="T85" fmla="*/ 1775 h 2046"/>
              <a:gd name="T86" fmla="*/ 293 w 741"/>
              <a:gd name="T87" fmla="*/ 1373 h 2046"/>
              <a:gd name="T88" fmla="*/ 316 w 741"/>
              <a:gd name="T89" fmla="*/ 1224 h 2046"/>
              <a:gd name="T90" fmla="*/ 352 w 741"/>
              <a:gd name="T91" fmla="*/ 1458 h 2046"/>
              <a:gd name="T92" fmla="*/ 382 w 741"/>
              <a:gd name="T93" fmla="*/ 1697 h 2046"/>
              <a:gd name="T94" fmla="*/ 363 w 741"/>
              <a:gd name="T95" fmla="*/ 1810 h 2046"/>
              <a:gd name="T96" fmla="*/ 349 w 741"/>
              <a:gd name="T97" fmla="*/ 1921 h 2046"/>
              <a:gd name="T98" fmla="*/ 368 w 741"/>
              <a:gd name="T99" fmla="*/ 1966 h 2046"/>
              <a:gd name="T100" fmla="*/ 352 w 741"/>
              <a:gd name="T101" fmla="*/ 2030 h 2046"/>
              <a:gd name="T102" fmla="*/ 427 w 741"/>
              <a:gd name="T103" fmla="*/ 2044 h 2046"/>
              <a:gd name="T104" fmla="*/ 474 w 741"/>
              <a:gd name="T105" fmla="*/ 1997 h 2046"/>
              <a:gd name="T106" fmla="*/ 491 w 741"/>
              <a:gd name="T107" fmla="*/ 1919 h 2046"/>
              <a:gd name="T108" fmla="*/ 503 w 741"/>
              <a:gd name="T109" fmla="*/ 1824 h 2046"/>
              <a:gd name="T110" fmla="*/ 635 w 741"/>
              <a:gd name="T111" fmla="*/ 1597 h 2046"/>
              <a:gd name="T112" fmla="*/ 741 w 741"/>
              <a:gd name="T113" fmla="*/ 1491 h 2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41" h="2046">
                <a:moveTo>
                  <a:pt x="739" y="1375"/>
                </a:moveTo>
                <a:lnTo>
                  <a:pt x="732" y="1205"/>
                </a:lnTo>
                <a:lnTo>
                  <a:pt x="730" y="1203"/>
                </a:lnTo>
                <a:lnTo>
                  <a:pt x="725" y="1198"/>
                </a:lnTo>
                <a:lnTo>
                  <a:pt x="713" y="1193"/>
                </a:lnTo>
                <a:lnTo>
                  <a:pt x="699" y="1191"/>
                </a:lnTo>
                <a:lnTo>
                  <a:pt x="687" y="1191"/>
                </a:lnTo>
                <a:lnTo>
                  <a:pt x="635" y="1193"/>
                </a:lnTo>
                <a:lnTo>
                  <a:pt x="633" y="1179"/>
                </a:lnTo>
                <a:lnTo>
                  <a:pt x="628" y="1165"/>
                </a:lnTo>
                <a:lnTo>
                  <a:pt x="640" y="1156"/>
                </a:lnTo>
                <a:lnTo>
                  <a:pt x="642" y="1149"/>
                </a:lnTo>
                <a:lnTo>
                  <a:pt x="645" y="1139"/>
                </a:lnTo>
                <a:lnTo>
                  <a:pt x="647" y="1113"/>
                </a:lnTo>
                <a:lnTo>
                  <a:pt x="647" y="1080"/>
                </a:lnTo>
                <a:lnTo>
                  <a:pt x="649" y="1066"/>
                </a:lnTo>
                <a:lnTo>
                  <a:pt x="652" y="1052"/>
                </a:lnTo>
                <a:lnTo>
                  <a:pt x="652" y="1033"/>
                </a:lnTo>
                <a:lnTo>
                  <a:pt x="652" y="957"/>
                </a:lnTo>
                <a:lnTo>
                  <a:pt x="649" y="846"/>
                </a:lnTo>
                <a:lnTo>
                  <a:pt x="642" y="730"/>
                </a:lnTo>
                <a:lnTo>
                  <a:pt x="637" y="676"/>
                </a:lnTo>
                <a:lnTo>
                  <a:pt x="633" y="629"/>
                </a:lnTo>
                <a:lnTo>
                  <a:pt x="623" y="553"/>
                </a:lnTo>
                <a:lnTo>
                  <a:pt x="619" y="494"/>
                </a:lnTo>
                <a:lnTo>
                  <a:pt x="614" y="423"/>
                </a:lnTo>
                <a:lnTo>
                  <a:pt x="611" y="409"/>
                </a:lnTo>
                <a:lnTo>
                  <a:pt x="604" y="395"/>
                </a:lnTo>
                <a:lnTo>
                  <a:pt x="595" y="386"/>
                </a:lnTo>
                <a:lnTo>
                  <a:pt x="581" y="374"/>
                </a:lnTo>
                <a:lnTo>
                  <a:pt x="567" y="367"/>
                </a:lnTo>
                <a:lnTo>
                  <a:pt x="550" y="357"/>
                </a:lnTo>
                <a:lnTo>
                  <a:pt x="512" y="345"/>
                </a:lnTo>
                <a:lnTo>
                  <a:pt x="477" y="334"/>
                </a:lnTo>
                <a:lnTo>
                  <a:pt x="444" y="317"/>
                </a:lnTo>
                <a:lnTo>
                  <a:pt x="408" y="298"/>
                </a:lnTo>
                <a:lnTo>
                  <a:pt x="399" y="310"/>
                </a:lnTo>
                <a:lnTo>
                  <a:pt x="389" y="326"/>
                </a:lnTo>
                <a:lnTo>
                  <a:pt x="373" y="360"/>
                </a:lnTo>
                <a:lnTo>
                  <a:pt x="356" y="400"/>
                </a:lnTo>
                <a:lnTo>
                  <a:pt x="340" y="445"/>
                </a:lnTo>
                <a:lnTo>
                  <a:pt x="321" y="504"/>
                </a:lnTo>
                <a:lnTo>
                  <a:pt x="300" y="369"/>
                </a:lnTo>
                <a:lnTo>
                  <a:pt x="300" y="367"/>
                </a:lnTo>
                <a:lnTo>
                  <a:pt x="304" y="364"/>
                </a:lnTo>
                <a:lnTo>
                  <a:pt x="309" y="360"/>
                </a:lnTo>
                <a:lnTo>
                  <a:pt x="309" y="355"/>
                </a:lnTo>
                <a:lnTo>
                  <a:pt x="307" y="350"/>
                </a:lnTo>
                <a:lnTo>
                  <a:pt x="304" y="341"/>
                </a:lnTo>
                <a:lnTo>
                  <a:pt x="302" y="334"/>
                </a:lnTo>
                <a:lnTo>
                  <a:pt x="297" y="326"/>
                </a:lnTo>
                <a:lnTo>
                  <a:pt x="309" y="322"/>
                </a:lnTo>
                <a:lnTo>
                  <a:pt x="326" y="315"/>
                </a:lnTo>
                <a:lnTo>
                  <a:pt x="340" y="305"/>
                </a:lnTo>
                <a:lnTo>
                  <a:pt x="356" y="293"/>
                </a:lnTo>
                <a:lnTo>
                  <a:pt x="361" y="289"/>
                </a:lnTo>
                <a:lnTo>
                  <a:pt x="370" y="284"/>
                </a:lnTo>
                <a:lnTo>
                  <a:pt x="385" y="277"/>
                </a:lnTo>
                <a:lnTo>
                  <a:pt x="389" y="270"/>
                </a:lnTo>
                <a:lnTo>
                  <a:pt x="392" y="260"/>
                </a:lnTo>
                <a:lnTo>
                  <a:pt x="392" y="234"/>
                </a:lnTo>
                <a:lnTo>
                  <a:pt x="394" y="223"/>
                </a:lnTo>
                <a:lnTo>
                  <a:pt x="396" y="213"/>
                </a:lnTo>
                <a:lnTo>
                  <a:pt x="401" y="201"/>
                </a:lnTo>
                <a:lnTo>
                  <a:pt x="411" y="189"/>
                </a:lnTo>
                <a:lnTo>
                  <a:pt x="420" y="175"/>
                </a:lnTo>
                <a:lnTo>
                  <a:pt x="430" y="159"/>
                </a:lnTo>
                <a:lnTo>
                  <a:pt x="434" y="135"/>
                </a:lnTo>
                <a:lnTo>
                  <a:pt x="439" y="111"/>
                </a:lnTo>
                <a:lnTo>
                  <a:pt x="439" y="97"/>
                </a:lnTo>
                <a:lnTo>
                  <a:pt x="437" y="85"/>
                </a:lnTo>
                <a:lnTo>
                  <a:pt x="432" y="71"/>
                </a:lnTo>
                <a:lnTo>
                  <a:pt x="425" y="57"/>
                </a:lnTo>
                <a:lnTo>
                  <a:pt x="420" y="48"/>
                </a:lnTo>
                <a:lnTo>
                  <a:pt x="401" y="29"/>
                </a:lnTo>
                <a:lnTo>
                  <a:pt x="389" y="19"/>
                </a:lnTo>
                <a:lnTo>
                  <a:pt x="375" y="10"/>
                </a:lnTo>
                <a:lnTo>
                  <a:pt x="359" y="3"/>
                </a:lnTo>
                <a:lnTo>
                  <a:pt x="342" y="0"/>
                </a:lnTo>
                <a:lnTo>
                  <a:pt x="255" y="15"/>
                </a:lnTo>
                <a:lnTo>
                  <a:pt x="233" y="26"/>
                </a:lnTo>
                <a:lnTo>
                  <a:pt x="224" y="34"/>
                </a:lnTo>
                <a:lnTo>
                  <a:pt x="222" y="41"/>
                </a:lnTo>
                <a:lnTo>
                  <a:pt x="224" y="52"/>
                </a:lnTo>
                <a:lnTo>
                  <a:pt x="226" y="60"/>
                </a:lnTo>
                <a:lnTo>
                  <a:pt x="226" y="64"/>
                </a:lnTo>
                <a:lnTo>
                  <a:pt x="224" y="69"/>
                </a:lnTo>
                <a:lnTo>
                  <a:pt x="205" y="107"/>
                </a:lnTo>
                <a:lnTo>
                  <a:pt x="200" y="116"/>
                </a:lnTo>
                <a:lnTo>
                  <a:pt x="198" y="126"/>
                </a:lnTo>
                <a:lnTo>
                  <a:pt x="198" y="133"/>
                </a:lnTo>
                <a:lnTo>
                  <a:pt x="198" y="142"/>
                </a:lnTo>
                <a:lnTo>
                  <a:pt x="184" y="173"/>
                </a:lnTo>
                <a:lnTo>
                  <a:pt x="181" y="182"/>
                </a:lnTo>
                <a:lnTo>
                  <a:pt x="181" y="187"/>
                </a:lnTo>
                <a:lnTo>
                  <a:pt x="186" y="189"/>
                </a:lnTo>
                <a:lnTo>
                  <a:pt x="193" y="192"/>
                </a:lnTo>
                <a:lnTo>
                  <a:pt x="196" y="194"/>
                </a:lnTo>
                <a:lnTo>
                  <a:pt x="198" y="199"/>
                </a:lnTo>
                <a:lnTo>
                  <a:pt x="196" y="215"/>
                </a:lnTo>
                <a:lnTo>
                  <a:pt x="196" y="227"/>
                </a:lnTo>
                <a:lnTo>
                  <a:pt x="196" y="230"/>
                </a:lnTo>
                <a:lnTo>
                  <a:pt x="198" y="239"/>
                </a:lnTo>
                <a:lnTo>
                  <a:pt x="198" y="248"/>
                </a:lnTo>
                <a:lnTo>
                  <a:pt x="196" y="256"/>
                </a:lnTo>
                <a:lnTo>
                  <a:pt x="198" y="265"/>
                </a:lnTo>
                <a:lnTo>
                  <a:pt x="198" y="267"/>
                </a:lnTo>
                <a:lnTo>
                  <a:pt x="205" y="277"/>
                </a:lnTo>
                <a:lnTo>
                  <a:pt x="210" y="279"/>
                </a:lnTo>
                <a:lnTo>
                  <a:pt x="219" y="284"/>
                </a:lnTo>
                <a:lnTo>
                  <a:pt x="238" y="286"/>
                </a:lnTo>
                <a:lnTo>
                  <a:pt x="248" y="286"/>
                </a:lnTo>
                <a:lnTo>
                  <a:pt x="262" y="286"/>
                </a:lnTo>
                <a:lnTo>
                  <a:pt x="257" y="308"/>
                </a:lnTo>
                <a:lnTo>
                  <a:pt x="257" y="312"/>
                </a:lnTo>
                <a:lnTo>
                  <a:pt x="259" y="317"/>
                </a:lnTo>
                <a:lnTo>
                  <a:pt x="271" y="329"/>
                </a:lnTo>
                <a:lnTo>
                  <a:pt x="276" y="331"/>
                </a:lnTo>
                <a:lnTo>
                  <a:pt x="281" y="329"/>
                </a:lnTo>
                <a:lnTo>
                  <a:pt x="283" y="329"/>
                </a:lnTo>
                <a:lnTo>
                  <a:pt x="278" y="331"/>
                </a:lnTo>
                <a:lnTo>
                  <a:pt x="274" y="341"/>
                </a:lnTo>
                <a:lnTo>
                  <a:pt x="271" y="345"/>
                </a:lnTo>
                <a:lnTo>
                  <a:pt x="269" y="350"/>
                </a:lnTo>
                <a:lnTo>
                  <a:pt x="274" y="360"/>
                </a:lnTo>
                <a:lnTo>
                  <a:pt x="278" y="367"/>
                </a:lnTo>
                <a:lnTo>
                  <a:pt x="250" y="456"/>
                </a:lnTo>
                <a:lnTo>
                  <a:pt x="245" y="471"/>
                </a:lnTo>
                <a:lnTo>
                  <a:pt x="245" y="456"/>
                </a:lnTo>
                <a:lnTo>
                  <a:pt x="243" y="362"/>
                </a:lnTo>
                <a:lnTo>
                  <a:pt x="243" y="331"/>
                </a:lnTo>
                <a:lnTo>
                  <a:pt x="245" y="317"/>
                </a:lnTo>
                <a:lnTo>
                  <a:pt x="248" y="315"/>
                </a:lnTo>
                <a:lnTo>
                  <a:pt x="229" y="322"/>
                </a:lnTo>
                <a:lnTo>
                  <a:pt x="172" y="345"/>
                </a:lnTo>
                <a:lnTo>
                  <a:pt x="115" y="369"/>
                </a:lnTo>
                <a:lnTo>
                  <a:pt x="92" y="381"/>
                </a:lnTo>
                <a:lnTo>
                  <a:pt x="78" y="390"/>
                </a:lnTo>
                <a:lnTo>
                  <a:pt x="70" y="397"/>
                </a:lnTo>
                <a:lnTo>
                  <a:pt x="66" y="407"/>
                </a:lnTo>
                <a:lnTo>
                  <a:pt x="61" y="419"/>
                </a:lnTo>
                <a:lnTo>
                  <a:pt x="59" y="430"/>
                </a:lnTo>
                <a:lnTo>
                  <a:pt x="56" y="459"/>
                </a:lnTo>
                <a:lnTo>
                  <a:pt x="52" y="489"/>
                </a:lnTo>
                <a:lnTo>
                  <a:pt x="37" y="650"/>
                </a:lnTo>
                <a:lnTo>
                  <a:pt x="28" y="726"/>
                </a:lnTo>
                <a:lnTo>
                  <a:pt x="21" y="785"/>
                </a:lnTo>
                <a:lnTo>
                  <a:pt x="16" y="851"/>
                </a:lnTo>
                <a:lnTo>
                  <a:pt x="7" y="990"/>
                </a:lnTo>
                <a:lnTo>
                  <a:pt x="0" y="1073"/>
                </a:lnTo>
                <a:lnTo>
                  <a:pt x="2" y="1078"/>
                </a:lnTo>
                <a:lnTo>
                  <a:pt x="2" y="1082"/>
                </a:lnTo>
                <a:lnTo>
                  <a:pt x="9" y="1089"/>
                </a:lnTo>
                <a:lnTo>
                  <a:pt x="16" y="1094"/>
                </a:lnTo>
                <a:lnTo>
                  <a:pt x="18" y="1097"/>
                </a:lnTo>
                <a:lnTo>
                  <a:pt x="16" y="1123"/>
                </a:lnTo>
                <a:lnTo>
                  <a:pt x="14" y="1158"/>
                </a:lnTo>
                <a:lnTo>
                  <a:pt x="16" y="1193"/>
                </a:lnTo>
                <a:lnTo>
                  <a:pt x="18" y="1210"/>
                </a:lnTo>
                <a:lnTo>
                  <a:pt x="21" y="1217"/>
                </a:lnTo>
                <a:lnTo>
                  <a:pt x="23" y="1222"/>
                </a:lnTo>
                <a:lnTo>
                  <a:pt x="30" y="1229"/>
                </a:lnTo>
                <a:lnTo>
                  <a:pt x="33" y="1234"/>
                </a:lnTo>
                <a:lnTo>
                  <a:pt x="35" y="1231"/>
                </a:lnTo>
                <a:lnTo>
                  <a:pt x="37" y="1229"/>
                </a:lnTo>
                <a:lnTo>
                  <a:pt x="35" y="1205"/>
                </a:lnTo>
                <a:lnTo>
                  <a:pt x="40" y="1215"/>
                </a:lnTo>
                <a:lnTo>
                  <a:pt x="54" y="1227"/>
                </a:lnTo>
                <a:lnTo>
                  <a:pt x="68" y="1241"/>
                </a:lnTo>
                <a:lnTo>
                  <a:pt x="78" y="1248"/>
                </a:lnTo>
                <a:lnTo>
                  <a:pt x="85" y="1248"/>
                </a:lnTo>
                <a:lnTo>
                  <a:pt x="87" y="1243"/>
                </a:lnTo>
                <a:lnTo>
                  <a:pt x="87" y="1238"/>
                </a:lnTo>
                <a:lnTo>
                  <a:pt x="94" y="1238"/>
                </a:lnTo>
                <a:lnTo>
                  <a:pt x="101" y="1238"/>
                </a:lnTo>
                <a:lnTo>
                  <a:pt x="104" y="1236"/>
                </a:lnTo>
                <a:lnTo>
                  <a:pt x="106" y="1234"/>
                </a:lnTo>
                <a:lnTo>
                  <a:pt x="104" y="1229"/>
                </a:lnTo>
                <a:lnTo>
                  <a:pt x="92" y="1217"/>
                </a:lnTo>
                <a:lnTo>
                  <a:pt x="82" y="1208"/>
                </a:lnTo>
                <a:lnTo>
                  <a:pt x="73" y="1196"/>
                </a:lnTo>
                <a:lnTo>
                  <a:pt x="66" y="1184"/>
                </a:lnTo>
                <a:lnTo>
                  <a:pt x="63" y="1172"/>
                </a:lnTo>
                <a:lnTo>
                  <a:pt x="63" y="1163"/>
                </a:lnTo>
                <a:lnTo>
                  <a:pt x="66" y="1156"/>
                </a:lnTo>
                <a:lnTo>
                  <a:pt x="68" y="1153"/>
                </a:lnTo>
                <a:lnTo>
                  <a:pt x="73" y="1153"/>
                </a:lnTo>
                <a:lnTo>
                  <a:pt x="78" y="1156"/>
                </a:lnTo>
                <a:lnTo>
                  <a:pt x="80" y="1165"/>
                </a:lnTo>
                <a:lnTo>
                  <a:pt x="82" y="1186"/>
                </a:lnTo>
                <a:lnTo>
                  <a:pt x="82" y="1191"/>
                </a:lnTo>
                <a:lnTo>
                  <a:pt x="85" y="1196"/>
                </a:lnTo>
                <a:lnTo>
                  <a:pt x="92" y="1201"/>
                </a:lnTo>
                <a:lnTo>
                  <a:pt x="99" y="1201"/>
                </a:lnTo>
                <a:lnTo>
                  <a:pt x="104" y="1201"/>
                </a:lnTo>
                <a:lnTo>
                  <a:pt x="101" y="1137"/>
                </a:lnTo>
                <a:lnTo>
                  <a:pt x="99" y="1108"/>
                </a:lnTo>
                <a:lnTo>
                  <a:pt x="99" y="1094"/>
                </a:lnTo>
                <a:lnTo>
                  <a:pt x="99" y="1087"/>
                </a:lnTo>
                <a:lnTo>
                  <a:pt x="96" y="1075"/>
                </a:lnTo>
                <a:lnTo>
                  <a:pt x="94" y="1064"/>
                </a:lnTo>
                <a:lnTo>
                  <a:pt x="92" y="1054"/>
                </a:lnTo>
                <a:lnTo>
                  <a:pt x="94" y="1030"/>
                </a:lnTo>
                <a:lnTo>
                  <a:pt x="96" y="1021"/>
                </a:lnTo>
                <a:lnTo>
                  <a:pt x="96" y="1026"/>
                </a:lnTo>
                <a:lnTo>
                  <a:pt x="99" y="1052"/>
                </a:lnTo>
                <a:lnTo>
                  <a:pt x="99" y="1087"/>
                </a:lnTo>
                <a:lnTo>
                  <a:pt x="106" y="1120"/>
                </a:lnTo>
                <a:lnTo>
                  <a:pt x="113" y="1167"/>
                </a:lnTo>
                <a:lnTo>
                  <a:pt x="125" y="1255"/>
                </a:lnTo>
                <a:lnTo>
                  <a:pt x="132" y="1349"/>
                </a:lnTo>
                <a:lnTo>
                  <a:pt x="137" y="1420"/>
                </a:lnTo>
                <a:lnTo>
                  <a:pt x="139" y="1503"/>
                </a:lnTo>
                <a:lnTo>
                  <a:pt x="144" y="1623"/>
                </a:lnTo>
                <a:lnTo>
                  <a:pt x="151" y="1803"/>
                </a:lnTo>
                <a:lnTo>
                  <a:pt x="148" y="1817"/>
                </a:lnTo>
                <a:lnTo>
                  <a:pt x="146" y="1831"/>
                </a:lnTo>
                <a:lnTo>
                  <a:pt x="139" y="1867"/>
                </a:lnTo>
                <a:lnTo>
                  <a:pt x="137" y="1883"/>
                </a:lnTo>
                <a:lnTo>
                  <a:pt x="134" y="1900"/>
                </a:lnTo>
                <a:lnTo>
                  <a:pt x="134" y="1914"/>
                </a:lnTo>
                <a:lnTo>
                  <a:pt x="139" y="1923"/>
                </a:lnTo>
                <a:lnTo>
                  <a:pt x="146" y="1940"/>
                </a:lnTo>
                <a:lnTo>
                  <a:pt x="151" y="1949"/>
                </a:lnTo>
                <a:lnTo>
                  <a:pt x="148" y="1959"/>
                </a:lnTo>
                <a:lnTo>
                  <a:pt x="141" y="1966"/>
                </a:lnTo>
                <a:lnTo>
                  <a:pt x="127" y="1978"/>
                </a:lnTo>
                <a:lnTo>
                  <a:pt x="120" y="1990"/>
                </a:lnTo>
                <a:lnTo>
                  <a:pt x="118" y="1999"/>
                </a:lnTo>
                <a:lnTo>
                  <a:pt x="115" y="2011"/>
                </a:lnTo>
                <a:lnTo>
                  <a:pt x="118" y="2016"/>
                </a:lnTo>
                <a:lnTo>
                  <a:pt x="120" y="2023"/>
                </a:lnTo>
                <a:lnTo>
                  <a:pt x="125" y="2027"/>
                </a:lnTo>
                <a:lnTo>
                  <a:pt x="132" y="2030"/>
                </a:lnTo>
                <a:lnTo>
                  <a:pt x="141" y="2034"/>
                </a:lnTo>
                <a:lnTo>
                  <a:pt x="153" y="2037"/>
                </a:lnTo>
                <a:lnTo>
                  <a:pt x="174" y="2039"/>
                </a:lnTo>
                <a:lnTo>
                  <a:pt x="193" y="2037"/>
                </a:lnTo>
                <a:lnTo>
                  <a:pt x="210" y="2034"/>
                </a:lnTo>
                <a:lnTo>
                  <a:pt x="224" y="2030"/>
                </a:lnTo>
                <a:lnTo>
                  <a:pt x="233" y="2023"/>
                </a:lnTo>
                <a:lnTo>
                  <a:pt x="243" y="2016"/>
                </a:lnTo>
                <a:lnTo>
                  <a:pt x="255" y="2001"/>
                </a:lnTo>
                <a:lnTo>
                  <a:pt x="259" y="1997"/>
                </a:lnTo>
                <a:lnTo>
                  <a:pt x="259" y="1990"/>
                </a:lnTo>
                <a:lnTo>
                  <a:pt x="259" y="1973"/>
                </a:lnTo>
                <a:lnTo>
                  <a:pt x="257" y="1956"/>
                </a:lnTo>
                <a:lnTo>
                  <a:pt x="259" y="1945"/>
                </a:lnTo>
                <a:lnTo>
                  <a:pt x="264" y="1931"/>
                </a:lnTo>
                <a:lnTo>
                  <a:pt x="269" y="1919"/>
                </a:lnTo>
                <a:lnTo>
                  <a:pt x="271" y="1907"/>
                </a:lnTo>
                <a:lnTo>
                  <a:pt x="269" y="1897"/>
                </a:lnTo>
                <a:lnTo>
                  <a:pt x="269" y="1886"/>
                </a:lnTo>
                <a:lnTo>
                  <a:pt x="262" y="1867"/>
                </a:lnTo>
                <a:lnTo>
                  <a:pt x="252" y="1850"/>
                </a:lnTo>
                <a:lnTo>
                  <a:pt x="250" y="1838"/>
                </a:lnTo>
                <a:lnTo>
                  <a:pt x="250" y="1819"/>
                </a:lnTo>
                <a:lnTo>
                  <a:pt x="257" y="1775"/>
                </a:lnTo>
                <a:lnTo>
                  <a:pt x="264" y="1720"/>
                </a:lnTo>
                <a:lnTo>
                  <a:pt x="269" y="1668"/>
                </a:lnTo>
                <a:lnTo>
                  <a:pt x="274" y="1614"/>
                </a:lnTo>
                <a:lnTo>
                  <a:pt x="278" y="1548"/>
                </a:lnTo>
                <a:lnTo>
                  <a:pt x="285" y="1470"/>
                </a:lnTo>
                <a:lnTo>
                  <a:pt x="293" y="1373"/>
                </a:lnTo>
                <a:lnTo>
                  <a:pt x="295" y="1328"/>
                </a:lnTo>
                <a:lnTo>
                  <a:pt x="297" y="1293"/>
                </a:lnTo>
                <a:lnTo>
                  <a:pt x="302" y="1264"/>
                </a:lnTo>
                <a:lnTo>
                  <a:pt x="307" y="1245"/>
                </a:lnTo>
                <a:lnTo>
                  <a:pt x="311" y="1231"/>
                </a:lnTo>
                <a:lnTo>
                  <a:pt x="316" y="1224"/>
                </a:lnTo>
                <a:lnTo>
                  <a:pt x="318" y="1219"/>
                </a:lnTo>
                <a:lnTo>
                  <a:pt x="321" y="1243"/>
                </a:lnTo>
                <a:lnTo>
                  <a:pt x="323" y="1271"/>
                </a:lnTo>
                <a:lnTo>
                  <a:pt x="335" y="1340"/>
                </a:lnTo>
                <a:lnTo>
                  <a:pt x="344" y="1406"/>
                </a:lnTo>
                <a:lnTo>
                  <a:pt x="352" y="1458"/>
                </a:lnTo>
                <a:lnTo>
                  <a:pt x="356" y="1498"/>
                </a:lnTo>
                <a:lnTo>
                  <a:pt x="363" y="1534"/>
                </a:lnTo>
                <a:lnTo>
                  <a:pt x="370" y="1571"/>
                </a:lnTo>
                <a:lnTo>
                  <a:pt x="375" y="1609"/>
                </a:lnTo>
                <a:lnTo>
                  <a:pt x="380" y="1652"/>
                </a:lnTo>
                <a:lnTo>
                  <a:pt x="382" y="1697"/>
                </a:lnTo>
                <a:lnTo>
                  <a:pt x="382" y="1718"/>
                </a:lnTo>
                <a:lnTo>
                  <a:pt x="380" y="1737"/>
                </a:lnTo>
                <a:lnTo>
                  <a:pt x="378" y="1756"/>
                </a:lnTo>
                <a:lnTo>
                  <a:pt x="370" y="1772"/>
                </a:lnTo>
                <a:lnTo>
                  <a:pt x="363" y="1793"/>
                </a:lnTo>
                <a:lnTo>
                  <a:pt x="363" y="1810"/>
                </a:lnTo>
                <a:lnTo>
                  <a:pt x="366" y="1824"/>
                </a:lnTo>
                <a:lnTo>
                  <a:pt x="368" y="1843"/>
                </a:lnTo>
                <a:lnTo>
                  <a:pt x="363" y="1864"/>
                </a:lnTo>
                <a:lnTo>
                  <a:pt x="359" y="1886"/>
                </a:lnTo>
                <a:lnTo>
                  <a:pt x="352" y="1905"/>
                </a:lnTo>
                <a:lnTo>
                  <a:pt x="349" y="1921"/>
                </a:lnTo>
                <a:lnTo>
                  <a:pt x="349" y="1926"/>
                </a:lnTo>
                <a:lnTo>
                  <a:pt x="352" y="1933"/>
                </a:lnTo>
                <a:lnTo>
                  <a:pt x="361" y="1945"/>
                </a:lnTo>
                <a:lnTo>
                  <a:pt x="370" y="1956"/>
                </a:lnTo>
                <a:lnTo>
                  <a:pt x="370" y="1961"/>
                </a:lnTo>
                <a:lnTo>
                  <a:pt x="368" y="1966"/>
                </a:lnTo>
                <a:lnTo>
                  <a:pt x="359" y="1973"/>
                </a:lnTo>
                <a:lnTo>
                  <a:pt x="354" y="1985"/>
                </a:lnTo>
                <a:lnTo>
                  <a:pt x="349" y="1997"/>
                </a:lnTo>
                <a:lnTo>
                  <a:pt x="349" y="2011"/>
                </a:lnTo>
                <a:lnTo>
                  <a:pt x="349" y="2025"/>
                </a:lnTo>
                <a:lnTo>
                  <a:pt x="352" y="2030"/>
                </a:lnTo>
                <a:lnTo>
                  <a:pt x="356" y="2034"/>
                </a:lnTo>
                <a:lnTo>
                  <a:pt x="363" y="2039"/>
                </a:lnTo>
                <a:lnTo>
                  <a:pt x="375" y="2044"/>
                </a:lnTo>
                <a:lnTo>
                  <a:pt x="389" y="2044"/>
                </a:lnTo>
                <a:lnTo>
                  <a:pt x="408" y="2046"/>
                </a:lnTo>
                <a:lnTo>
                  <a:pt x="427" y="2044"/>
                </a:lnTo>
                <a:lnTo>
                  <a:pt x="444" y="2039"/>
                </a:lnTo>
                <a:lnTo>
                  <a:pt x="453" y="2034"/>
                </a:lnTo>
                <a:lnTo>
                  <a:pt x="463" y="2027"/>
                </a:lnTo>
                <a:lnTo>
                  <a:pt x="470" y="2020"/>
                </a:lnTo>
                <a:lnTo>
                  <a:pt x="472" y="2011"/>
                </a:lnTo>
                <a:lnTo>
                  <a:pt x="474" y="1997"/>
                </a:lnTo>
                <a:lnTo>
                  <a:pt x="472" y="1973"/>
                </a:lnTo>
                <a:lnTo>
                  <a:pt x="472" y="1964"/>
                </a:lnTo>
                <a:lnTo>
                  <a:pt x="474" y="1956"/>
                </a:lnTo>
                <a:lnTo>
                  <a:pt x="479" y="1949"/>
                </a:lnTo>
                <a:lnTo>
                  <a:pt x="486" y="1935"/>
                </a:lnTo>
                <a:lnTo>
                  <a:pt x="491" y="1919"/>
                </a:lnTo>
                <a:lnTo>
                  <a:pt x="491" y="1900"/>
                </a:lnTo>
                <a:lnTo>
                  <a:pt x="491" y="1879"/>
                </a:lnTo>
                <a:lnTo>
                  <a:pt x="491" y="1869"/>
                </a:lnTo>
                <a:lnTo>
                  <a:pt x="493" y="1862"/>
                </a:lnTo>
                <a:lnTo>
                  <a:pt x="498" y="1848"/>
                </a:lnTo>
                <a:lnTo>
                  <a:pt x="503" y="1824"/>
                </a:lnTo>
                <a:lnTo>
                  <a:pt x="507" y="1803"/>
                </a:lnTo>
                <a:lnTo>
                  <a:pt x="510" y="1777"/>
                </a:lnTo>
                <a:lnTo>
                  <a:pt x="510" y="1704"/>
                </a:lnTo>
                <a:lnTo>
                  <a:pt x="507" y="1628"/>
                </a:lnTo>
                <a:lnTo>
                  <a:pt x="564" y="1616"/>
                </a:lnTo>
                <a:lnTo>
                  <a:pt x="635" y="1597"/>
                </a:lnTo>
                <a:lnTo>
                  <a:pt x="725" y="1571"/>
                </a:lnTo>
                <a:lnTo>
                  <a:pt x="730" y="1569"/>
                </a:lnTo>
                <a:lnTo>
                  <a:pt x="734" y="1567"/>
                </a:lnTo>
                <a:lnTo>
                  <a:pt x="739" y="1560"/>
                </a:lnTo>
                <a:lnTo>
                  <a:pt x="741" y="1550"/>
                </a:lnTo>
                <a:lnTo>
                  <a:pt x="741" y="1491"/>
                </a:lnTo>
                <a:lnTo>
                  <a:pt x="739" y="137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06" name="Freeform 79"/>
          <p:cNvSpPr>
            <a:spLocks noEditPoints="1"/>
          </p:cNvSpPr>
          <p:nvPr>
            <p:custDataLst>
              <p:tags r:id="rId27"/>
            </p:custDataLst>
          </p:nvPr>
        </p:nvSpPr>
        <p:spPr bwMode="gray">
          <a:xfrm>
            <a:off x="4572000" y="1992450"/>
            <a:ext cx="176212" cy="584200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07" name="Freeform 96"/>
          <p:cNvSpPr>
            <a:spLocks noChangeAspect="1" noEditPoints="1"/>
          </p:cNvSpPr>
          <p:nvPr>
            <p:custDataLst>
              <p:tags r:id="rId28"/>
            </p:custDataLst>
          </p:nvPr>
        </p:nvSpPr>
        <p:spPr bwMode="gray">
          <a:xfrm flipH="1">
            <a:off x="4795445" y="1890232"/>
            <a:ext cx="149225" cy="465137"/>
          </a:xfrm>
          <a:custGeom>
            <a:avLst/>
            <a:gdLst>
              <a:gd name="T0" fmla="*/ 270 w 306"/>
              <a:gd name="T1" fmla="*/ 314 h 957"/>
              <a:gd name="T2" fmla="*/ 250 w 306"/>
              <a:gd name="T3" fmla="*/ 172 h 957"/>
              <a:gd name="T4" fmla="*/ 224 w 306"/>
              <a:gd name="T5" fmla="*/ 147 h 957"/>
              <a:gd name="T6" fmla="*/ 226 w 306"/>
              <a:gd name="T7" fmla="*/ 102 h 957"/>
              <a:gd name="T8" fmla="*/ 209 w 306"/>
              <a:gd name="T9" fmla="*/ 49 h 957"/>
              <a:gd name="T10" fmla="*/ 191 w 306"/>
              <a:gd name="T11" fmla="*/ 6 h 957"/>
              <a:gd name="T12" fmla="*/ 138 w 306"/>
              <a:gd name="T13" fmla="*/ 8 h 957"/>
              <a:gd name="T14" fmla="*/ 116 w 306"/>
              <a:gd name="T15" fmla="*/ 41 h 957"/>
              <a:gd name="T16" fmla="*/ 101 w 306"/>
              <a:gd name="T17" fmla="*/ 79 h 957"/>
              <a:gd name="T18" fmla="*/ 93 w 306"/>
              <a:gd name="T19" fmla="*/ 113 h 957"/>
              <a:gd name="T20" fmla="*/ 95 w 306"/>
              <a:gd name="T21" fmla="*/ 118 h 957"/>
              <a:gd name="T22" fmla="*/ 97 w 306"/>
              <a:gd name="T23" fmla="*/ 124 h 957"/>
              <a:gd name="T24" fmla="*/ 87 w 306"/>
              <a:gd name="T25" fmla="*/ 154 h 957"/>
              <a:gd name="T26" fmla="*/ 55 w 306"/>
              <a:gd name="T27" fmla="*/ 189 h 957"/>
              <a:gd name="T28" fmla="*/ 53 w 306"/>
              <a:gd name="T29" fmla="*/ 427 h 957"/>
              <a:gd name="T30" fmla="*/ 53 w 306"/>
              <a:gd name="T31" fmla="*/ 488 h 957"/>
              <a:gd name="T32" fmla="*/ 5 w 306"/>
              <a:gd name="T33" fmla="*/ 501 h 957"/>
              <a:gd name="T34" fmla="*/ 8 w 306"/>
              <a:gd name="T35" fmla="*/ 684 h 957"/>
              <a:gd name="T36" fmla="*/ 87 w 306"/>
              <a:gd name="T37" fmla="*/ 838 h 957"/>
              <a:gd name="T38" fmla="*/ 76 w 306"/>
              <a:gd name="T39" fmla="*/ 939 h 957"/>
              <a:gd name="T40" fmla="*/ 94 w 306"/>
              <a:gd name="T41" fmla="*/ 956 h 957"/>
              <a:gd name="T42" fmla="*/ 102 w 306"/>
              <a:gd name="T43" fmla="*/ 870 h 957"/>
              <a:gd name="T44" fmla="*/ 130 w 306"/>
              <a:gd name="T45" fmla="*/ 707 h 957"/>
              <a:gd name="T46" fmla="*/ 183 w 306"/>
              <a:gd name="T47" fmla="*/ 639 h 957"/>
              <a:gd name="T48" fmla="*/ 192 w 306"/>
              <a:gd name="T49" fmla="*/ 741 h 957"/>
              <a:gd name="T50" fmla="*/ 202 w 306"/>
              <a:gd name="T51" fmla="*/ 885 h 957"/>
              <a:gd name="T52" fmla="*/ 211 w 306"/>
              <a:gd name="T53" fmla="*/ 910 h 957"/>
              <a:gd name="T54" fmla="*/ 222 w 306"/>
              <a:gd name="T55" fmla="*/ 941 h 957"/>
              <a:gd name="T56" fmla="*/ 258 w 306"/>
              <a:gd name="T57" fmla="*/ 947 h 957"/>
              <a:gd name="T58" fmla="*/ 227 w 306"/>
              <a:gd name="T59" fmla="*/ 873 h 957"/>
              <a:gd name="T60" fmla="*/ 227 w 306"/>
              <a:gd name="T61" fmla="*/ 657 h 957"/>
              <a:gd name="T62" fmla="*/ 245 w 306"/>
              <a:gd name="T63" fmla="*/ 630 h 957"/>
              <a:gd name="T64" fmla="*/ 258 w 306"/>
              <a:gd name="T65" fmla="*/ 441 h 957"/>
              <a:gd name="T66" fmla="*/ 281 w 306"/>
              <a:gd name="T67" fmla="*/ 481 h 957"/>
              <a:gd name="T68" fmla="*/ 286 w 306"/>
              <a:gd name="T69" fmla="*/ 492 h 957"/>
              <a:gd name="T70" fmla="*/ 295 w 306"/>
              <a:gd name="T71" fmla="*/ 495 h 957"/>
              <a:gd name="T72" fmla="*/ 305 w 306"/>
              <a:gd name="T73" fmla="*/ 497 h 957"/>
              <a:gd name="T74" fmla="*/ 63 w 306"/>
              <a:gd name="T75" fmla="*/ 500 h 957"/>
              <a:gd name="T76" fmla="*/ 74 w 306"/>
              <a:gd name="T77" fmla="*/ 495 h 957"/>
              <a:gd name="T78" fmla="*/ 81 w 306"/>
              <a:gd name="T79" fmla="*/ 479 h 957"/>
              <a:gd name="T80" fmla="*/ 79 w 306"/>
              <a:gd name="T81" fmla="*/ 455 h 957"/>
              <a:gd name="T82" fmla="*/ 87 w 306"/>
              <a:gd name="T83" fmla="*/ 442 h 957"/>
              <a:gd name="T84" fmla="*/ 99 w 306"/>
              <a:gd name="T85" fmla="*/ 126 h 957"/>
              <a:gd name="T86" fmla="*/ 213 w 306"/>
              <a:gd name="T87" fmla="*/ 188 h 957"/>
              <a:gd name="T88" fmla="*/ 187 w 306"/>
              <a:gd name="T89" fmla="*/ 251 h 957"/>
              <a:gd name="T90" fmla="*/ 189 w 306"/>
              <a:gd name="T91" fmla="*/ 382 h 957"/>
              <a:gd name="T92" fmla="*/ 172 w 306"/>
              <a:gd name="T93" fmla="*/ 391 h 957"/>
              <a:gd name="T94" fmla="*/ 146 w 306"/>
              <a:gd name="T95" fmla="*/ 374 h 957"/>
              <a:gd name="T96" fmla="*/ 151 w 306"/>
              <a:gd name="T97" fmla="*/ 232 h 957"/>
              <a:gd name="T98" fmla="*/ 133 w 306"/>
              <a:gd name="T99" fmla="*/ 184 h 957"/>
              <a:gd name="T100" fmla="*/ 122 w 306"/>
              <a:gd name="T101" fmla="*/ 159 h 957"/>
              <a:gd name="T102" fmla="*/ 131 w 306"/>
              <a:gd name="T103" fmla="*/ 151 h 957"/>
              <a:gd name="T104" fmla="*/ 167 w 306"/>
              <a:gd name="T105" fmla="*/ 195 h 957"/>
              <a:gd name="T106" fmla="*/ 190 w 306"/>
              <a:gd name="T107" fmla="*/ 158 h 957"/>
              <a:gd name="T108" fmla="*/ 218 w 306"/>
              <a:gd name="T109" fmla="*/ 87 h 957"/>
              <a:gd name="T110" fmla="*/ 225 w 306"/>
              <a:gd name="T111" fmla="*/ 104 h 957"/>
              <a:gd name="T112" fmla="*/ 226 w 306"/>
              <a:gd name="T113" fmla="*/ 119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6" h="957">
                <a:moveTo>
                  <a:pt x="304" y="482"/>
                </a:moveTo>
                <a:cubicBezTo>
                  <a:pt x="302" y="477"/>
                  <a:pt x="302" y="477"/>
                  <a:pt x="302" y="477"/>
                </a:cubicBezTo>
                <a:cubicBezTo>
                  <a:pt x="293" y="461"/>
                  <a:pt x="293" y="461"/>
                  <a:pt x="293" y="461"/>
                </a:cubicBezTo>
                <a:cubicBezTo>
                  <a:pt x="288" y="453"/>
                  <a:pt x="288" y="453"/>
                  <a:pt x="288" y="453"/>
                </a:cubicBezTo>
                <a:cubicBezTo>
                  <a:pt x="286" y="446"/>
                  <a:pt x="286" y="446"/>
                  <a:pt x="286" y="446"/>
                </a:cubicBezTo>
                <a:cubicBezTo>
                  <a:pt x="275" y="355"/>
                  <a:pt x="275" y="355"/>
                  <a:pt x="275" y="355"/>
                </a:cubicBezTo>
                <a:cubicBezTo>
                  <a:pt x="270" y="314"/>
                  <a:pt x="270" y="314"/>
                  <a:pt x="270" y="314"/>
                </a:cubicBezTo>
                <a:cubicBezTo>
                  <a:pt x="266" y="271"/>
                  <a:pt x="266" y="271"/>
                  <a:pt x="266" y="271"/>
                </a:cubicBezTo>
                <a:cubicBezTo>
                  <a:pt x="262" y="232"/>
                  <a:pt x="262" y="232"/>
                  <a:pt x="262" y="232"/>
                </a:cubicBezTo>
                <a:cubicBezTo>
                  <a:pt x="258" y="204"/>
                  <a:pt x="258" y="204"/>
                  <a:pt x="258" y="204"/>
                </a:cubicBezTo>
                <a:cubicBezTo>
                  <a:pt x="255" y="189"/>
                  <a:pt x="255" y="189"/>
                  <a:pt x="255" y="189"/>
                </a:cubicBezTo>
                <a:cubicBezTo>
                  <a:pt x="254" y="183"/>
                  <a:pt x="254" y="183"/>
                  <a:pt x="254" y="183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0" y="172"/>
                  <a:pt x="250" y="172"/>
                  <a:pt x="250" y="172"/>
                </a:cubicBezTo>
                <a:cubicBezTo>
                  <a:pt x="247" y="167"/>
                  <a:pt x="247" y="167"/>
                  <a:pt x="247" y="167"/>
                </a:cubicBezTo>
                <a:cubicBezTo>
                  <a:pt x="241" y="163"/>
                  <a:pt x="241" y="163"/>
                  <a:pt x="241" y="163"/>
                </a:cubicBezTo>
                <a:cubicBezTo>
                  <a:pt x="233" y="158"/>
                  <a:pt x="233" y="158"/>
                  <a:pt x="233" y="158"/>
                </a:cubicBezTo>
                <a:cubicBezTo>
                  <a:pt x="228" y="156"/>
                  <a:pt x="228" y="156"/>
                  <a:pt x="228" y="156"/>
                </a:cubicBezTo>
                <a:cubicBezTo>
                  <a:pt x="227" y="155"/>
                  <a:pt x="227" y="155"/>
                  <a:pt x="227" y="155"/>
                </a:cubicBezTo>
                <a:cubicBezTo>
                  <a:pt x="225" y="151"/>
                  <a:pt x="225" y="151"/>
                  <a:pt x="225" y="151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224" y="142"/>
                  <a:pt x="224" y="142"/>
                  <a:pt x="224" y="142"/>
                </a:cubicBezTo>
                <a:cubicBezTo>
                  <a:pt x="225" y="135"/>
                  <a:pt x="225" y="135"/>
                  <a:pt x="225" y="135"/>
                </a:cubicBezTo>
                <a:cubicBezTo>
                  <a:pt x="227" y="131"/>
                  <a:pt x="227" y="131"/>
                  <a:pt x="227" y="131"/>
                </a:cubicBezTo>
                <a:cubicBezTo>
                  <a:pt x="229" y="127"/>
                  <a:pt x="229" y="127"/>
                  <a:pt x="229" y="127"/>
                </a:cubicBezTo>
                <a:cubicBezTo>
                  <a:pt x="230" y="118"/>
                  <a:pt x="230" y="118"/>
                  <a:pt x="230" y="118"/>
                </a:cubicBezTo>
                <a:cubicBezTo>
                  <a:pt x="229" y="110"/>
                  <a:pt x="229" y="110"/>
                  <a:pt x="229" y="110"/>
                </a:cubicBezTo>
                <a:cubicBezTo>
                  <a:pt x="226" y="102"/>
                  <a:pt x="226" y="102"/>
                  <a:pt x="226" y="102"/>
                </a:cubicBezTo>
                <a:cubicBezTo>
                  <a:pt x="226" y="97"/>
                  <a:pt x="226" y="97"/>
                  <a:pt x="226" y="97"/>
                </a:cubicBezTo>
                <a:cubicBezTo>
                  <a:pt x="225" y="91"/>
                  <a:pt x="225" y="91"/>
                  <a:pt x="225" y="91"/>
                </a:cubicBezTo>
                <a:cubicBezTo>
                  <a:pt x="222" y="84"/>
                  <a:pt x="222" y="84"/>
                  <a:pt x="222" y="84"/>
                </a:cubicBezTo>
                <a:cubicBezTo>
                  <a:pt x="217" y="75"/>
                  <a:pt x="217" y="75"/>
                  <a:pt x="217" y="75"/>
                </a:cubicBezTo>
                <a:cubicBezTo>
                  <a:pt x="214" y="69"/>
                  <a:pt x="214" y="69"/>
                  <a:pt x="214" y="69"/>
                </a:cubicBezTo>
                <a:cubicBezTo>
                  <a:pt x="212" y="63"/>
                  <a:pt x="212" y="63"/>
                  <a:pt x="212" y="63"/>
                </a:cubicBezTo>
                <a:cubicBezTo>
                  <a:pt x="209" y="49"/>
                  <a:pt x="209" y="49"/>
                  <a:pt x="209" y="49"/>
                </a:cubicBezTo>
                <a:cubicBezTo>
                  <a:pt x="208" y="34"/>
                  <a:pt x="208" y="34"/>
                  <a:pt x="208" y="34"/>
                </a:cubicBezTo>
                <a:cubicBezTo>
                  <a:pt x="207" y="29"/>
                  <a:pt x="207" y="29"/>
                  <a:pt x="207" y="29"/>
                </a:cubicBezTo>
                <a:cubicBezTo>
                  <a:pt x="206" y="25"/>
                  <a:pt x="206" y="25"/>
                  <a:pt x="206" y="25"/>
                </a:cubicBezTo>
                <a:cubicBezTo>
                  <a:pt x="202" y="18"/>
                  <a:pt x="202" y="18"/>
                  <a:pt x="202" y="18"/>
                </a:cubicBezTo>
                <a:cubicBezTo>
                  <a:pt x="199" y="13"/>
                  <a:pt x="199" y="13"/>
                  <a:pt x="199" y="13"/>
                </a:cubicBezTo>
                <a:cubicBezTo>
                  <a:pt x="195" y="9"/>
                  <a:pt x="195" y="9"/>
                  <a:pt x="195" y="9"/>
                </a:cubicBezTo>
                <a:cubicBezTo>
                  <a:pt x="191" y="6"/>
                  <a:pt x="191" y="6"/>
                  <a:pt x="191" y="6"/>
                </a:cubicBezTo>
                <a:cubicBezTo>
                  <a:pt x="185" y="3"/>
                  <a:pt x="185" y="3"/>
                  <a:pt x="185" y="3"/>
                </a:cubicBezTo>
                <a:cubicBezTo>
                  <a:pt x="179" y="1"/>
                  <a:pt x="179" y="1"/>
                  <a:pt x="179" y="1"/>
                </a:cubicBezTo>
                <a:cubicBezTo>
                  <a:pt x="172" y="0"/>
                  <a:pt x="172" y="0"/>
                  <a:pt x="172" y="0"/>
                </a:cubicBezTo>
                <a:cubicBezTo>
                  <a:pt x="165" y="0"/>
                  <a:pt x="165" y="0"/>
                  <a:pt x="165" y="0"/>
                </a:cubicBezTo>
                <a:cubicBezTo>
                  <a:pt x="156" y="1"/>
                  <a:pt x="156" y="1"/>
                  <a:pt x="156" y="1"/>
                </a:cubicBezTo>
                <a:cubicBezTo>
                  <a:pt x="147" y="4"/>
                  <a:pt x="147" y="4"/>
                  <a:pt x="147" y="4"/>
                </a:cubicBezTo>
                <a:cubicBezTo>
                  <a:pt x="138" y="8"/>
                  <a:pt x="138" y="8"/>
                  <a:pt x="138" y="8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0" y="14"/>
                  <a:pt x="130" y="14"/>
                  <a:pt x="130" y="14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5" y="49"/>
                  <a:pt x="115" y="49"/>
                  <a:pt x="115" y="49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06" y="72"/>
                  <a:pt x="106" y="72"/>
                  <a:pt x="106" y="72"/>
                </a:cubicBezTo>
                <a:cubicBezTo>
                  <a:pt x="103" y="76"/>
                  <a:pt x="103" y="76"/>
                  <a:pt x="103" y="76"/>
                </a:cubicBezTo>
                <a:cubicBezTo>
                  <a:pt x="100" y="79"/>
                  <a:pt x="100" y="79"/>
                  <a:pt x="100" y="79"/>
                </a:cubicBezTo>
                <a:cubicBezTo>
                  <a:pt x="101" y="79"/>
                  <a:pt x="101" y="79"/>
                  <a:pt x="101" y="79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8" y="73"/>
                  <a:pt x="108" y="73"/>
                  <a:pt x="108" y="73"/>
                </a:cubicBezTo>
                <a:cubicBezTo>
                  <a:pt x="112" y="65"/>
                  <a:pt x="112" y="65"/>
                  <a:pt x="112" y="65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00" y="92"/>
                  <a:pt x="100" y="92"/>
                  <a:pt x="100" y="92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93" y="113"/>
                  <a:pt x="93" y="113"/>
                  <a:pt x="93" y="113"/>
                </a:cubicBezTo>
                <a:cubicBezTo>
                  <a:pt x="92" y="118"/>
                  <a:pt x="92" y="118"/>
                  <a:pt x="92" y="118"/>
                </a:cubicBezTo>
                <a:cubicBezTo>
                  <a:pt x="92" y="124"/>
                  <a:pt x="92" y="124"/>
                  <a:pt x="92" y="124"/>
                </a:cubicBezTo>
                <a:cubicBezTo>
                  <a:pt x="93" y="131"/>
                  <a:pt x="93" y="131"/>
                  <a:pt x="93" y="131"/>
                </a:cubicBezTo>
                <a:cubicBezTo>
                  <a:pt x="95" y="137"/>
                  <a:pt x="95" y="137"/>
                  <a:pt x="95" y="137"/>
                </a:cubicBezTo>
                <a:cubicBezTo>
                  <a:pt x="95" y="133"/>
                  <a:pt x="95" y="133"/>
                  <a:pt x="95" y="133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95" y="118"/>
                  <a:pt x="95" y="118"/>
                  <a:pt x="95" y="118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99" y="104"/>
                  <a:pt x="99" y="104"/>
                  <a:pt x="99" y="104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101" y="103"/>
                  <a:pt x="101" y="103"/>
                  <a:pt x="101" y="103"/>
                </a:cubicBezTo>
                <a:cubicBezTo>
                  <a:pt x="100" y="109"/>
                  <a:pt x="100" y="109"/>
                  <a:pt x="100" y="109"/>
                </a:cubicBezTo>
                <a:cubicBezTo>
                  <a:pt x="98" y="116"/>
                  <a:pt x="98" y="116"/>
                  <a:pt x="98" y="116"/>
                </a:cubicBezTo>
                <a:cubicBezTo>
                  <a:pt x="97" y="124"/>
                  <a:pt x="97" y="124"/>
                  <a:pt x="97" y="124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1" y="147"/>
                  <a:pt x="101" y="147"/>
                  <a:pt x="101" y="147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5" y="153"/>
                  <a:pt x="95" y="153"/>
                  <a:pt x="95" y="153"/>
                </a:cubicBezTo>
                <a:cubicBezTo>
                  <a:pt x="87" y="154"/>
                  <a:pt x="87" y="154"/>
                  <a:pt x="87" y="154"/>
                </a:cubicBezTo>
                <a:cubicBezTo>
                  <a:pt x="80" y="156"/>
                  <a:pt x="80" y="156"/>
                  <a:pt x="80" y="156"/>
                </a:cubicBezTo>
                <a:cubicBezTo>
                  <a:pt x="73" y="159"/>
                  <a:pt x="73" y="159"/>
                  <a:pt x="73" y="159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63" y="168"/>
                  <a:pt x="63" y="168"/>
                  <a:pt x="63" y="168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57" y="182"/>
                  <a:pt x="57" y="182"/>
                  <a:pt x="57" y="182"/>
                </a:cubicBezTo>
                <a:cubicBezTo>
                  <a:pt x="55" y="189"/>
                  <a:pt x="55" y="189"/>
                  <a:pt x="55" y="189"/>
                </a:cubicBezTo>
                <a:cubicBezTo>
                  <a:pt x="55" y="197"/>
                  <a:pt x="55" y="197"/>
                  <a:pt x="55" y="197"/>
                </a:cubicBezTo>
                <a:cubicBezTo>
                  <a:pt x="51" y="301"/>
                  <a:pt x="51" y="301"/>
                  <a:pt x="51" y="301"/>
                </a:cubicBezTo>
                <a:cubicBezTo>
                  <a:pt x="50" y="366"/>
                  <a:pt x="50" y="366"/>
                  <a:pt x="50" y="366"/>
                </a:cubicBezTo>
                <a:cubicBezTo>
                  <a:pt x="50" y="389"/>
                  <a:pt x="50" y="389"/>
                  <a:pt x="50" y="389"/>
                </a:cubicBezTo>
                <a:cubicBezTo>
                  <a:pt x="50" y="403"/>
                  <a:pt x="50" y="403"/>
                  <a:pt x="50" y="403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53" y="427"/>
                  <a:pt x="53" y="427"/>
                  <a:pt x="53" y="427"/>
                </a:cubicBezTo>
                <a:cubicBezTo>
                  <a:pt x="54" y="444"/>
                  <a:pt x="54" y="444"/>
                  <a:pt x="54" y="444"/>
                </a:cubicBezTo>
                <a:cubicBezTo>
                  <a:pt x="53" y="465"/>
                  <a:pt x="53" y="465"/>
                  <a:pt x="53" y="465"/>
                </a:cubicBezTo>
                <a:cubicBezTo>
                  <a:pt x="53" y="475"/>
                  <a:pt x="53" y="475"/>
                  <a:pt x="53" y="475"/>
                </a:cubicBezTo>
                <a:cubicBezTo>
                  <a:pt x="53" y="479"/>
                  <a:pt x="53" y="479"/>
                  <a:pt x="53" y="479"/>
                </a:cubicBezTo>
                <a:cubicBezTo>
                  <a:pt x="55" y="481"/>
                  <a:pt x="55" y="481"/>
                  <a:pt x="55" y="481"/>
                </a:cubicBezTo>
                <a:cubicBezTo>
                  <a:pt x="56" y="482"/>
                  <a:pt x="56" y="482"/>
                  <a:pt x="56" y="482"/>
                </a:cubicBezTo>
                <a:cubicBezTo>
                  <a:pt x="53" y="488"/>
                  <a:pt x="53" y="488"/>
                  <a:pt x="53" y="488"/>
                </a:cubicBezTo>
                <a:cubicBezTo>
                  <a:pt x="52" y="495"/>
                  <a:pt x="52" y="495"/>
                  <a:pt x="52" y="495"/>
                </a:cubicBezTo>
                <a:cubicBezTo>
                  <a:pt x="27" y="494"/>
                  <a:pt x="27" y="494"/>
                  <a:pt x="27" y="494"/>
                </a:cubicBezTo>
                <a:cubicBezTo>
                  <a:pt x="21" y="494"/>
                  <a:pt x="21" y="494"/>
                  <a:pt x="21" y="494"/>
                </a:cubicBezTo>
                <a:cubicBezTo>
                  <a:pt x="14" y="496"/>
                  <a:pt x="14" y="496"/>
                  <a:pt x="14" y="496"/>
                </a:cubicBezTo>
                <a:cubicBezTo>
                  <a:pt x="8" y="498"/>
                  <a:pt x="8" y="498"/>
                  <a:pt x="8" y="498"/>
                </a:cubicBezTo>
                <a:cubicBezTo>
                  <a:pt x="6" y="500"/>
                  <a:pt x="6" y="500"/>
                  <a:pt x="6" y="500"/>
                </a:cubicBezTo>
                <a:cubicBezTo>
                  <a:pt x="5" y="501"/>
                  <a:pt x="5" y="501"/>
                  <a:pt x="5" y="501"/>
                </a:cubicBezTo>
                <a:cubicBezTo>
                  <a:pt x="2" y="585"/>
                  <a:pt x="2" y="585"/>
                  <a:pt x="2" y="585"/>
                </a:cubicBezTo>
                <a:cubicBezTo>
                  <a:pt x="0" y="643"/>
                  <a:pt x="0" y="643"/>
                  <a:pt x="0" y="643"/>
                </a:cubicBezTo>
                <a:cubicBezTo>
                  <a:pt x="0" y="673"/>
                  <a:pt x="0" y="673"/>
                  <a:pt x="0" y="673"/>
                </a:cubicBezTo>
                <a:cubicBezTo>
                  <a:pt x="1" y="678"/>
                  <a:pt x="1" y="678"/>
                  <a:pt x="1" y="678"/>
                </a:cubicBezTo>
                <a:cubicBezTo>
                  <a:pt x="3" y="681"/>
                  <a:pt x="3" y="681"/>
                  <a:pt x="3" y="681"/>
                </a:cubicBezTo>
                <a:cubicBezTo>
                  <a:pt x="6" y="682"/>
                  <a:pt x="6" y="682"/>
                  <a:pt x="6" y="682"/>
                </a:cubicBezTo>
                <a:cubicBezTo>
                  <a:pt x="8" y="684"/>
                  <a:pt x="8" y="684"/>
                  <a:pt x="8" y="684"/>
                </a:cubicBezTo>
                <a:cubicBezTo>
                  <a:pt x="38" y="692"/>
                  <a:pt x="38" y="692"/>
                  <a:pt x="38" y="692"/>
                </a:cubicBezTo>
                <a:cubicBezTo>
                  <a:pt x="90" y="706"/>
                  <a:pt x="90" y="706"/>
                  <a:pt x="90" y="706"/>
                </a:cubicBezTo>
                <a:cubicBezTo>
                  <a:pt x="88" y="722"/>
                  <a:pt x="88" y="722"/>
                  <a:pt x="88" y="722"/>
                </a:cubicBezTo>
                <a:cubicBezTo>
                  <a:pt x="87" y="740"/>
                  <a:pt x="87" y="740"/>
                  <a:pt x="87" y="740"/>
                </a:cubicBezTo>
                <a:cubicBezTo>
                  <a:pt x="88" y="794"/>
                  <a:pt x="88" y="794"/>
                  <a:pt x="88" y="794"/>
                </a:cubicBezTo>
                <a:cubicBezTo>
                  <a:pt x="87" y="821"/>
                  <a:pt x="87" y="821"/>
                  <a:pt x="87" y="821"/>
                </a:cubicBezTo>
                <a:cubicBezTo>
                  <a:pt x="87" y="838"/>
                  <a:pt x="87" y="838"/>
                  <a:pt x="87" y="838"/>
                </a:cubicBezTo>
                <a:cubicBezTo>
                  <a:pt x="82" y="872"/>
                  <a:pt x="82" y="872"/>
                  <a:pt x="82" y="872"/>
                </a:cubicBezTo>
                <a:cubicBezTo>
                  <a:pt x="80" y="892"/>
                  <a:pt x="80" y="892"/>
                  <a:pt x="80" y="892"/>
                </a:cubicBezTo>
                <a:cubicBezTo>
                  <a:pt x="76" y="907"/>
                  <a:pt x="76" y="907"/>
                  <a:pt x="76" y="907"/>
                </a:cubicBezTo>
                <a:cubicBezTo>
                  <a:pt x="75" y="914"/>
                  <a:pt x="75" y="914"/>
                  <a:pt x="75" y="914"/>
                </a:cubicBezTo>
                <a:cubicBezTo>
                  <a:pt x="75" y="922"/>
                  <a:pt x="75" y="922"/>
                  <a:pt x="75" y="922"/>
                </a:cubicBezTo>
                <a:cubicBezTo>
                  <a:pt x="75" y="930"/>
                  <a:pt x="75" y="930"/>
                  <a:pt x="75" y="930"/>
                </a:cubicBezTo>
                <a:cubicBezTo>
                  <a:pt x="76" y="939"/>
                  <a:pt x="76" y="939"/>
                  <a:pt x="76" y="939"/>
                </a:cubicBezTo>
                <a:cubicBezTo>
                  <a:pt x="78" y="946"/>
                  <a:pt x="78" y="946"/>
                  <a:pt x="78" y="946"/>
                </a:cubicBezTo>
                <a:cubicBezTo>
                  <a:pt x="81" y="952"/>
                  <a:pt x="81" y="952"/>
                  <a:pt x="81" y="952"/>
                </a:cubicBezTo>
                <a:cubicBezTo>
                  <a:pt x="83" y="954"/>
                  <a:pt x="83" y="954"/>
                  <a:pt x="83" y="954"/>
                </a:cubicBezTo>
                <a:cubicBezTo>
                  <a:pt x="86" y="956"/>
                  <a:pt x="86" y="956"/>
                  <a:pt x="86" y="956"/>
                </a:cubicBezTo>
                <a:cubicBezTo>
                  <a:pt x="89" y="957"/>
                  <a:pt x="89" y="957"/>
                  <a:pt x="89" y="957"/>
                </a:cubicBezTo>
                <a:cubicBezTo>
                  <a:pt x="92" y="957"/>
                  <a:pt x="92" y="957"/>
                  <a:pt x="92" y="957"/>
                </a:cubicBezTo>
                <a:cubicBezTo>
                  <a:pt x="94" y="956"/>
                  <a:pt x="94" y="956"/>
                  <a:pt x="94" y="956"/>
                </a:cubicBezTo>
                <a:cubicBezTo>
                  <a:pt x="97" y="954"/>
                  <a:pt x="97" y="954"/>
                  <a:pt x="97" y="954"/>
                </a:cubicBezTo>
                <a:cubicBezTo>
                  <a:pt x="99" y="951"/>
                  <a:pt x="99" y="951"/>
                  <a:pt x="99" y="951"/>
                </a:cubicBezTo>
                <a:cubicBezTo>
                  <a:pt x="100" y="947"/>
                  <a:pt x="100" y="947"/>
                  <a:pt x="100" y="947"/>
                </a:cubicBezTo>
                <a:cubicBezTo>
                  <a:pt x="102" y="939"/>
                  <a:pt x="102" y="939"/>
                  <a:pt x="102" y="939"/>
                </a:cubicBezTo>
                <a:cubicBezTo>
                  <a:pt x="103" y="930"/>
                  <a:pt x="103" y="930"/>
                  <a:pt x="103" y="930"/>
                </a:cubicBezTo>
                <a:cubicBezTo>
                  <a:pt x="102" y="895"/>
                  <a:pt x="102" y="895"/>
                  <a:pt x="102" y="895"/>
                </a:cubicBezTo>
                <a:cubicBezTo>
                  <a:pt x="102" y="870"/>
                  <a:pt x="102" y="870"/>
                  <a:pt x="102" y="870"/>
                </a:cubicBezTo>
                <a:cubicBezTo>
                  <a:pt x="103" y="857"/>
                  <a:pt x="103" y="857"/>
                  <a:pt x="103" y="857"/>
                </a:cubicBezTo>
                <a:cubicBezTo>
                  <a:pt x="105" y="845"/>
                  <a:pt x="105" y="845"/>
                  <a:pt x="105" y="845"/>
                </a:cubicBezTo>
                <a:cubicBezTo>
                  <a:pt x="119" y="775"/>
                  <a:pt x="119" y="775"/>
                  <a:pt x="119" y="775"/>
                </a:cubicBezTo>
                <a:cubicBezTo>
                  <a:pt x="126" y="739"/>
                  <a:pt x="126" y="739"/>
                  <a:pt x="126" y="739"/>
                </a:cubicBezTo>
                <a:cubicBezTo>
                  <a:pt x="129" y="725"/>
                  <a:pt x="129" y="725"/>
                  <a:pt x="129" y="725"/>
                </a:cubicBezTo>
                <a:cubicBezTo>
                  <a:pt x="129" y="717"/>
                  <a:pt x="129" y="717"/>
                  <a:pt x="129" y="717"/>
                </a:cubicBezTo>
                <a:cubicBezTo>
                  <a:pt x="130" y="707"/>
                  <a:pt x="130" y="707"/>
                  <a:pt x="130" y="707"/>
                </a:cubicBezTo>
                <a:cubicBezTo>
                  <a:pt x="133" y="694"/>
                  <a:pt x="133" y="694"/>
                  <a:pt x="133" y="694"/>
                </a:cubicBezTo>
                <a:cubicBezTo>
                  <a:pt x="139" y="670"/>
                  <a:pt x="139" y="670"/>
                  <a:pt x="139" y="670"/>
                </a:cubicBezTo>
                <a:cubicBezTo>
                  <a:pt x="145" y="642"/>
                  <a:pt x="145" y="642"/>
                  <a:pt x="145" y="642"/>
                </a:cubicBezTo>
                <a:cubicBezTo>
                  <a:pt x="166" y="642"/>
                  <a:pt x="166" y="642"/>
                  <a:pt x="166" y="642"/>
                </a:cubicBezTo>
                <a:cubicBezTo>
                  <a:pt x="177" y="641"/>
                  <a:pt x="177" y="641"/>
                  <a:pt x="177" y="641"/>
                </a:cubicBezTo>
                <a:cubicBezTo>
                  <a:pt x="181" y="641"/>
                  <a:pt x="181" y="641"/>
                  <a:pt x="181" y="641"/>
                </a:cubicBezTo>
                <a:cubicBezTo>
                  <a:pt x="183" y="639"/>
                  <a:pt x="183" y="639"/>
                  <a:pt x="183" y="639"/>
                </a:cubicBezTo>
                <a:cubicBezTo>
                  <a:pt x="183" y="640"/>
                  <a:pt x="183" y="640"/>
                  <a:pt x="183" y="640"/>
                </a:cubicBezTo>
                <a:cubicBezTo>
                  <a:pt x="183" y="642"/>
                  <a:pt x="183" y="642"/>
                  <a:pt x="183" y="642"/>
                </a:cubicBezTo>
                <a:cubicBezTo>
                  <a:pt x="184" y="650"/>
                  <a:pt x="184" y="650"/>
                  <a:pt x="184" y="650"/>
                </a:cubicBezTo>
                <a:cubicBezTo>
                  <a:pt x="184" y="667"/>
                  <a:pt x="184" y="667"/>
                  <a:pt x="184" y="667"/>
                </a:cubicBezTo>
                <a:cubicBezTo>
                  <a:pt x="185" y="691"/>
                  <a:pt x="185" y="691"/>
                  <a:pt x="185" y="691"/>
                </a:cubicBezTo>
                <a:cubicBezTo>
                  <a:pt x="188" y="717"/>
                  <a:pt x="188" y="717"/>
                  <a:pt x="188" y="717"/>
                </a:cubicBezTo>
                <a:cubicBezTo>
                  <a:pt x="192" y="741"/>
                  <a:pt x="192" y="741"/>
                  <a:pt x="192" y="741"/>
                </a:cubicBezTo>
                <a:cubicBezTo>
                  <a:pt x="195" y="759"/>
                  <a:pt x="195" y="759"/>
                  <a:pt x="195" y="759"/>
                </a:cubicBezTo>
                <a:cubicBezTo>
                  <a:pt x="199" y="780"/>
                  <a:pt x="199" y="780"/>
                  <a:pt x="199" y="780"/>
                </a:cubicBezTo>
                <a:cubicBezTo>
                  <a:pt x="202" y="810"/>
                  <a:pt x="202" y="810"/>
                  <a:pt x="202" y="810"/>
                </a:cubicBezTo>
                <a:cubicBezTo>
                  <a:pt x="205" y="839"/>
                  <a:pt x="205" y="839"/>
                  <a:pt x="205" y="839"/>
                </a:cubicBezTo>
                <a:cubicBezTo>
                  <a:pt x="205" y="861"/>
                  <a:pt x="205" y="861"/>
                  <a:pt x="205" y="861"/>
                </a:cubicBezTo>
                <a:cubicBezTo>
                  <a:pt x="204" y="875"/>
                  <a:pt x="204" y="875"/>
                  <a:pt x="204" y="875"/>
                </a:cubicBezTo>
                <a:cubicBezTo>
                  <a:pt x="202" y="885"/>
                  <a:pt x="202" y="885"/>
                  <a:pt x="202" y="885"/>
                </a:cubicBezTo>
                <a:cubicBezTo>
                  <a:pt x="201" y="892"/>
                  <a:pt x="201" y="892"/>
                  <a:pt x="201" y="892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911"/>
                  <a:pt x="201" y="911"/>
                  <a:pt x="201" y="911"/>
                </a:cubicBezTo>
                <a:cubicBezTo>
                  <a:pt x="204" y="911"/>
                  <a:pt x="204" y="911"/>
                  <a:pt x="204" y="911"/>
                </a:cubicBezTo>
                <a:cubicBezTo>
                  <a:pt x="205" y="906"/>
                  <a:pt x="206" y="904"/>
                  <a:pt x="206" y="903"/>
                </a:cubicBezTo>
                <a:cubicBezTo>
                  <a:pt x="211" y="910"/>
                  <a:pt x="211" y="910"/>
                  <a:pt x="211" y="910"/>
                </a:cubicBezTo>
                <a:cubicBezTo>
                  <a:pt x="214" y="918"/>
                  <a:pt x="214" y="918"/>
                  <a:pt x="214" y="918"/>
                </a:cubicBezTo>
                <a:cubicBezTo>
                  <a:pt x="215" y="922"/>
                  <a:pt x="215" y="922"/>
                  <a:pt x="215" y="922"/>
                </a:cubicBezTo>
                <a:cubicBezTo>
                  <a:pt x="215" y="925"/>
                  <a:pt x="215" y="925"/>
                  <a:pt x="215" y="925"/>
                </a:cubicBezTo>
                <a:cubicBezTo>
                  <a:pt x="216" y="929"/>
                  <a:pt x="216" y="929"/>
                  <a:pt x="216" y="929"/>
                </a:cubicBezTo>
                <a:cubicBezTo>
                  <a:pt x="217" y="933"/>
                  <a:pt x="217" y="933"/>
                  <a:pt x="217" y="933"/>
                </a:cubicBezTo>
                <a:cubicBezTo>
                  <a:pt x="219" y="937"/>
                  <a:pt x="219" y="937"/>
                  <a:pt x="219" y="937"/>
                </a:cubicBezTo>
                <a:cubicBezTo>
                  <a:pt x="222" y="941"/>
                  <a:pt x="222" y="941"/>
                  <a:pt x="222" y="941"/>
                </a:cubicBezTo>
                <a:cubicBezTo>
                  <a:pt x="227" y="945"/>
                  <a:pt x="227" y="945"/>
                  <a:pt x="227" y="945"/>
                </a:cubicBezTo>
                <a:cubicBezTo>
                  <a:pt x="233" y="947"/>
                  <a:pt x="233" y="947"/>
                  <a:pt x="233" y="947"/>
                </a:cubicBezTo>
                <a:cubicBezTo>
                  <a:pt x="241" y="949"/>
                  <a:pt x="241" y="949"/>
                  <a:pt x="241" y="949"/>
                </a:cubicBezTo>
                <a:cubicBezTo>
                  <a:pt x="252" y="950"/>
                  <a:pt x="252" y="950"/>
                  <a:pt x="252" y="950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7" y="948"/>
                  <a:pt x="257" y="948"/>
                  <a:pt x="257" y="948"/>
                </a:cubicBezTo>
                <a:cubicBezTo>
                  <a:pt x="258" y="947"/>
                  <a:pt x="258" y="947"/>
                  <a:pt x="258" y="947"/>
                </a:cubicBezTo>
                <a:cubicBezTo>
                  <a:pt x="257" y="943"/>
                  <a:pt x="257" y="943"/>
                  <a:pt x="257" y="943"/>
                </a:cubicBezTo>
                <a:cubicBezTo>
                  <a:pt x="256" y="938"/>
                  <a:pt x="256" y="938"/>
                  <a:pt x="256" y="938"/>
                </a:cubicBezTo>
                <a:cubicBezTo>
                  <a:pt x="249" y="927"/>
                  <a:pt x="249" y="927"/>
                  <a:pt x="249" y="927"/>
                </a:cubicBezTo>
                <a:cubicBezTo>
                  <a:pt x="242" y="915"/>
                  <a:pt x="242" y="915"/>
                  <a:pt x="242" y="915"/>
                </a:cubicBezTo>
                <a:cubicBezTo>
                  <a:pt x="235" y="902"/>
                  <a:pt x="235" y="902"/>
                  <a:pt x="235" y="902"/>
                </a:cubicBezTo>
                <a:cubicBezTo>
                  <a:pt x="230" y="887"/>
                  <a:pt x="230" y="887"/>
                  <a:pt x="230" y="887"/>
                </a:cubicBezTo>
                <a:cubicBezTo>
                  <a:pt x="227" y="873"/>
                  <a:pt x="227" y="873"/>
                  <a:pt x="227" y="873"/>
                </a:cubicBezTo>
                <a:cubicBezTo>
                  <a:pt x="226" y="861"/>
                  <a:pt x="226" y="861"/>
                  <a:pt x="226" y="861"/>
                </a:cubicBezTo>
                <a:cubicBezTo>
                  <a:pt x="229" y="795"/>
                  <a:pt x="229" y="795"/>
                  <a:pt x="229" y="795"/>
                </a:cubicBezTo>
                <a:cubicBezTo>
                  <a:pt x="231" y="748"/>
                  <a:pt x="231" y="748"/>
                  <a:pt x="231" y="748"/>
                </a:cubicBezTo>
                <a:cubicBezTo>
                  <a:pt x="231" y="726"/>
                  <a:pt x="231" y="726"/>
                  <a:pt x="231" y="726"/>
                </a:cubicBezTo>
                <a:cubicBezTo>
                  <a:pt x="231" y="709"/>
                  <a:pt x="231" y="709"/>
                  <a:pt x="231" y="709"/>
                </a:cubicBezTo>
                <a:cubicBezTo>
                  <a:pt x="229" y="681"/>
                  <a:pt x="229" y="681"/>
                  <a:pt x="229" y="681"/>
                </a:cubicBezTo>
                <a:cubicBezTo>
                  <a:pt x="227" y="657"/>
                  <a:pt x="227" y="657"/>
                  <a:pt x="227" y="657"/>
                </a:cubicBezTo>
                <a:cubicBezTo>
                  <a:pt x="227" y="641"/>
                  <a:pt x="227" y="641"/>
                  <a:pt x="227" y="641"/>
                </a:cubicBezTo>
                <a:cubicBezTo>
                  <a:pt x="227" y="636"/>
                  <a:pt x="227" y="636"/>
                  <a:pt x="227" y="636"/>
                </a:cubicBezTo>
                <a:cubicBezTo>
                  <a:pt x="228" y="634"/>
                  <a:pt x="228" y="634"/>
                  <a:pt x="228" y="634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1" y="633"/>
                  <a:pt x="241" y="633"/>
                  <a:pt x="241" y="633"/>
                </a:cubicBezTo>
                <a:cubicBezTo>
                  <a:pt x="244" y="632"/>
                  <a:pt x="244" y="632"/>
                  <a:pt x="244" y="632"/>
                </a:cubicBezTo>
                <a:cubicBezTo>
                  <a:pt x="245" y="630"/>
                  <a:pt x="245" y="630"/>
                  <a:pt x="245" y="630"/>
                </a:cubicBezTo>
                <a:cubicBezTo>
                  <a:pt x="246" y="627"/>
                  <a:pt x="246" y="627"/>
                  <a:pt x="246" y="627"/>
                </a:cubicBezTo>
                <a:cubicBezTo>
                  <a:pt x="248" y="530"/>
                  <a:pt x="248" y="530"/>
                  <a:pt x="248" y="530"/>
                </a:cubicBezTo>
                <a:cubicBezTo>
                  <a:pt x="249" y="461"/>
                  <a:pt x="249" y="461"/>
                  <a:pt x="249" y="461"/>
                </a:cubicBezTo>
                <a:cubicBezTo>
                  <a:pt x="249" y="434"/>
                  <a:pt x="249" y="434"/>
                  <a:pt x="249" y="434"/>
                </a:cubicBezTo>
                <a:cubicBezTo>
                  <a:pt x="248" y="418"/>
                  <a:pt x="248" y="418"/>
                  <a:pt x="248" y="418"/>
                </a:cubicBezTo>
                <a:cubicBezTo>
                  <a:pt x="252" y="428"/>
                  <a:pt x="252" y="428"/>
                  <a:pt x="252" y="428"/>
                </a:cubicBezTo>
                <a:cubicBezTo>
                  <a:pt x="258" y="441"/>
                  <a:pt x="258" y="441"/>
                  <a:pt x="258" y="441"/>
                </a:cubicBezTo>
                <a:cubicBezTo>
                  <a:pt x="266" y="458"/>
                  <a:pt x="266" y="458"/>
                  <a:pt x="266" y="458"/>
                </a:cubicBezTo>
                <a:cubicBezTo>
                  <a:pt x="271" y="467"/>
                  <a:pt x="271" y="467"/>
                  <a:pt x="271" y="467"/>
                </a:cubicBezTo>
                <a:cubicBezTo>
                  <a:pt x="275" y="474"/>
                  <a:pt x="275" y="474"/>
                  <a:pt x="275" y="474"/>
                </a:cubicBezTo>
                <a:cubicBezTo>
                  <a:pt x="279" y="477"/>
                  <a:pt x="279" y="477"/>
                  <a:pt x="279" y="477"/>
                </a:cubicBezTo>
                <a:cubicBezTo>
                  <a:pt x="281" y="479"/>
                  <a:pt x="281" y="479"/>
                  <a:pt x="281" y="479"/>
                </a:cubicBezTo>
                <a:cubicBezTo>
                  <a:pt x="282" y="480"/>
                  <a:pt x="282" y="480"/>
                  <a:pt x="282" y="480"/>
                </a:cubicBezTo>
                <a:cubicBezTo>
                  <a:pt x="281" y="481"/>
                  <a:pt x="281" y="481"/>
                  <a:pt x="281" y="481"/>
                </a:cubicBezTo>
                <a:cubicBezTo>
                  <a:pt x="279" y="483"/>
                  <a:pt x="279" y="483"/>
                  <a:pt x="279" y="483"/>
                </a:cubicBezTo>
                <a:cubicBezTo>
                  <a:pt x="276" y="486"/>
                  <a:pt x="276" y="486"/>
                  <a:pt x="276" y="486"/>
                </a:cubicBezTo>
                <a:cubicBezTo>
                  <a:pt x="276" y="488"/>
                  <a:pt x="276" y="488"/>
                  <a:pt x="276" y="488"/>
                </a:cubicBezTo>
                <a:cubicBezTo>
                  <a:pt x="280" y="488"/>
                  <a:pt x="280" y="488"/>
                  <a:pt x="280" y="488"/>
                </a:cubicBezTo>
                <a:cubicBezTo>
                  <a:pt x="283" y="488"/>
                  <a:pt x="283" y="488"/>
                  <a:pt x="283" y="488"/>
                </a:cubicBezTo>
                <a:cubicBezTo>
                  <a:pt x="285" y="490"/>
                  <a:pt x="285" y="490"/>
                  <a:pt x="285" y="490"/>
                </a:cubicBezTo>
                <a:cubicBezTo>
                  <a:pt x="286" y="492"/>
                  <a:pt x="286" y="492"/>
                  <a:pt x="286" y="492"/>
                </a:cubicBezTo>
                <a:cubicBezTo>
                  <a:pt x="284" y="495"/>
                  <a:pt x="284" y="495"/>
                  <a:pt x="284" y="495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3" y="498"/>
                  <a:pt x="283" y="498"/>
                  <a:pt x="283" y="498"/>
                </a:cubicBezTo>
                <a:cubicBezTo>
                  <a:pt x="285" y="499"/>
                  <a:pt x="285" y="499"/>
                  <a:pt x="285" y="499"/>
                </a:cubicBezTo>
                <a:cubicBezTo>
                  <a:pt x="288" y="499"/>
                  <a:pt x="288" y="499"/>
                  <a:pt x="288" y="499"/>
                </a:cubicBezTo>
                <a:cubicBezTo>
                  <a:pt x="295" y="495"/>
                  <a:pt x="295" y="495"/>
                  <a:pt x="295" y="495"/>
                </a:cubicBezTo>
                <a:cubicBezTo>
                  <a:pt x="298" y="494"/>
                  <a:pt x="298" y="494"/>
                  <a:pt x="298" y="494"/>
                </a:cubicBezTo>
                <a:cubicBezTo>
                  <a:pt x="299" y="495"/>
                  <a:pt x="299" y="495"/>
                  <a:pt x="299" y="495"/>
                </a:cubicBezTo>
                <a:cubicBezTo>
                  <a:pt x="299" y="496"/>
                  <a:pt x="299" y="496"/>
                  <a:pt x="299" y="496"/>
                </a:cubicBezTo>
                <a:cubicBezTo>
                  <a:pt x="299" y="499"/>
                  <a:pt x="299" y="499"/>
                  <a:pt x="299" y="499"/>
                </a:cubicBezTo>
                <a:cubicBezTo>
                  <a:pt x="301" y="501"/>
                  <a:pt x="301" y="501"/>
                  <a:pt x="301" y="501"/>
                </a:cubicBezTo>
                <a:cubicBezTo>
                  <a:pt x="303" y="501"/>
                  <a:pt x="303" y="501"/>
                  <a:pt x="303" y="501"/>
                </a:cubicBezTo>
                <a:cubicBezTo>
                  <a:pt x="305" y="497"/>
                  <a:pt x="305" y="497"/>
                  <a:pt x="305" y="497"/>
                </a:cubicBezTo>
                <a:cubicBezTo>
                  <a:pt x="306" y="492"/>
                  <a:pt x="306" y="492"/>
                  <a:pt x="306" y="492"/>
                </a:cubicBezTo>
                <a:cubicBezTo>
                  <a:pt x="306" y="487"/>
                  <a:pt x="306" y="487"/>
                  <a:pt x="306" y="487"/>
                </a:cubicBezTo>
                <a:lnTo>
                  <a:pt x="304" y="482"/>
                </a:lnTo>
                <a:close/>
                <a:moveTo>
                  <a:pt x="68" y="502"/>
                </a:moveTo>
                <a:cubicBezTo>
                  <a:pt x="66" y="503"/>
                  <a:pt x="66" y="503"/>
                  <a:pt x="66" y="503"/>
                </a:cubicBezTo>
                <a:cubicBezTo>
                  <a:pt x="64" y="502"/>
                  <a:pt x="64" y="502"/>
                  <a:pt x="64" y="502"/>
                </a:cubicBezTo>
                <a:cubicBezTo>
                  <a:pt x="63" y="500"/>
                  <a:pt x="63" y="500"/>
                  <a:pt x="63" y="500"/>
                </a:cubicBezTo>
                <a:cubicBezTo>
                  <a:pt x="63" y="491"/>
                  <a:pt x="63" y="491"/>
                  <a:pt x="63" y="491"/>
                </a:cubicBezTo>
                <a:cubicBezTo>
                  <a:pt x="71" y="501"/>
                  <a:pt x="71" y="501"/>
                  <a:pt x="71" y="501"/>
                </a:cubicBezTo>
                <a:lnTo>
                  <a:pt x="68" y="502"/>
                </a:lnTo>
                <a:close/>
                <a:moveTo>
                  <a:pt x="76" y="497"/>
                </a:moveTo>
                <a:cubicBezTo>
                  <a:pt x="75" y="500"/>
                  <a:pt x="75" y="500"/>
                  <a:pt x="75" y="500"/>
                </a:cubicBezTo>
                <a:cubicBezTo>
                  <a:pt x="73" y="500"/>
                  <a:pt x="73" y="500"/>
                  <a:pt x="73" y="500"/>
                </a:cubicBezTo>
                <a:cubicBezTo>
                  <a:pt x="74" y="495"/>
                  <a:pt x="74" y="495"/>
                  <a:pt x="74" y="495"/>
                </a:cubicBezTo>
                <a:cubicBezTo>
                  <a:pt x="75" y="490"/>
                  <a:pt x="75" y="490"/>
                  <a:pt x="75" y="490"/>
                </a:cubicBezTo>
                <a:cubicBezTo>
                  <a:pt x="76" y="494"/>
                  <a:pt x="76" y="494"/>
                  <a:pt x="76" y="494"/>
                </a:cubicBezTo>
                <a:lnTo>
                  <a:pt x="76" y="497"/>
                </a:lnTo>
                <a:close/>
                <a:moveTo>
                  <a:pt x="87" y="471"/>
                </a:moveTo>
                <a:cubicBezTo>
                  <a:pt x="86" y="486"/>
                  <a:pt x="86" y="486"/>
                  <a:pt x="86" y="486"/>
                </a:cubicBezTo>
                <a:cubicBezTo>
                  <a:pt x="84" y="482"/>
                  <a:pt x="84" y="482"/>
                  <a:pt x="84" y="482"/>
                </a:cubicBezTo>
                <a:cubicBezTo>
                  <a:pt x="81" y="479"/>
                  <a:pt x="81" y="479"/>
                  <a:pt x="81" y="479"/>
                </a:cubicBezTo>
                <a:cubicBezTo>
                  <a:pt x="79" y="478"/>
                  <a:pt x="79" y="478"/>
                  <a:pt x="79" y="478"/>
                </a:cubicBezTo>
                <a:cubicBezTo>
                  <a:pt x="76" y="472"/>
                  <a:pt x="76" y="472"/>
                  <a:pt x="76" y="472"/>
                </a:cubicBezTo>
                <a:cubicBezTo>
                  <a:pt x="75" y="470"/>
                  <a:pt x="75" y="470"/>
                  <a:pt x="75" y="470"/>
                </a:cubicBezTo>
                <a:cubicBezTo>
                  <a:pt x="75" y="468"/>
                  <a:pt x="75" y="468"/>
                  <a:pt x="75" y="468"/>
                </a:cubicBezTo>
                <a:cubicBezTo>
                  <a:pt x="76" y="463"/>
                  <a:pt x="76" y="463"/>
                  <a:pt x="76" y="463"/>
                </a:cubicBezTo>
                <a:cubicBezTo>
                  <a:pt x="79" y="458"/>
                  <a:pt x="79" y="458"/>
                  <a:pt x="79" y="458"/>
                </a:cubicBezTo>
                <a:cubicBezTo>
                  <a:pt x="79" y="455"/>
                  <a:pt x="79" y="455"/>
                  <a:pt x="79" y="455"/>
                </a:cubicBezTo>
                <a:cubicBezTo>
                  <a:pt x="80" y="451"/>
                  <a:pt x="80" y="451"/>
                  <a:pt x="80" y="451"/>
                </a:cubicBezTo>
                <a:cubicBezTo>
                  <a:pt x="81" y="406"/>
                  <a:pt x="81" y="406"/>
                  <a:pt x="81" y="406"/>
                </a:cubicBezTo>
                <a:cubicBezTo>
                  <a:pt x="82" y="384"/>
                  <a:pt x="82" y="384"/>
                  <a:pt x="82" y="384"/>
                </a:cubicBezTo>
                <a:cubicBezTo>
                  <a:pt x="83" y="379"/>
                  <a:pt x="83" y="379"/>
                  <a:pt x="83" y="379"/>
                </a:cubicBezTo>
                <a:cubicBezTo>
                  <a:pt x="83" y="380"/>
                  <a:pt x="83" y="380"/>
                  <a:pt x="83" y="380"/>
                </a:cubicBezTo>
                <a:cubicBezTo>
                  <a:pt x="86" y="412"/>
                  <a:pt x="86" y="412"/>
                  <a:pt x="86" y="412"/>
                </a:cubicBezTo>
                <a:cubicBezTo>
                  <a:pt x="87" y="442"/>
                  <a:pt x="87" y="442"/>
                  <a:pt x="87" y="442"/>
                </a:cubicBezTo>
                <a:cubicBezTo>
                  <a:pt x="88" y="458"/>
                  <a:pt x="88" y="458"/>
                  <a:pt x="88" y="458"/>
                </a:cubicBezTo>
                <a:lnTo>
                  <a:pt x="87" y="471"/>
                </a:lnTo>
                <a:close/>
                <a:moveTo>
                  <a:pt x="100" y="138"/>
                </a:moveTo>
                <a:cubicBezTo>
                  <a:pt x="99" y="132"/>
                  <a:pt x="99" y="132"/>
                  <a:pt x="99" y="132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43"/>
                  <a:pt x="101" y="143"/>
                  <a:pt x="101" y="143"/>
                </a:cubicBezTo>
                <a:lnTo>
                  <a:pt x="100" y="138"/>
                </a:lnTo>
                <a:close/>
                <a:moveTo>
                  <a:pt x="218" y="174"/>
                </a:moveTo>
                <a:cubicBezTo>
                  <a:pt x="217" y="184"/>
                  <a:pt x="217" y="184"/>
                  <a:pt x="217" y="184"/>
                </a:cubicBezTo>
                <a:cubicBezTo>
                  <a:pt x="216" y="192"/>
                  <a:pt x="216" y="192"/>
                  <a:pt x="216" y="192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99" y="192"/>
                  <a:pt x="199" y="192"/>
                  <a:pt x="199" y="192"/>
                </a:cubicBezTo>
                <a:cubicBezTo>
                  <a:pt x="197" y="205"/>
                  <a:pt x="197" y="205"/>
                  <a:pt x="197" y="205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190" y="233"/>
                  <a:pt x="190" y="233"/>
                  <a:pt x="190" y="233"/>
                </a:cubicBezTo>
                <a:cubicBezTo>
                  <a:pt x="187" y="251"/>
                  <a:pt x="187" y="251"/>
                  <a:pt x="187" y="251"/>
                </a:cubicBezTo>
                <a:cubicBezTo>
                  <a:pt x="183" y="287"/>
                  <a:pt x="183" y="287"/>
                  <a:pt x="183" y="287"/>
                </a:cubicBezTo>
                <a:cubicBezTo>
                  <a:pt x="182" y="305"/>
                  <a:pt x="182" y="305"/>
                  <a:pt x="182" y="305"/>
                </a:cubicBezTo>
                <a:cubicBezTo>
                  <a:pt x="183" y="322"/>
                  <a:pt x="183" y="322"/>
                  <a:pt x="183" y="322"/>
                </a:cubicBezTo>
                <a:cubicBezTo>
                  <a:pt x="186" y="356"/>
                  <a:pt x="186" y="356"/>
                  <a:pt x="186" y="356"/>
                </a:cubicBezTo>
                <a:cubicBezTo>
                  <a:pt x="187" y="369"/>
                  <a:pt x="187" y="369"/>
                  <a:pt x="187" y="369"/>
                </a:cubicBezTo>
                <a:cubicBezTo>
                  <a:pt x="188" y="375"/>
                  <a:pt x="188" y="375"/>
                  <a:pt x="188" y="375"/>
                </a:cubicBezTo>
                <a:cubicBezTo>
                  <a:pt x="189" y="382"/>
                  <a:pt x="189" y="382"/>
                  <a:pt x="189" y="382"/>
                </a:cubicBezTo>
                <a:cubicBezTo>
                  <a:pt x="192" y="389"/>
                  <a:pt x="192" y="389"/>
                  <a:pt x="192" y="389"/>
                </a:cubicBezTo>
                <a:cubicBezTo>
                  <a:pt x="193" y="392"/>
                  <a:pt x="193" y="392"/>
                  <a:pt x="193" y="392"/>
                </a:cubicBezTo>
                <a:cubicBezTo>
                  <a:pt x="194" y="396"/>
                  <a:pt x="194" y="396"/>
                  <a:pt x="194" y="396"/>
                </a:cubicBezTo>
                <a:cubicBezTo>
                  <a:pt x="190" y="396"/>
                  <a:pt x="190" y="396"/>
                  <a:pt x="190" y="396"/>
                </a:cubicBezTo>
                <a:cubicBezTo>
                  <a:pt x="186" y="395"/>
                  <a:pt x="186" y="395"/>
                  <a:pt x="186" y="395"/>
                </a:cubicBezTo>
                <a:cubicBezTo>
                  <a:pt x="179" y="393"/>
                  <a:pt x="179" y="393"/>
                  <a:pt x="179" y="393"/>
                </a:cubicBezTo>
                <a:cubicBezTo>
                  <a:pt x="172" y="391"/>
                  <a:pt x="172" y="391"/>
                  <a:pt x="172" y="391"/>
                </a:cubicBezTo>
                <a:cubicBezTo>
                  <a:pt x="165" y="389"/>
                  <a:pt x="165" y="389"/>
                  <a:pt x="165" y="389"/>
                </a:cubicBezTo>
                <a:cubicBezTo>
                  <a:pt x="159" y="389"/>
                  <a:pt x="159" y="389"/>
                  <a:pt x="159" y="389"/>
                </a:cubicBezTo>
                <a:cubicBezTo>
                  <a:pt x="153" y="390"/>
                  <a:pt x="153" y="390"/>
                  <a:pt x="153" y="390"/>
                </a:cubicBezTo>
                <a:cubicBezTo>
                  <a:pt x="140" y="393"/>
                  <a:pt x="140" y="393"/>
                  <a:pt x="140" y="393"/>
                </a:cubicBezTo>
                <a:cubicBezTo>
                  <a:pt x="141" y="389"/>
                  <a:pt x="141" y="389"/>
                  <a:pt x="141" y="389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6" y="374"/>
                  <a:pt x="146" y="374"/>
                  <a:pt x="146" y="374"/>
                </a:cubicBezTo>
                <a:cubicBezTo>
                  <a:pt x="150" y="358"/>
                  <a:pt x="150" y="358"/>
                  <a:pt x="150" y="358"/>
                </a:cubicBezTo>
                <a:cubicBezTo>
                  <a:pt x="152" y="342"/>
                  <a:pt x="152" y="342"/>
                  <a:pt x="152" y="342"/>
                </a:cubicBezTo>
                <a:cubicBezTo>
                  <a:pt x="153" y="324"/>
                  <a:pt x="153" y="324"/>
                  <a:pt x="153" y="324"/>
                </a:cubicBezTo>
                <a:cubicBezTo>
                  <a:pt x="153" y="305"/>
                  <a:pt x="153" y="305"/>
                  <a:pt x="153" y="305"/>
                </a:cubicBezTo>
                <a:cubicBezTo>
                  <a:pt x="152" y="268"/>
                  <a:pt x="152" y="268"/>
                  <a:pt x="152" y="268"/>
                </a:cubicBezTo>
                <a:cubicBezTo>
                  <a:pt x="152" y="250"/>
                  <a:pt x="152" y="250"/>
                  <a:pt x="152" y="250"/>
                </a:cubicBezTo>
                <a:cubicBezTo>
                  <a:pt x="151" y="232"/>
                  <a:pt x="151" y="232"/>
                  <a:pt x="151" y="232"/>
                </a:cubicBezTo>
                <a:cubicBezTo>
                  <a:pt x="149" y="216"/>
                  <a:pt x="149" y="216"/>
                  <a:pt x="149" y="216"/>
                </a:cubicBezTo>
                <a:cubicBezTo>
                  <a:pt x="147" y="207"/>
                  <a:pt x="147" y="207"/>
                  <a:pt x="147" y="207"/>
                </a:cubicBezTo>
                <a:cubicBezTo>
                  <a:pt x="144" y="198"/>
                  <a:pt x="144" y="198"/>
                  <a:pt x="144" y="198"/>
                </a:cubicBezTo>
                <a:cubicBezTo>
                  <a:pt x="140" y="190"/>
                  <a:pt x="140" y="190"/>
                  <a:pt x="140" y="190"/>
                </a:cubicBezTo>
                <a:cubicBezTo>
                  <a:pt x="138" y="186"/>
                  <a:pt x="138" y="186"/>
                  <a:pt x="138" y="186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31" y="185"/>
                  <a:pt x="131" y="185"/>
                  <a:pt x="131" y="185"/>
                </a:cubicBezTo>
                <a:cubicBezTo>
                  <a:pt x="128" y="189"/>
                  <a:pt x="128" y="189"/>
                  <a:pt x="128" y="189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74"/>
                  <a:pt x="126" y="174"/>
                  <a:pt x="126" y="174"/>
                </a:cubicBezTo>
                <a:cubicBezTo>
                  <a:pt x="125" y="167"/>
                  <a:pt x="125" y="167"/>
                  <a:pt x="125" y="167"/>
                </a:cubicBezTo>
                <a:cubicBezTo>
                  <a:pt x="124" y="163"/>
                  <a:pt x="124" y="163"/>
                  <a:pt x="124" y="163"/>
                </a:cubicBezTo>
                <a:cubicBezTo>
                  <a:pt x="122" y="159"/>
                  <a:pt x="122" y="159"/>
                  <a:pt x="122" y="159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18" y="155"/>
                  <a:pt x="118" y="155"/>
                  <a:pt x="118" y="155"/>
                </a:cubicBezTo>
                <a:cubicBezTo>
                  <a:pt x="114" y="154"/>
                  <a:pt x="114" y="154"/>
                  <a:pt x="114" y="15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03" y="151"/>
                  <a:pt x="103" y="151"/>
                  <a:pt x="103" y="151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31" y="151"/>
                  <a:pt x="131" y="151"/>
                  <a:pt x="131" y="151"/>
                </a:cubicBezTo>
                <a:cubicBezTo>
                  <a:pt x="134" y="153"/>
                  <a:pt x="134" y="153"/>
                  <a:pt x="134" y="153"/>
                </a:cubicBezTo>
                <a:cubicBezTo>
                  <a:pt x="137" y="156"/>
                  <a:pt x="137" y="156"/>
                  <a:pt x="137" y="156"/>
                </a:cubicBezTo>
                <a:cubicBezTo>
                  <a:pt x="141" y="160"/>
                  <a:pt x="141" y="160"/>
                  <a:pt x="141" y="160"/>
                </a:cubicBezTo>
                <a:cubicBezTo>
                  <a:pt x="144" y="163"/>
                  <a:pt x="144" y="163"/>
                  <a:pt x="144" y="163"/>
                </a:cubicBezTo>
                <a:cubicBezTo>
                  <a:pt x="148" y="168"/>
                  <a:pt x="148" y="168"/>
                  <a:pt x="148" y="168"/>
                </a:cubicBezTo>
                <a:cubicBezTo>
                  <a:pt x="157" y="180"/>
                  <a:pt x="157" y="180"/>
                  <a:pt x="157" y="180"/>
                </a:cubicBezTo>
                <a:cubicBezTo>
                  <a:pt x="167" y="195"/>
                  <a:pt x="167" y="195"/>
                  <a:pt x="167" y="195"/>
                </a:cubicBezTo>
                <a:cubicBezTo>
                  <a:pt x="168" y="194"/>
                  <a:pt x="168" y="194"/>
                  <a:pt x="168" y="194"/>
                </a:cubicBezTo>
                <a:cubicBezTo>
                  <a:pt x="171" y="190"/>
                  <a:pt x="171" y="190"/>
                  <a:pt x="171" y="190"/>
                </a:cubicBezTo>
                <a:cubicBezTo>
                  <a:pt x="176" y="180"/>
                  <a:pt x="176" y="180"/>
                  <a:pt x="176" y="180"/>
                </a:cubicBezTo>
                <a:cubicBezTo>
                  <a:pt x="181" y="168"/>
                  <a:pt x="181" y="168"/>
                  <a:pt x="181" y="168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7" y="161"/>
                  <a:pt x="187" y="161"/>
                  <a:pt x="187" y="161"/>
                </a:cubicBezTo>
                <a:cubicBezTo>
                  <a:pt x="190" y="158"/>
                  <a:pt x="190" y="158"/>
                  <a:pt x="190" y="158"/>
                </a:cubicBezTo>
                <a:cubicBezTo>
                  <a:pt x="194" y="157"/>
                  <a:pt x="194" y="157"/>
                  <a:pt x="194" y="157"/>
                </a:cubicBezTo>
                <a:cubicBezTo>
                  <a:pt x="197" y="156"/>
                  <a:pt x="197" y="156"/>
                  <a:pt x="197" y="156"/>
                </a:cubicBezTo>
                <a:cubicBezTo>
                  <a:pt x="201" y="156"/>
                  <a:pt x="201" y="156"/>
                  <a:pt x="201" y="156"/>
                </a:cubicBezTo>
                <a:cubicBezTo>
                  <a:pt x="209" y="156"/>
                  <a:pt x="209" y="156"/>
                  <a:pt x="209" y="156"/>
                </a:cubicBezTo>
                <a:cubicBezTo>
                  <a:pt x="218" y="157"/>
                  <a:pt x="218" y="157"/>
                  <a:pt x="218" y="157"/>
                </a:cubicBezTo>
                <a:lnTo>
                  <a:pt x="218" y="174"/>
                </a:lnTo>
                <a:close/>
                <a:moveTo>
                  <a:pt x="218" y="87"/>
                </a:moveTo>
                <a:cubicBezTo>
                  <a:pt x="215" y="77"/>
                  <a:pt x="215" y="77"/>
                  <a:pt x="215" y="77"/>
                </a:cubicBezTo>
                <a:cubicBezTo>
                  <a:pt x="218" y="82"/>
                  <a:pt x="218" y="82"/>
                  <a:pt x="218" y="82"/>
                </a:cubicBezTo>
                <a:cubicBezTo>
                  <a:pt x="221" y="87"/>
                  <a:pt x="221" y="87"/>
                  <a:pt x="221" y="87"/>
                </a:cubicBezTo>
                <a:cubicBezTo>
                  <a:pt x="224" y="97"/>
                  <a:pt x="224" y="97"/>
                  <a:pt x="224" y="97"/>
                </a:cubicBezTo>
                <a:lnTo>
                  <a:pt x="218" y="87"/>
                </a:lnTo>
                <a:close/>
                <a:moveTo>
                  <a:pt x="222" y="98"/>
                </a:moveTo>
                <a:cubicBezTo>
                  <a:pt x="225" y="104"/>
                  <a:pt x="225" y="104"/>
                  <a:pt x="225" y="104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8" y="115"/>
                  <a:pt x="228" y="115"/>
                  <a:pt x="228" y="115"/>
                </a:cubicBezTo>
                <a:cubicBezTo>
                  <a:pt x="228" y="120"/>
                  <a:pt x="228" y="120"/>
                  <a:pt x="228" y="120"/>
                </a:cubicBezTo>
                <a:cubicBezTo>
                  <a:pt x="227" y="128"/>
                  <a:pt x="227" y="128"/>
                  <a:pt x="227" y="128"/>
                </a:cubicBezTo>
                <a:cubicBezTo>
                  <a:pt x="225" y="134"/>
                  <a:pt x="225" y="134"/>
                  <a:pt x="225" y="134"/>
                </a:cubicBezTo>
                <a:cubicBezTo>
                  <a:pt x="226" y="127"/>
                  <a:pt x="226" y="127"/>
                  <a:pt x="226" y="127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5" y="109"/>
                  <a:pt x="225" y="109"/>
                  <a:pt x="225" y="109"/>
                </a:cubicBezTo>
                <a:cubicBezTo>
                  <a:pt x="222" y="99"/>
                  <a:pt x="222" y="99"/>
                  <a:pt x="222" y="99"/>
                </a:cubicBezTo>
                <a:lnTo>
                  <a:pt x="222" y="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70" name="Gruppieren 55"/>
          <p:cNvGrpSpPr>
            <a:grpSpLocks noChangeAspect="1"/>
          </p:cNvGrpSpPr>
          <p:nvPr>
            <p:custDataLst>
              <p:tags r:id="rId29"/>
            </p:custDataLst>
          </p:nvPr>
        </p:nvGrpSpPr>
        <p:grpSpPr bwMode="gray">
          <a:xfrm>
            <a:off x="4673181" y="2159315"/>
            <a:ext cx="229247" cy="549605"/>
            <a:chOff x="11957050" y="3071813"/>
            <a:chExt cx="311150" cy="749300"/>
          </a:xfrm>
        </p:grpSpPr>
        <p:sp>
          <p:nvSpPr>
            <p:cNvPr id="101" name="Freeform 33"/>
            <p:cNvSpPr>
              <a:spLocks noChangeAspect="1" noEditPoints="1"/>
            </p:cNvSpPr>
            <p:nvPr/>
          </p:nvSpPr>
          <p:spPr bwMode="gray">
            <a:xfrm>
              <a:off x="11957050" y="3071813"/>
              <a:ext cx="311150" cy="749300"/>
            </a:xfrm>
            <a:custGeom>
              <a:avLst/>
              <a:gdLst>
                <a:gd name="T0" fmla="*/ 72 w 83"/>
                <a:gd name="T1" fmla="*/ 141 h 200"/>
                <a:gd name="T2" fmla="*/ 72 w 83"/>
                <a:gd name="T3" fmla="*/ 189 h 200"/>
                <a:gd name="T4" fmla="*/ 69 w 83"/>
                <a:gd name="T5" fmla="*/ 191 h 200"/>
                <a:gd name="T6" fmla="*/ 71 w 83"/>
                <a:gd name="T7" fmla="*/ 198 h 200"/>
                <a:gd name="T8" fmla="*/ 63 w 83"/>
                <a:gd name="T9" fmla="*/ 195 h 200"/>
                <a:gd name="T10" fmla="*/ 60 w 83"/>
                <a:gd name="T11" fmla="*/ 190 h 200"/>
                <a:gd name="T12" fmla="*/ 59 w 83"/>
                <a:gd name="T13" fmla="*/ 186 h 200"/>
                <a:gd name="T14" fmla="*/ 56 w 83"/>
                <a:gd name="T15" fmla="*/ 122 h 200"/>
                <a:gd name="T16" fmla="*/ 52 w 83"/>
                <a:gd name="T17" fmla="*/ 108 h 200"/>
                <a:gd name="T18" fmla="*/ 47 w 83"/>
                <a:gd name="T19" fmla="*/ 114 h 200"/>
                <a:gd name="T20" fmla="*/ 38 w 83"/>
                <a:gd name="T21" fmla="*/ 132 h 200"/>
                <a:gd name="T22" fmla="*/ 23 w 83"/>
                <a:gd name="T23" fmla="*/ 190 h 200"/>
                <a:gd name="T24" fmla="*/ 19 w 83"/>
                <a:gd name="T25" fmla="*/ 190 h 200"/>
                <a:gd name="T26" fmla="*/ 8 w 83"/>
                <a:gd name="T27" fmla="*/ 197 h 200"/>
                <a:gd name="T28" fmla="*/ 3 w 83"/>
                <a:gd name="T29" fmla="*/ 194 h 200"/>
                <a:gd name="T30" fmla="*/ 9 w 83"/>
                <a:gd name="T31" fmla="*/ 188 h 200"/>
                <a:gd name="T32" fmla="*/ 10 w 83"/>
                <a:gd name="T33" fmla="*/ 181 h 200"/>
                <a:gd name="T34" fmla="*/ 24 w 83"/>
                <a:gd name="T35" fmla="*/ 135 h 200"/>
                <a:gd name="T36" fmla="*/ 27 w 83"/>
                <a:gd name="T37" fmla="*/ 112 h 200"/>
                <a:gd name="T38" fmla="*/ 25 w 83"/>
                <a:gd name="T39" fmla="*/ 105 h 200"/>
                <a:gd name="T40" fmla="*/ 25 w 83"/>
                <a:gd name="T41" fmla="*/ 98 h 200"/>
                <a:gd name="T42" fmla="*/ 23 w 83"/>
                <a:gd name="T43" fmla="*/ 75 h 200"/>
                <a:gd name="T44" fmla="*/ 23 w 83"/>
                <a:gd name="T45" fmla="*/ 61 h 200"/>
                <a:gd name="T46" fmla="*/ 18 w 83"/>
                <a:gd name="T47" fmla="*/ 52 h 200"/>
                <a:gd name="T48" fmla="*/ 23 w 83"/>
                <a:gd name="T49" fmla="*/ 43 h 200"/>
                <a:gd name="T50" fmla="*/ 27 w 83"/>
                <a:gd name="T51" fmla="*/ 32 h 200"/>
                <a:gd name="T52" fmla="*/ 31 w 83"/>
                <a:gd name="T53" fmla="*/ 29 h 200"/>
                <a:gd name="T54" fmla="*/ 31 w 83"/>
                <a:gd name="T55" fmla="*/ 27 h 200"/>
                <a:gd name="T56" fmla="*/ 32 w 83"/>
                <a:gd name="T57" fmla="*/ 25 h 200"/>
                <a:gd name="T58" fmla="*/ 30 w 83"/>
                <a:gd name="T59" fmla="*/ 25 h 200"/>
                <a:gd name="T60" fmla="*/ 31 w 83"/>
                <a:gd name="T61" fmla="*/ 24 h 200"/>
                <a:gd name="T62" fmla="*/ 31 w 83"/>
                <a:gd name="T63" fmla="*/ 23 h 200"/>
                <a:gd name="T64" fmla="*/ 33 w 83"/>
                <a:gd name="T65" fmla="*/ 21 h 200"/>
                <a:gd name="T66" fmla="*/ 32 w 83"/>
                <a:gd name="T67" fmla="*/ 20 h 200"/>
                <a:gd name="T68" fmla="*/ 36 w 83"/>
                <a:gd name="T69" fmla="*/ 18 h 200"/>
                <a:gd name="T70" fmla="*/ 42 w 83"/>
                <a:gd name="T71" fmla="*/ 4 h 200"/>
                <a:gd name="T72" fmla="*/ 57 w 83"/>
                <a:gd name="T73" fmla="*/ 4 h 200"/>
                <a:gd name="T74" fmla="*/ 66 w 83"/>
                <a:gd name="T75" fmla="*/ 19 h 200"/>
                <a:gd name="T76" fmla="*/ 65 w 83"/>
                <a:gd name="T77" fmla="*/ 29 h 200"/>
                <a:gd name="T78" fmla="*/ 69 w 83"/>
                <a:gd name="T79" fmla="*/ 31 h 200"/>
                <a:gd name="T80" fmla="*/ 68 w 83"/>
                <a:gd name="T81" fmla="*/ 34 h 200"/>
                <a:gd name="T82" fmla="*/ 75 w 83"/>
                <a:gd name="T83" fmla="*/ 42 h 200"/>
                <a:gd name="T84" fmla="*/ 74 w 83"/>
                <a:gd name="T85" fmla="*/ 44 h 200"/>
                <a:gd name="T86" fmla="*/ 78 w 83"/>
                <a:gd name="T87" fmla="*/ 46 h 200"/>
                <a:gd name="T88" fmla="*/ 72 w 83"/>
                <a:gd name="T89" fmla="*/ 48 h 200"/>
                <a:gd name="T90" fmla="*/ 72 w 83"/>
                <a:gd name="T91" fmla="*/ 55 h 200"/>
                <a:gd name="T92" fmla="*/ 76 w 83"/>
                <a:gd name="T93" fmla="*/ 65 h 200"/>
                <a:gd name="T94" fmla="*/ 69 w 83"/>
                <a:gd name="T95" fmla="*/ 73 h 200"/>
                <a:gd name="T96" fmla="*/ 78 w 83"/>
                <a:gd name="T97" fmla="*/ 107 h 200"/>
                <a:gd name="T98" fmla="*/ 79 w 83"/>
                <a:gd name="T99" fmla="*/ 115 h 200"/>
                <a:gd name="T100" fmla="*/ 75 w 83"/>
                <a:gd name="T101" fmla="*/ 117 h 200"/>
                <a:gd name="T102" fmla="*/ 74 w 83"/>
                <a:gd name="T103" fmla="*/ 117 h 200"/>
                <a:gd name="T104" fmla="*/ 73 w 83"/>
                <a:gd name="T105" fmla="*/ 116 h 200"/>
                <a:gd name="T106" fmla="*/ 72 w 83"/>
                <a:gd name="T107" fmla="*/ 141 h 200"/>
                <a:gd name="T108" fmla="*/ 31 w 83"/>
                <a:gd name="T109" fmla="*/ 80 h 200"/>
                <a:gd name="T110" fmla="*/ 30 w 83"/>
                <a:gd name="T111" fmla="*/ 96 h 200"/>
                <a:gd name="T112" fmla="*/ 32 w 83"/>
                <a:gd name="T113" fmla="*/ 70 h 200"/>
                <a:gd name="T114" fmla="*/ 31 w 83"/>
                <a:gd name="T115" fmla="*/ 80 h 2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3"/>
                <a:gd name="T175" fmla="*/ 0 h 200"/>
                <a:gd name="T176" fmla="*/ 83 w 83"/>
                <a:gd name="T177" fmla="*/ 200 h 2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3" h="200">
                  <a:moveTo>
                    <a:pt x="72" y="141"/>
                  </a:moveTo>
                  <a:cubicBezTo>
                    <a:pt x="72" y="154"/>
                    <a:pt x="73" y="189"/>
                    <a:pt x="72" y="189"/>
                  </a:cubicBezTo>
                  <a:cubicBezTo>
                    <a:pt x="70" y="189"/>
                    <a:pt x="69" y="189"/>
                    <a:pt x="69" y="191"/>
                  </a:cubicBezTo>
                  <a:cubicBezTo>
                    <a:pt x="69" y="192"/>
                    <a:pt x="71" y="195"/>
                    <a:pt x="71" y="198"/>
                  </a:cubicBezTo>
                  <a:cubicBezTo>
                    <a:pt x="70" y="200"/>
                    <a:pt x="64" y="199"/>
                    <a:pt x="63" y="195"/>
                  </a:cubicBezTo>
                  <a:cubicBezTo>
                    <a:pt x="61" y="192"/>
                    <a:pt x="61" y="190"/>
                    <a:pt x="60" y="190"/>
                  </a:cubicBezTo>
                  <a:cubicBezTo>
                    <a:pt x="59" y="189"/>
                    <a:pt x="59" y="188"/>
                    <a:pt x="59" y="186"/>
                  </a:cubicBezTo>
                  <a:cubicBezTo>
                    <a:pt x="59" y="183"/>
                    <a:pt x="58" y="128"/>
                    <a:pt x="56" y="122"/>
                  </a:cubicBezTo>
                  <a:cubicBezTo>
                    <a:pt x="54" y="115"/>
                    <a:pt x="53" y="108"/>
                    <a:pt x="52" y="108"/>
                  </a:cubicBezTo>
                  <a:cubicBezTo>
                    <a:pt x="51" y="108"/>
                    <a:pt x="50" y="108"/>
                    <a:pt x="47" y="114"/>
                  </a:cubicBezTo>
                  <a:cubicBezTo>
                    <a:pt x="45" y="119"/>
                    <a:pt x="40" y="125"/>
                    <a:pt x="38" y="132"/>
                  </a:cubicBezTo>
                  <a:cubicBezTo>
                    <a:pt x="37" y="140"/>
                    <a:pt x="26" y="190"/>
                    <a:pt x="23" y="190"/>
                  </a:cubicBezTo>
                  <a:cubicBezTo>
                    <a:pt x="21" y="191"/>
                    <a:pt x="19" y="189"/>
                    <a:pt x="19" y="190"/>
                  </a:cubicBezTo>
                  <a:cubicBezTo>
                    <a:pt x="19" y="192"/>
                    <a:pt x="11" y="195"/>
                    <a:pt x="8" y="197"/>
                  </a:cubicBezTo>
                  <a:cubicBezTo>
                    <a:pt x="5" y="198"/>
                    <a:pt x="0" y="198"/>
                    <a:pt x="3" y="194"/>
                  </a:cubicBezTo>
                  <a:cubicBezTo>
                    <a:pt x="6" y="191"/>
                    <a:pt x="10" y="188"/>
                    <a:pt x="9" y="188"/>
                  </a:cubicBezTo>
                  <a:cubicBezTo>
                    <a:pt x="7" y="187"/>
                    <a:pt x="9" y="184"/>
                    <a:pt x="10" y="181"/>
                  </a:cubicBezTo>
                  <a:cubicBezTo>
                    <a:pt x="11" y="178"/>
                    <a:pt x="21" y="146"/>
                    <a:pt x="24" y="135"/>
                  </a:cubicBezTo>
                  <a:cubicBezTo>
                    <a:pt x="26" y="123"/>
                    <a:pt x="28" y="114"/>
                    <a:pt x="27" y="112"/>
                  </a:cubicBezTo>
                  <a:cubicBezTo>
                    <a:pt x="26" y="110"/>
                    <a:pt x="25" y="107"/>
                    <a:pt x="25" y="105"/>
                  </a:cubicBezTo>
                  <a:cubicBezTo>
                    <a:pt x="26" y="104"/>
                    <a:pt x="26" y="101"/>
                    <a:pt x="25" y="98"/>
                  </a:cubicBezTo>
                  <a:cubicBezTo>
                    <a:pt x="25" y="94"/>
                    <a:pt x="22" y="78"/>
                    <a:pt x="23" y="75"/>
                  </a:cubicBezTo>
                  <a:cubicBezTo>
                    <a:pt x="23" y="71"/>
                    <a:pt x="24" y="62"/>
                    <a:pt x="23" y="61"/>
                  </a:cubicBezTo>
                  <a:cubicBezTo>
                    <a:pt x="23" y="60"/>
                    <a:pt x="17" y="53"/>
                    <a:pt x="18" y="52"/>
                  </a:cubicBezTo>
                  <a:cubicBezTo>
                    <a:pt x="20" y="50"/>
                    <a:pt x="22" y="47"/>
                    <a:pt x="23" y="43"/>
                  </a:cubicBezTo>
                  <a:cubicBezTo>
                    <a:pt x="24" y="38"/>
                    <a:pt x="25" y="33"/>
                    <a:pt x="27" y="32"/>
                  </a:cubicBezTo>
                  <a:cubicBezTo>
                    <a:pt x="29" y="31"/>
                    <a:pt x="32" y="29"/>
                    <a:pt x="31" y="29"/>
                  </a:cubicBezTo>
                  <a:cubicBezTo>
                    <a:pt x="30" y="28"/>
                    <a:pt x="30" y="27"/>
                    <a:pt x="31" y="27"/>
                  </a:cubicBezTo>
                  <a:cubicBezTo>
                    <a:pt x="31" y="27"/>
                    <a:pt x="33" y="25"/>
                    <a:pt x="32" y="25"/>
                  </a:cubicBezTo>
                  <a:cubicBezTo>
                    <a:pt x="30" y="26"/>
                    <a:pt x="29" y="25"/>
                    <a:pt x="30" y="25"/>
                  </a:cubicBezTo>
                  <a:cubicBezTo>
                    <a:pt x="31" y="25"/>
                    <a:pt x="32" y="24"/>
                    <a:pt x="31" y="24"/>
                  </a:cubicBezTo>
                  <a:cubicBezTo>
                    <a:pt x="30" y="24"/>
                    <a:pt x="30" y="23"/>
                    <a:pt x="31" y="23"/>
                  </a:cubicBezTo>
                  <a:cubicBezTo>
                    <a:pt x="32" y="23"/>
                    <a:pt x="34" y="21"/>
                    <a:pt x="33" y="21"/>
                  </a:cubicBezTo>
                  <a:cubicBezTo>
                    <a:pt x="32" y="21"/>
                    <a:pt x="30" y="20"/>
                    <a:pt x="32" y="20"/>
                  </a:cubicBezTo>
                  <a:cubicBezTo>
                    <a:pt x="34" y="20"/>
                    <a:pt x="36" y="21"/>
                    <a:pt x="36" y="18"/>
                  </a:cubicBezTo>
                  <a:cubicBezTo>
                    <a:pt x="35" y="15"/>
                    <a:pt x="37" y="6"/>
                    <a:pt x="42" y="4"/>
                  </a:cubicBezTo>
                  <a:cubicBezTo>
                    <a:pt x="47" y="1"/>
                    <a:pt x="53" y="0"/>
                    <a:pt x="57" y="4"/>
                  </a:cubicBezTo>
                  <a:cubicBezTo>
                    <a:pt x="61" y="8"/>
                    <a:pt x="67" y="17"/>
                    <a:pt x="66" y="19"/>
                  </a:cubicBezTo>
                  <a:cubicBezTo>
                    <a:pt x="65" y="22"/>
                    <a:pt x="63" y="27"/>
                    <a:pt x="65" y="29"/>
                  </a:cubicBezTo>
                  <a:cubicBezTo>
                    <a:pt x="67" y="31"/>
                    <a:pt x="73" y="32"/>
                    <a:pt x="69" y="31"/>
                  </a:cubicBezTo>
                  <a:cubicBezTo>
                    <a:pt x="65" y="30"/>
                    <a:pt x="63" y="30"/>
                    <a:pt x="68" y="34"/>
                  </a:cubicBezTo>
                  <a:cubicBezTo>
                    <a:pt x="72" y="38"/>
                    <a:pt x="78" y="42"/>
                    <a:pt x="75" y="42"/>
                  </a:cubicBezTo>
                  <a:cubicBezTo>
                    <a:pt x="73" y="42"/>
                    <a:pt x="72" y="42"/>
                    <a:pt x="74" y="44"/>
                  </a:cubicBezTo>
                  <a:cubicBezTo>
                    <a:pt x="77" y="45"/>
                    <a:pt x="83" y="48"/>
                    <a:pt x="78" y="46"/>
                  </a:cubicBezTo>
                  <a:cubicBezTo>
                    <a:pt x="73" y="44"/>
                    <a:pt x="71" y="44"/>
                    <a:pt x="72" y="48"/>
                  </a:cubicBezTo>
                  <a:cubicBezTo>
                    <a:pt x="73" y="51"/>
                    <a:pt x="72" y="52"/>
                    <a:pt x="72" y="55"/>
                  </a:cubicBezTo>
                  <a:cubicBezTo>
                    <a:pt x="72" y="58"/>
                    <a:pt x="78" y="63"/>
                    <a:pt x="76" y="65"/>
                  </a:cubicBezTo>
                  <a:cubicBezTo>
                    <a:pt x="74" y="67"/>
                    <a:pt x="67" y="70"/>
                    <a:pt x="69" y="73"/>
                  </a:cubicBezTo>
                  <a:cubicBezTo>
                    <a:pt x="70" y="77"/>
                    <a:pt x="76" y="103"/>
                    <a:pt x="78" y="107"/>
                  </a:cubicBezTo>
                  <a:cubicBezTo>
                    <a:pt x="80" y="110"/>
                    <a:pt x="80" y="115"/>
                    <a:pt x="79" y="115"/>
                  </a:cubicBezTo>
                  <a:cubicBezTo>
                    <a:pt x="79" y="116"/>
                    <a:pt x="76" y="118"/>
                    <a:pt x="75" y="117"/>
                  </a:cubicBezTo>
                  <a:cubicBezTo>
                    <a:pt x="75" y="117"/>
                    <a:pt x="74" y="117"/>
                    <a:pt x="74" y="117"/>
                  </a:cubicBezTo>
                  <a:cubicBezTo>
                    <a:pt x="74" y="117"/>
                    <a:pt x="73" y="115"/>
                    <a:pt x="73" y="116"/>
                  </a:cubicBezTo>
                  <a:cubicBezTo>
                    <a:pt x="73" y="117"/>
                    <a:pt x="72" y="141"/>
                    <a:pt x="72" y="141"/>
                  </a:cubicBezTo>
                  <a:close/>
                  <a:moveTo>
                    <a:pt x="31" y="80"/>
                  </a:moveTo>
                  <a:cubicBezTo>
                    <a:pt x="30" y="83"/>
                    <a:pt x="29" y="100"/>
                    <a:pt x="30" y="96"/>
                  </a:cubicBezTo>
                  <a:cubicBezTo>
                    <a:pt x="32" y="92"/>
                    <a:pt x="33" y="68"/>
                    <a:pt x="32" y="70"/>
                  </a:cubicBezTo>
                  <a:cubicBezTo>
                    <a:pt x="31" y="73"/>
                    <a:pt x="31" y="80"/>
                    <a:pt x="31" y="8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2" name="Freeform 34"/>
            <p:cNvSpPr>
              <a:spLocks noChangeAspect="1"/>
            </p:cNvSpPr>
            <p:nvPr/>
          </p:nvSpPr>
          <p:spPr bwMode="gray">
            <a:xfrm>
              <a:off x="12130088" y="3240088"/>
              <a:ext cx="41275" cy="74613"/>
            </a:xfrm>
            <a:custGeom>
              <a:avLst/>
              <a:gdLst>
                <a:gd name="T0" fmla="*/ 4 w 11"/>
                <a:gd name="T1" fmla="*/ 20 h 20"/>
                <a:gd name="T2" fmla="*/ 9 w 11"/>
                <a:gd name="T3" fmla="*/ 0 h 20"/>
                <a:gd name="T4" fmla="*/ 2 w 11"/>
                <a:gd name="T5" fmla="*/ 1 h 20"/>
                <a:gd name="T6" fmla="*/ 4 w 11"/>
                <a:gd name="T7" fmla="*/ 20 h 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20"/>
                <a:gd name="T14" fmla="*/ 11 w 11"/>
                <a:gd name="T15" fmla="*/ 20 h 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20">
                  <a:moveTo>
                    <a:pt x="4" y="20"/>
                  </a:moveTo>
                  <a:cubicBezTo>
                    <a:pt x="4" y="20"/>
                    <a:pt x="11" y="0"/>
                    <a:pt x="9" y="0"/>
                  </a:cubicBezTo>
                  <a:cubicBezTo>
                    <a:pt x="7" y="1"/>
                    <a:pt x="4" y="2"/>
                    <a:pt x="2" y="1"/>
                  </a:cubicBezTo>
                  <a:cubicBezTo>
                    <a:pt x="0" y="0"/>
                    <a:pt x="4" y="20"/>
                    <a:pt x="4" y="20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03" name="Oval 35"/>
            <p:cNvSpPr>
              <a:spLocks noChangeAspect="1" noChangeArrowheads="1"/>
            </p:cNvSpPr>
            <p:nvPr/>
          </p:nvSpPr>
          <p:spPr bwMode="gray">
            <a:xfrm>
              <a:off x="12144375" y="3330575"/>
              <a:ext cx="7938" cy="3175"/>
            </a:xfrm>
            <a:prstGeom prst="ellipse">
              <a:avLst/>
            </a:pr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1800" dirty="0">
                <a:latin typeface="Arial" pitchFamily="34" charset="0"/>
              </a:endParaRPr>
            </a:p>
          </p:txBody>
        </p:sp>
        <p:sp>
          <p:nvSpPr>
            <p:cNvPr id="104" name="Freeform 36"/>
            <p:cNvSpPr>
              <a:spLocks noChangeAspect="1"/>
            </p:cNvSpPr>
            <p:nvPr/>
          </p:nvSpPr>
          <p:spPr bwMode="gray">
            <a:xfrm>
              <a:off x="12072938" y="3375025"/>
              <a:ext cx="153988" cy="68263"/>
            </a:xfrm>
            <a:custGeom>
              <a:avLst/>
              <a:gdLst>
                <a:gd name="T0" fmla="*/ 36 w 41"/>
                <a:gd name="T1" fmla="*/ 1 h 18"/>
                <a:gd name="T2" fmla="*/ 24 w 41"/>
                <a:gd name="T3" fmla="*/ 4 h 18"/>
                <a:gd name="T4" fmla="*/ 23 w 41"/>
                <a:gd name="T5" fmla="*/ 4 h 18"/>
                <a:gd name="T6" fmla="*/ 20 w 41"/>
                <a:gd name="T7" fmla="*/ 3 h 18"/>
                <a:gd name="T8" fmla="*/ 18 w 41"/>
                <a:gd name="T9" fmla="*/ 3 h 18"/>
                <a:gd name="T10" fmla="*/ 15 w 41"/>
                <a:gd name="T11" fmla="*/ 5 h 18"/>
                <a:gd name="T12" fmla="*/ 14 w 41"/>
                <a:gd name="T13" fmla="*/ 5 h 18"/>
                <a:gd name="T14" fmla="*/ 1 w 41"/>
                <a:gd name="T15" fmla="*/ 1 h 18"/>
                <a:gd name="T16" fmla="*/ 0 w 41"/>
                <a:gd name="T17" fmla="*/ 12 h 18"/>
                <a:gd name="T18" fmla="*/ 15 w 41"/>
                <a:gd name="T19" fmla="*/ 16 h 18"/>
                <a:gd name="T20" fmla="*/ 18 w 41"/>
                <a:gd name="T21" fmla="*/ 18 h 18"/>
                <a:gd name="T22" fmla="*/ 20 w 41"/>
                <a:gd name="T23" fmla="*/ 18 h 18"/>
                <a:gd name="T24" fmla="*/ 24 w 41"/>
                <a:gd name="T25" fmla="*/ 15 h 18"/>
                <a:gd name="T26" fmla="*/ 39 w 41"/>
                <a:gd name="T27" fmla="*/ 10 h 18"/>
                <a:gd name="T28" fmla="*/ 36 w 41"/>
                <a:gd name="T29" fmla="*/ 1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1"/>
                <a:gd name="T46" fmla="*/ 0 h 18"/>
                <a:gd name="T47" fmla="*/ 41 w 41"/>
                <a:gd name="T48" fmla="*/ 18 h 1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1" h="18">
                  <a:moveTo>
                    <a:pt x="36" y="1"/>
                  </a:moveTo>
                  <a:cubicBezTo>
                    <a:pt x="35" y="0"/>
                    <a:pt x="28" y="3"/>
                    <a:pt x="24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3"/>
                    <a:pt x="22" y="3"/>
                    <a:pt x="2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5" y="3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ubicBezTo>
                    <a:pt x="8" y="5"/>
                    <a:pt x="2" y="2"/>
                    <a:pt x="1" y="1"/>
                  </a:cubicBezTo>
                  <a:cubicBezTo>
                    <a:pt x="0" y="0"/>
                    <a:pt x="0" y="10"/>
                    <a:pt x="0" y="12"/>
                  </a:cubicBezTo>
                  <a:cubicBezTo>
                    <a:pt x="0" y="13"/>
                    <a:pt x="9" y="15"/>
                    <a:pt x="15" y="16"/>
                  </a:cubicBezTo>
                  <a:cubicBezTo>
                    <a:pt x="15" y="17"/>
                    <a:pt x="17" y="18"/>
                    <a:pt x="18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2" y="18"/>
                    <a:pt x="24" y="17"/>
                    <a:pt x="24" y="15"/>
                  </a:cubicBezTo>
                  <a:cubicBezTo>
                    <a:pt x="31" y="14"/>
                    <a:pt x="38" y="11"/>
                    <a:pt x="39" y="10"/>
                  </a:cubicBezTo>
                  <a:cubicBezTo>
                    <a:pt x="41" y="10"/>
                    <a:pt x="36" y="2"/>
                    <a:pt x="36" y="1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08" name="Gruppieren 60"/>
          <p:cNvGrpSpPr>
            <a:grpSpLocks noChangeAspect="1"/>
          </p:cNvGrpSpPr>
          <p:nvPr>
            <p:custDataLst>
              <p:tags r:id="rId30"/>
            </p:custDataLst>
          </p:nvPr>
        </p:nvGrpSpPr>
        <p:grpSpPr bwMode="gray">
          <a:xfrm flipH="1">
            <a:off x="6097567" y="1736812"/>
            <a:ext cx="201326" cy="549605"/>
            <a:chOff x="9969500" y="2562225"/>
            <a:chExt cx="277813" cy="625475"/>
          </a:xfrm>
        </p:grpSpPr>
        <p:sp>
          <p:nvSpPr>
            <p:cNvPr id="209" name="Freeform 37"/>
            <p:cNvSpPr>
              <a:spLocks noChangeAspect="1" noEditPoints="1"/>
            </p:cNvSpPr>
            <p:nvPr/>
          </p:nvSpPr>
          <p:spPr bwMode="gray">
            <a:xfrm>
              <a:off x="9969500" y="2562225"/>
              <a:ext cx="277813" cy="625475"/>
            </a:xfrm>
            <a:custGeom>
              <a:avLst/>
              <a:gdLst>
                <a:gd name="T0" fmla="*/ 23 w 74"/>
                <a:gd name="T1" fmla="*/ 88 h 167"/>
                <a:gd name="T2" fmla="*/ 21 w 74"/>
                <a:gd name="T3" fmla="*/ 84 h 167"/>
                <a:gd name="T4" fmla="*/ 12 w 74"/>
                <a:gd name="T5" fmla="*/ 85 h 167"/>
                <a:gd name="T6" fmla="*/ 14 w 74"/>
                <a:gd name="T7" fmla="*/ 71 h 167"/>
                <a:gd name="T8" fmla="*/ 4 w 74"/>
                <a:gd name="T9" fmla="*/ 45 h 167"/>
                <a:gd name="T10" fmla="*/ 12 w 74"/>
                <a:gd name="T11" fmla="*/ 35 h 167"/>
                <a:gd name="T12" fmla="*/ 16 w 74"/>
                <a:gd name="T13" fmla="*/ 27 h 167"/>
                <a:gd name="T14" fmla="*/ 32 w 74"/>
                <a:gd name="T15" fmla="*/ 23 h 167"/>
                <a:gd name="T16" fmla="*/ 30 w 74"/>
                <a:gd name="T17" fmla="*/ 14 h 167"/>
                <a:gd name="T18" fmla="*/ 39 w 74"/>
                <a:gd name="T19" fmla="*/ 1 h 167"/>
                <a:gd name="T20" fmla="*/ 48 w 74"/>
                <a:gd name="T21" fmla="*/ 13 h 167"/>
                <a:gd name="T22" fmla="*/ 46 w 74"/>
                <a:gd name="T23" fmla="*/ 19 h 167"/>
                <a:gd name="T24" fmla="*/ 45 w 74"/>
                <a:gd name="T25" fmla="*/ 25 h 167"/>
                <a:gd name="T26" fmla="*/ 60 w 74"/>
                <a:gd name="T27" fmla="*/ 31 h 167"/>
                <a:gd name="T28" fmla="*/ 67 w 74"/>
                <a:gd name="T29" fmla="*/ 38 h 167"/>
                <a:gd name="T30" fmla="*/ 72 w 74"/>
                <a:gd name="T31" fmla="*/ 50 h 167"/>
                <a:gd name="T32" fmla="*/ 60 w 74"/>
                <a:gd name="T33" fmla="*/ 67 h 167"/>
                <a:gd name="T34" fmla="*/ 55 w 74"/>
                <a:gd name="T35" fmla="*/ 88 h 167"/>
                <a:gd name="T36" fmla="*/ 53 w 74"/>
                <a:gd name="T37" fmla="*/ 122 h 167"/>
                <a:gd name="T38" fmla="*/ 50 w 74"/>
                <a:gd name="T39" fmla="*/ 138 h 167"/>
                <a:gd name="T40" fmla="*/ 48 w 74"/>
                <a:gd name="T41" fmla="*/ 144 h 167"/>
                <a:gd name="T42" fmla="*/ 56 w 74"/>
                <a:gd name="T43" fmla="*/ 155 h 167"/>
                <a:gd name="T44" fmla="*/ 44 w 74"/>
                <a:gd name="T45" fmla="*/ 151 h 167"/>
                <a:gd name="T46" fmla="*/ 39 w 74"/>
                <a:gd name="T47" fmla="*/ 148 h 167"/>
                <a:gd name="T48" fmla="*/ 39 w 74"/>
                <a:gd name="T49" fmla="*/ 139 h 167"/>
                <a:gd name="T50" fmla="*/ 40 w 74"/>
                <a:gd name="T51" fmla="*/ 125 h 167"/>
                <a:gd name="T52" fmla="*/ 40 w 74"/>
                <a:gd name="T53" fmla="*/ 120 h 167"/>
                <a:gd name="T54" fmla="*/ 40 w 74"/>
                <a:gd name="T55" fmla="*/ 116 h 167"/>
                <a:gd name="T56" fmla="*/ 40 w 74"/>
                <a:gd name="T57" fmla="*/ 105 h 167"/>
                <a:gd name="T58" fmla="*/ 39 w 74"/>
                <a:gd name="T59" fmla="*/ 97 h 167"/>
                <a:gd name="T60" fmla="*/ 36 w 74"/>
                <a:gd name="T61" fmla="*/ 104 h 167"/>
                <a:gd name="T62" fmla="*/ 33 w 74"/>
                <a:gd name="T63" fmla="*/ 117 h 167"/>
                <a:gd name="T64" fmla="*/ 27 w 74"/>
                <a:gd name="T65" fmla="*/ 146 h 167"/>
                <a:gd name="T66" fmla="*/ 26 w 74"/>
                <a:gd name="T67" fmla="*/ 152 h 167"/>
                <a:gd name="T68" fmla="*/ 22 w 74"/>
                <a:gd name="T69" fmla="*/ 167 h 167"/>
                <a:gd name="T70" fmla="*/ 17 w 74"/>
                <a:gd name="T71" fmla="*/ 154 h 167"/>
                <a:gd name="T72" fmla="*/ 18 w 74"/>
                <a:gd name="T73" fmla="*/ 141 h 167"/>
                <a:gd name="T74" fmla="*/ 20 w 74"/>
                <a:gd name="T75" fmla="*/ 122 h 167"/>
                <a:gd name="T76" fmla="*/ 23 w 74"/>
                <a:gd name="T77" fmla="*/ 113 h 167"/>
                <a:gd name="T78" fmla="*/ 23 w 74"/>
                <a:gd name="T79" fmla="*/ 106 h 167"/>
                <a:gd name="T80" fmla="*/ 18 w 74"/>
                <a:gd name="T81" fmla="*/ 42 h 167"/>
                <a:gd name="T82" fmla="*/ 13 w 74"/>
                <a:gd name="T83" fmla="*/ 53 h 167"/>
                <a:gd name="T84" fmla="*/ 16 w 74"/>
                <a:gd name="T85" fmla="*/ 59 h 167"/>
                <a:gd name="T86" fmla="*/ 18 w 74"/>
                <a:gd name="T87" fmla="*/ 42 h 167"/>
                <a:gd name="T88" fmla="*/ 59 w 74"/>
                <a:gd name="T89" fmla="*/ 53 h 167"/>
                <a:gd name="T90" fmla="*/ 63 w 74"/>
                <a:gd name="T91" fmla="*/ 48 h 167"/>
                <a:gd name="T92" fmla="*/ 59 w 74"/>
                <a:gd name="T93" fmla="*/ 45 h 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"/>
                <a:gd name="T142" fmla="*/ 0 h 167"/>
                <a:gd name="T143" fmla="*/ 74 w 74"/>
                <a:gd name="T144" fmla="*/ 167 h 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" h="167">
                  <a:moveTo>
                    <a:pt x="23" y="96"/>
                  </a:moveTo>
                  <a:cubicBezTo>
                    <a:pt x="23" y="95"/>
                    <a:pt x="23" y="94"/>
                    <a:pt x="23" y="93"/>
                  </a:cubicBezTo>
                  <a:cubicBezTo>
                    <a:pt x="23" y="92"/>
                    <a:pt x="23" y="89"/>
                    <a:pt x="23" y="88"/>
                  </a:cubicBezTo>
                  <a:cubicBezTo>
                    <a:pt x="24" y="88"/>
                    <a:pt x="23" y="88"/>
                    <a:pt x="23" y="88"/>
                  </a:cubicBezTo>
                  <a:cubicBezTo>
                    <a:pt x="23" y="87"/>
                    <a:pt x="23" y="86"/>
                    <a:pt x="23" y="85"/>
                  </a:cubicBezTo>
                  <a:cubicBezTo>
                    <a:pt x="23" y="85"/>
                    <a:pt x="22" y="84"/>
                    <a:pt x="21" y="84"/>
                  </a:cubicBezTo>
                  <a:cubicBezTo>
                    <a:pt x="21" y="84"/>
                    <a:pt x="21" y="86"/>
                    <a:pt x="19" y="87"/>
                  </a:cubicBezTo>
                  <a:cubicBezTo>
                    <a:pt x="17" y="88"/>
                    <a:pt x="15" y="86"/>
                    <a:pt x="13" y="86"/>
                  </a:cubicBezTo>
                  <a:cubicBezTo>
                    <a:pt x="12" y="85"/>
                    <a:pt x="13" y="85"/>
                    <a:pt x="12" y="85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1" y="84"/>
                    <a:pt x="12" y="82"/>
                    <a:pt x="13" y="80"/>
                  </a:cubicBezTo>
                  <a:cubicBezTo>
                    <a:pt x="13" y="79"/>
                    <a:pt x="14" y="72"/>
                    <a:pt x="14" y="71"/>
                  </a:cubicBezTo>
                  <a:cubicBezTo>
                    <a:pt x="14" y="71"/>
                    <a:pt x="11" y="67"/>
                    <a:pt x="10" y="65"/>
                  </a:cubicBezTo>
                  <a:cubicBezTo>
                    <a:pt x="8" y="64"/>
                    <a:pt x="3" y="56"/>
                    <a:pt x="1" y="53"/>
                  </a:cubicBezTo>
                  <a:cubicBezTo>
                    <a:pt x="0" y="51"/>
                    <a:pt x="2" y="48"/>
                    <a:pt x="4" y="45"/>
                  </a:cubicBezTo>
                  <a:cubicBezTo>
                    <a:pt x="6" y="42"/>
                    <a:pt x="8" y="40"/>
                    <a:pt x="9" y="40"/>
                  </a:cubicBezTo>
                  <a:cubicBezTo>
                    <a:pt x="10" y="39"/>
                    <a:pt x="11" y="37"/>
                    <a:pt x="11" y="37"/>
                  </a:cubicBezTo>
                  <a:cubicBezTo>
                    <a:pt x="11" y="36"/>
                    <a:pt x="12" y="36"/>
                    <a:pt x="12" y="35"/>
                  </a:cubicBezTo>
                  <a:cubicBezTo>
                    <a:pt x="13" y="35"/>
                    <a:pt x="13" y="34"/>
                    <a:pt x="14" y="33"/>
                  </a:cubicBezTo>
                  <a:cubicBezTo>
                    <a:pt x="14" y="33"/>
                    <a:pt x="14" y="32"/>
                    <a:pt x="15" y="31"/>
                  </a:cubicBezTo>
                  <a:cubicBezTo>
                    <a:pt x="15" y="31"/>
                    <a:pt x="15" y="29"/>
                    <a:pt x="16" y="27"/>
                  </a:cubicBezTo>
                  <a:cubicBezTo>
                    <a:pt x="16" y="26"/>
                    <a:pt x="20" y="25"/>
                    <a:pt x="22" y="25"/>
                  </a:cubicBezTo>
                  <a:cubicBezTo>
                    <a:pt x="24" y="25"/>
                    <a:pt x="27" y="24"/>
                    <a:pt x="29" y="25"/>
                  </a:cubicBezTo>
                  <a:cubicBezTo>
                    <a:pt x="30" y="25"/>
                    <a:pt x="30" y="24"/>
                    <a:pt x="32" y="23"/>
                  </a:cubicBezTo>
                  <a:cubicBezTo>
                    <a:pt x="34" y="21"/>
                    <a:pt x="33" y="19"/>
                    <a:pt x="33" y="18"/>
                  </a:cubicBezTo>
                  <a:cubicBezTo>
                    <a:pt x="33" y="18"/>
                    <a:pt x="33" y="18"/>
                    <a:pt x="32" y="18"/>
                  </a:cubicBezTo>
                  <a:cubicBezTo>
                    <a:pt x="31" y="17"/>
                    <a:pt x="31" y="15"/>
                    <a:pt x="30" y="14"/>
                  </a:cubicBezTo>
                  <a:cubicBezTo>
                    <a:pt x="30" y="13"/>
                    <a:pt x="30" y="12"/>
                    <a:pt x="31" y="12"/>
                  </a:cubicBezTo>
                  <a:cubicBezTo>
                    <a:pt x="31" y="12"/>
                    <a:pt x="30" y="8"/>
                    <a:pt x="31" y="5"/>
                  </a:cubicBezTo>
                  <a:cubicBezTo>
                    <a:pt x="32" y="2"/>
                    <a:pt x="37" y="1"/>
                    <a:pt x="39" y="1"/>
                  </a:cubicBezTo>
                  <a:cubicBezTo>
                    <a:pt x="42" y="0"/>
                    <a:pt x="45" y="3"/>
                    <a:pt x="47" y="5"/>
                  </a:cubicBezTo>
                  <a:cubicBezTo>
                    <a:pt x="48" y="7"/>
                    <a:pt x="48" y="11"/>
                    <a:pt x="47" y="12"/>
                  </a:cubicBezTo>
                  <a:cubicBezTo>
                    <a:pt x="47" y="13"/>
                    <a:pt x="47" y="13"/>
                    <a:pt x="48" y="13"/>
                  </a:cubicBezTo>
                  <a:cubicBezTo>
                    <a:pt x="48" y="13"/>
                    <a:pt x="48" y="14"/>
                    <a:pt x="47" y="16"/>
                  </a:cubicBezTo>
                  <a:cubicBezTo>
                    <a:pt x="47" y="18"/>
                    <a:pt x="47" y="18"/>
                    <a:pt x="46" y="18"/>
                  </a:cubicBezTo>
                  <a:cubicBezTo>
                    <a:pt x="46" y="18"/>
                    <a:pt x="46" y="18"/>
                    <a:pt x="46" y="19"/>
                  </a:cubicBezTo>
                  <a:cubicBezTo>
                    <a:pt x="46" y="20"/>
                    <a:pt x="45" y="22"/>
                    <a:pt x="44" y="23"/>
                  </a:cubicBezTo>
                  <a:cubicBezTo>
                    <a:pt x="44" y="23"/>
                    <a:pt x="44" y="24"/>
                    <a:pt x="44" y="24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6" y="24"/>
                    <a:pt x="52" y="24"/>
                    <a:pt x="55" y="24"/>
                  </a:cubicBezTo>
                  <a:cubicBezTo>
                    <a:pt x="57" y="24"/>
                    <a:pt x="57" y="26"/>
                    <a:pt x="58" y="27"/>
                  </a:cubicBezTo>
                  <a:cubicBezTo>
                    <a:pt x="59" y="28"/>
                    <a:pt x="60" y="30"/>
                    <a:pt x="60" y="31"/>
                  </a:cubicBezTo>
                  <a:cubicBezTo>
                    <a:pt x="61" y="31"/>
                    <a:pt x="61" y="32"/>
                    <a:pt x="62" y="33"/>
                  </a:cubicBezTo>
                  <a:cubicBezTo>
                    <a:pt x="62" y="33"/>
                    <a:pt x="64" y="35"/>
                    <a:pt x="64" y="36"/>
                  </a:cubicBezTo>
                  <a:cubicBezTo>
                    <a:pt x="65" y="36"/>
                    <a:pt x="66" y="38"/>
                    <a:pt x="67" y="38"/>
                  </a:cubicBezTo>
                  <a:cubicBezTo>
                    <a:pt x="67" y="38"/>
                    <a:pt x="68" y="40"/>
                    <a:pt x="69" y="41"/>
                  </a:cubicBezTo>
                  <a:cubicBezTo>
                    <a:pt x="70" y="41"/>
                    <a:pt x="72" y="43"/>
                    <a:pt x="73" y="45"/>
                  </a:cubicBezTo>
                  <a:cubicBezTo>
                    <a:pt x="74" y="47"/>
                    <a:pt x="73" y="49"/>
                    <a:pt x="72" y="50"/>
                  </a:cubicBezTo>
                  <a:cubicBezTo>
                    <a:pt x="71" y="51"/>
                    <a:pt x="69" y="55"/>
                    <a:pt x="68" y="57"/>
                  </a:cubicBezTo>
                  <a:cubicBezTo>
                    <a:pt x="67" y="58"/>
                    <a:pt x="63" y="62"/>
                    <a:pt x="63" y="63"/>
                  </a:cubicBezTo>
                  <a:cubicBezTo>
                    <a:pt x="62" y="63"/>
                    <a:pt x="60" y="67"/>
                    <a:pt x="60" y="67"/>
                  </a:cubicBezTo>
                  <a:cubicBezTo>
                    <a:pt x="59" y="67"/>
                    <a:pt x="61" y="77"/>
                    <a:pt x="62" y="79"/>
                  </a:cubicBezTo>
                  <a:cubicBezTo>
                    <a:pt x="62" y="82"/>
                    <a:pt x="56" y="82"/>
                    <a:pt x="56" y="81"/>
                  </a:cubicBezTo>
                  <a:cubicBezTo>
                    <a:pt x="55" y="81"/>
                    <a:pt x="55" y="86"/>
                    <a:pt x="55" y="88"/>
                  </a:cubicBezTo>
                  <a:cubicBezTo>
                    <a:pt x="55" y="90"/>
                    <a:pt x="55" y="93"/>
                    <a:pt x="55" y="94"/>
                  </a:cubicBezTo>
                  <a:cubicBezTo>
                    <a:pt x="54" y="96"/>
                    <a:pt x="53" y="113"/>
                    <a:pt x="53" y="115"/>
                  </a:cubicBezTo>
                  <a:cubicBezTo>
                    <a:pt x="53" y="118"/>
                    <a:pt x="53" y="120"/>
                    <a:pt x="53" y="122"/>
                  </a:cubicBezTo>
                  <a:cubicBezTo>
                    <a:pt x="53" y="123"/>
                    <a:pt x="53" y="124"/>
                    <a:pt x="53" y="125"/>
                  </a:cubicBezTo>
                  <a:cubicBezTo>
                    <a:pt x="52" y="126"/>
                    <a:pt x="50" y="130"/>
                    <a:pt x="50" y="133"/>
                  </a:cubicBezTo>
                  <a:cubicBezTo>
                    <a:pt x="49" y="135"/>
                    <a:pt x="50" y="136"/>
                    <a:pt x="50" y="138"/>
                  </a:cubicBezTo>
                  <a:cubicBezTo>
                    <a:pt x="50" y="139"/>
                    <a:pt x="49" y="140"/>
                    <a:pt x="49" y="140"/>
                  </a:cubicBezTo>
                  <a:cubicBezTo>
                    <a:pt x="49" y="141"/>
                    <a:pt x="49" y="141"/>
                    <a:pt x="48" y="142"/>
                  </a:cubicBezTo>
                  <a:cubicBezTo>
                    <a:pt x="47" y="143"/>
                    <a:pt x="48" y="143"/>
                    <a:pt x="48" y="144"/>
                  </a:cubicBezTo>
                  <a:cubicBezTo>
                    <a:pt x="49" y="144"/>
                    <a:pt x="49" y="145"/>
                    <a:pt x="48" y="146"/>
                  </a:cubicBezTo>
                  <a:cubicBezTo>
                    <a:pt x="48" y="146"/>
                    <a:pt x="54" y="152"/>
                    <a:pt x="55" y="153"/>
                  </a:cubicBezTo>
                  <a:cubicBezTo>
                    <a:pt x="57" y="153"/>
                    <a:pt x="57" y="154"/>
                    <a:pt x="56" y="155"/>
                  </a:cubicBezTo>
                  <a:cubicBezTo>
                    <a:pt x="56" y="155"/>
                    <a:pt x="53" y="156"/>
                    <a:pt x="51" y="156"/>
                  </a:cubicBezTo>
                  <a:cubicBezTo>
                    <a:pt x="49" y="156"/>
                    <a:pt x="45" y="154"/>
                    <a:pt x="45" y="153"/>
                  </a:cubicBezTo>
                  <a:cubicBezTo>
                    <a:pt x="45" y="153"/>
                    <a:pt x="44" y="152"/>
                    <a:pt x="44" y="151"/>
                  </a:cubicBezTo>
                  <a:cubicBezTo>
                    <a:pt x="43" y="150"/>
                    <a:pt x="43" y="151"/>
                    <a:pt x="42" y="151"/>
                  </a:cubicBezTo>
                  <a:cubicBezTo>
                    <a:pt x="42" y="151"/>
                    <a:pt x="39" y="150"/>
                    <a:pt x="39" y="150"/>
                  </a:cubicBezTo>
                  <a:cubicBezTo>
                    <a:pt x="38" y="149"/>
                    <a:pt x="39" y="149"/>
                    <a:pt x="39" y="148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38" y="145"/>
                    <a:pt x="38" y="144"/>
                  </a:cubicBezTo>
                  <a:cubicBezTo>
                    <a:pt x="37" y="143"/>
                    <a:pt x="38" y="140"/>
                    <a:pt x="39" y="139"/>
                  </a:cubicBezTo>
                  <a:cubicBezTo>
                    <a:pt x="40" y="138"/>
                    <a:pt x="40" y="137"/>
                    <a:pt x="40" y="136"/>
                  </a:cubicBezTo>
                  <a:cubicBezTo>
                    <a:pt x="40" y="135"/>
                    <a:pt x="40" y="130"/>
                    <a:pt x="40" y="129"/>
                  </a:cubicBezTo>
                  <a:cubicBezTo>
                    <a:pt x="40" y="127"/>
                    <a:pt x="40" y="126"/>
                    <a:pt x="40" y="125"/>
                  </a:cubicBezTo>
                  <a:cubicBezTo>
                    <a:pt x="40" y="125"/>
                    <a:pt x="40" y="125"/>
                    <a:pt x="40" y="124"/>
                  </a:cubicBezTo>
                  <a:cubicBezTo>
                    <a:pt x="40" y="124"/>
                    <a:pt x="40" y="123"/>
                    <a:pt x="40" y="122"/>
                  </a:cubicBezTo>
                  <a:cubicBezTo>
                    <a:pt x="39" y="121"/>
                    <a:pt x="40" y="121"/>
                    <a:pt x="40" y="120"/>
                  </a:cubicBezTo>
                  <a:cubicBezTo>
                    <a:pt x="40" y="120"/>
                    <a:pt x="40" y="120"/>
                    <a:pt x="40" y="119"/>
                  </a:cubicBezTo>
                  <a:cubicBezTo>
                    <a:pt x="40" y="119"/>
                    <a:pt x="40" y="119"/>
                    <a:pt x="40" y="118"/>
                  </a:cubicBezTo>
                  <a:cubicBezTo>
                    <a:pt x="41" y="117"/>
                    <a:pt x="41" y="117"/>
                    <a:pt x="40" y="116"/>
                  </a:cubicBezTo>
                  <a:cubicBezTo>
                    <a:pt x="40" y="116"/>
                    <a:pt x="40" y="115"/>
                    <a:pt x="41" y="114"/>
                  </a:cubicBezTo>
                  <a:cubicBezTo>
                    <a:pt x="41" y="113"/>
                    <a:pt x="40" y="110"/>
                    <a:pt x="40" y="108"/>
                  </a:cubicBezTo>
                  <a:cubicBezTo>
                    <a:pt x="40" y="107"/>
                    <a:pt x="40" y="105"/>
                    <a:pt x="40" y="105"/>
                  </a:cubicBezTo>
                  <a:cubicBezTo>
                    <a:pt x="40" y="104"/>
                    <a:pt x="40" y="104"/>
                    <a:pt x="39" y="104"/>
                  </a:cubicBezTo>
                  <a:cubicBezTo>
                    <a:pt x="39" y="103"/>
                    <a:pt x="39" y="97"/>
                    <a:pt x="39" y="96"/>
                  </a:cubicBezTo>
                  <a:cubicBezTo>
                    <a:pt x="39" y="96"/>
                    <a:pt x="39" y="96"/>
                    <a:pt x="39" y="97"/>
                  </a:cubicBezTo>
                  <a:cubicBezTo>
                    <a:pt x="39" y="98"/>
                    <a:pt x="37" y="100"/>
                    <a:pt x="38" y="101"/>
                  </a:cubicBezTo>
                  <a:cubicBezTo>
                    <a:pt x="38" y="101"/>
                    <a:pt x="38" y="101"/>
                    <a:pt x="37" y="102"/>
                  </a:cubicBezTo>
                  <a:cubicBezTo>
                    <a:pt x="37" y="102"/>
                    <a:pt x="37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6" y="106"/>
                    <a:pt x="35" y="107"/>
                    <a:pt x="35" y="108"/>
                  </a:cubicBezTo>
                  <a:cubicBezTo>
                    <a:pt x="35" y="108"/>
                    <a:pt x="33" y="116"/>
                    <a:pt x="33" y="117"/>
                  </a:cubicBezTo>
                  <a:cubicBezTo>
                    <a:pt x="33" y="119"/>
                    <a:pt x="33" y="119"/>
                    <a:pt x="33" y="120"/>
                  </a:cubicBezTo>
                  <a:cubicBezTo>
                    <a:pt x="33" y="121"/>
                    <a:pt x="30" y="134"/>
                    <a:pt x="29" y="136"/>
                  </a:cubicBezTo>
                  <a:cubicBezTo>
                    <a:pt x="29" y="139"/>
                    <a:pt x="28" y="145"/>
                    <a:pt x="27" y="146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48"/>
                    <a:pt x="28" y="148"/>
                    <a:pt x="27" y="149"/>
                  </a:cubicBezTo>
                  <a:cubicBezTo>
                    <a:pt x="27" y="151"/>
                    <a:pt x="26" y="151"/>
                    <a:pt x="26" y="152"/>
                  </a:cubicBezTo>
                  <a:cubicBezTo>
                    <a:pt x="26" y="153"/>
                    <a:pt x="26" y="155"/>
                    <a:pt x="25" y="155"/>
                  </a:cubicBezTo>
                  <a:cubicBezTo>
                    <a:pt x="24" y="156"/>
                    <a:pt x="26" y="158"/>
                    <a:pt x="27" y="162"/>
                  </a:cubicBezTo>
                  <a:cubicBezTo>
                    <a:pt x="28" y="166"/>
                    <a:pt x="25" y="167"/>
                    <a:pt x="22" y="167"/>
                  </a:cubicBezTo>
                  <a:cubicBezTo>
                    <a:pt x="19" y="167"/>
                    <a:pt x="17" y="163"/>
                    <a:pt x="17" y="161"/>
                  </a:cubicBezTo>
                  <a:cubicBezTo>
                    <a:pt x="17" y="160"/>
                    <a:pt x="17" y="158"/>
                    <a:pt x="17" y="156"/>
                  </a:cubicBezTo>
                  <a:cubicBezTo>
                    <a:pt x="16" y="155"/>
                    <a:pt x="17" y="155"/>
                    <a:pt x="17" y="154"/>
                  </a:cubicBezTo>
                  <a:cubicBezTo>
                    <a:pt x="16" y="154"/>
                    <a:pt x="16" y="151"/>
                    <a:pt x="15" y="150"/>
                  </a:cubicBezTo>
                  <a:cubicBezTo>
                    <a:pt x="15" y="148"/>
                    <a:pt x="18" y="146"/>
                    <a:pt x="18" y="146"/>
                  </a:cubicBezTo>
                  <a:cubicBezTo>
                    <a:pt x="19" y="145"/>
                    <a:pt x="19" y="143"/>
                    <a:pt x="18" y="141"/>
                  </a:cubicBezTo>
                  <a:cubicBezTo>
                    <a:pt x="17" y="140"/>
                    <a:pt x="18" y="131"/>
                    <a:pt x="18" y="129"/>
                  </a:cubicBezTo>
                  <a:cubicBezTo>
                    <a:pt x="19" y="127"/>
                    <a:pt x="19" y="126"/>
                    <a:pt x="19" y="125"/>
                  </a:cubicBezTo>
                  <a:cubicBezTo>
                    <a:pt x="19" y="124"/>
                    <a:pt x="19" y="124"/>
                    <a:pt x="20" y="122"/>
                  </a:cubicBezTo>
                  <a:cubicBezTo>
                    <a:pt x="20" y="121"/>
                    <a:pt x="21" y="119"/>
                    <a:pt x="21" y="118"/>
                  </a:cubicBezTo>
                  <a:cubicBezTo>
                    <a:pt x="22" y="117"/>
                    <a:pt x="22" y="117"/>
                    <a:pt x="22" y="115"/>
                  </a:cubicBezTo>
                  <a:cubicBezTo>
                    <a:pt x="22" y="114"/>
                    <a:pt x="22" y="114"/>
                    <a:pt x="23" y="113"/>
                  </a:cubicBezTo>
                  <a:cubicBezTo>
                    <a:pt x="23" y="112"/>
                    <a:pt x="23" y="112"/>
                    <a:pt x="23" y="111"/>
                  </a:cubicBezTo>
                  <a:cubicBezTo>
                    <a:pt x="23" y="110"/>
                    <a:pt x="23" y="109"/>
                    <a:pt x="23" y="108"/>
                  </a:cubicBezTo>
                  <a:cubicBezTo>
                    <a:pt x="23" y="107"/>
                    <a:pt x="23" y="107"/>
                    <a:pt x="23" y="106"/>
                  </a:cubicBezTo>
                  <a:cubicBezTo>
                    <a:pt x="23" y="105"/>
                    <a:pt x="23" y="100"/>
                    <a:pt x="23" y="99"/>
                  </a:cubicBezTo>
                  <a:cubicBezTo>
                    <a:pt x="23" y="99"/>
                    <a:pt x="23" y="97"/>
                    <a:pt x="23" y="96"/>
                  </a:cubicBezTo>
                  <a:close/>
                  <a:moveTo>
                    <a:pt x="18" y="42"/>
                  </a:moveTo>
                  <a:cubicBezTo>
                    <a:pt x="18" y="41"/>
                    <a:pt x="16" y="46"/>
                    <a:pt x="15" y="47"/>
                  </a:cubicBezTo>
                  <a:cubicBezTo>
                    <a:pt x="15" y="48"/>
                    <a:pt x="14" y="50"/>
                    <a:pt x="13" y="51"/>
                  </a:cubicBezTo>
                  <a:cubicBezTo>
                    <a:pt x="13" y="52"/>
                    <a:pt x="13" y="52"/>
                    <a:pt x="13" y="53"/>
                  </a:cubicBezTo>
                  <a:cubicBezTo>
                    <a:pt x="14" y="53"/>
                    <a:pt x="14" y="54"/>
                    <a:pt x="14" y="55"/>
                  </a:cubicBezTo>
                  <a:cubicBezTo>
                    <a:pt x="14" y="56"/>
                    <a:pt x="14" y="56"/>
                    <a:pt x="15" y="56"/>
                  </a:cubicBezTo>
                  <a:cubicBezTo>
                    <a:pt x="16" y="57"/>
                    <a:pt x="16" y="58"/>
                    <a:pt x="16" y="59"/>
                  </a:cubicBezTo>
                  <a:cubicBezTo>
                    <a:pt x="16" y="60"/>
                    <a:pt x="17" y="58"/>
                    <a:pt x="18" y="57"/>
                  </a:cubicBezTo>
                  <a:cubicBezTo>
                    <a:pt x="18" y="56"/>
                    <a:pt x="18" y="53"/>
                    <a:pt x="18" y="52"/>
                  </a:cubicBezTo>
                  <a:cubicBezTo>
                    <a:pt x="18" y="52"/>
                    <a:pt x="18" y="43"/>
                    <a:pt x="18" y="42"/>
                  </a:cubicBezTo>
                  <a:close/>
                  <a:moveTo>
                    <a:pt x="59" y="49"/>
                  </a:moveTo>
                  <a:cubicBezTo>
                    <a:pt x="59" y="50"/>
                    <a:pt x="58" y="56"/>
                    <a:pt x="58" y="55"/>
                  </a:cubicBezTo>
                  <a:cubicBezTo>
                    <a:pt x="59" y="55"/>
                    <a:pt x="58" y="53"/>
                    <a:pt x="59" y="53"/>
                  </a:cubicBezTo>
                  <a:cubicBezTo>
                    <a:pt x="60" y="53"/>
                    <a:pt x="61" y="52"/>
                    <a:pt x="61" y="51"/>
                  </a:cubicBezTo>
                  <a:cubicBezTo>
                    <a:pt x="61" y="50"/>
                    <a:pt x="62" y="50"/>
                    <a:pt x="62" y="50"/>
                  </a:cubicBezTo>
                  <a:cubicBezTo>
                    <a:pt x="63" y="49"/>
                    <a:pt x="63" y="49"/>
                    <a:pt x="63" y="48"/>
                  </a:cubicBezTo>
                  <a:cubicBezTo>
                    <a:pt x="63" y="48"/>
                    <a:pt x="62" y="47"/>
                    <a:pt x="62" y="47"/>
                  </a:cubicBezTo>
                  <a:cubicBezTo>
                    <a:pt x="62" y="47"/>
                    <a:pt x="61" y="47"/>
                    <a:pt x="61" y="46"/>
                  </a:cubicBezTo>
                  <a:cubicBezTo>
                    <a:pt x="61" y="46"/>
                    <a:pt x="59" y="44"/>
                    <a:pt x="59" y="45"/>
                  </a:cubicBezTo>
                  <a:cubicBezTo>
                    <a:pt x="59" y="46"/>
                    <a:pt x="59" y="49"/>
                    <a:pt x="59" y="4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0" name="Freeform 38"/>
            <p:cNvSpPr>
              <a:spLocks noChangeAspect="1"/>
            </p:cNvSpPr>
            <p:nvPr/>
          </p:nvSpPr>
          <p:spPr bwMode="gray">
            <a:xfrm>
              <a:off x="10063163" y="2636838"/>
              <a:ext cx="104775" cy="201613"/>
            </a:xfrm>
            <a:custGeom>
              <a:avLst/>
              <a:gdLst>
                <a:gd name="T0" fmla="*/ 7 w 28"/>
                <a:gd name="T1" fmla="*/ 25 h 54"/>
                <a:gd name="T2" fmla="*/ 4 w 28"/>
                <a:gd name="T3" fmla="*/ 36 h 54"/>
                <a:gd name="T4" fmla="*/ 1 w 28"/>
                <a:gd name="T5" fmla="*/ 45 h 54"/>
                <a:gd name="T6" fmla="*/ 2 w 28"/>
                <a:gd name="T7" fmla="*/ 46 h 54"/>
                <a:gd name="T8" fmla="*/ 5 w 28"/>
                <a:gd name="T9" fmla="*/ 48 h 54"/>
                <a:gd name="T10" fmla="*/ 10 w 28"/>
                <a:gd name="T11" fmla="*/ 51 h 54"/>
                <a:gd name="T12" fmla="*/ 9 w 28"/>
                <a:gd name="T13" fmla="*/ 52 h 54"/>
                <a:gd name="T14" fmla="*/ 4 w 28"/>
                <a:gd name="T15" fmla="*/ 50 h 54"/>
                <a:gd name="T16" fmla="*/ 5 w 28"/>
                <a:gd name="T17" fmla="*/ 50 h 54"/>
                <a:gd name="T18" fmla="*/ 8 w 28"/>
                <a:gd name="T19" fmla="*/ 53 h 54"/>
                <a:gd name="T20" fmla="*/ 9 w 28"/>
                <a:gd name="T21" fmla="*/ 54 h 54"/>
                <a:gd name="T22" fmla="*/ 17 w 28"/>
                <a:gd name="T23" fmla="*/ 54 h 54"/>
                <a:gd name="T24" fmla="*/ 19 w 28"/>
                <a:gd name="T25" fmla="*/ 54 h 54"/>
                <a:gd name="T26" fmla="*/ 25 w 28"/>
                <a:gd name="T27" fmla="*/ 51 h 54"/>
                <a:gd name="T28" fmla="*/ 25 w 28"/>
                <a:gd name="T29" fmla="*/ 44 h 54"/>
                <a:gd name="T30" fmla="*/ 26 w 28"/>
                <a:gd name="T31" fmla="*/ 42 h 54"/>
                <a:gd name="T32" fmla="*/ 27 w 28"/>
                <a:gd name="T33" fmla="*/ 39 h 54"/>
                <a:gd name="T34" fmla="*/ 27 w 28"/>
                <a:gd name="T35" fmla="*/ 35 h 54"/>
                <a:gd name="T36" fmla="*/ 25 w 28"/>
                <a:gd name="T37" fmla="*/ 23 h 54"/>
                <a:gd name="T38" fmla="*/ 21 w 28"/>
                <a:gd name="T39" fmla="*/ 14 h 54"/>
                <a:gd name="T40" fmla="*/ 20 w 28"/>
                <a:gd name="T41" fmla="*/ 6 h 54"/>
                <a:gd name="T42" fmla="*/ 19 w 28"/>
                <a:gd name="T43" fmla="*/ 3 h 54"/>
                <a:gd name="T44" fmla="*/ 15 w 28"/>
                <a:gd name="T45" fmla="*/ 6 h 54"/>
                <a:gd name="T46" fmla="*/ 9 w 28"/>
                <a:gd name="T47" fmla="*/ 2 h 54"/>
                <a:gd name="T48" fmla="*/ 8 w 28"/>
                <a:gd name="T49" fmla="*/ 1 h 54"/>
                <a:gd name="T50" fmla="*/ 7 w 28"/>
                <a:gd name="T51" fmla="*/ 2 h 54"/>
                <a:gd name="T52" fmla="*/ 7 w 28"/>
                <a:gd name="T53" fmla="*/ 3 h 54"/>
                <a:gd name="T54" fmla="*/ 8 w 28"/>
                <a:gd name="T55" fmla="*/ 14 h 54"/>
                <a:gd name="T56" fmla="*/ 7 w 28"/>
                <a:gd name="T57" fmla="*/ 25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8"/>
                <a:gd name="T88" fmla="*/ 0 h 54"/>
                <a:gd name="T89" fmla="*/ 28 w 28"/>
                <a:gd name="T90" fmla="*/ 54 h 5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8" h="54">
                  <a:moveTo>
                    <a:pt x="7" y="25"/>
                  </a:moveTo>
                  <a:cubicBezTo>
                    <a:pt x="6" y="27"/>
                    <a:pt x="5" y="33"/>
                    <a:pt x="4" y="36"/>
                  </a:cubicBezTo>
                  <a:cubicBezTo>
                    <a:pt x="2" y="40"/>
                    <a:pt x="0" y="44"/>
                    <a:pt x="1" y="45"/>
                  </a:cubicBezTo>
                  <a:cubicBezTo>
                    <a:pt x="1" y="45"/>
                    <a:pt x="1" y="46"/>
                    <a:pt x="2" y="46"/>
                  </a:cubicBezTo>
                  <a:cubicBezTo>
                    <a:pt x="2" y="47"/>
                    <a:pt x="3" y="47"/>
                    <a:pt x="5" y="48"/>
                  </a:cubicBezTo>
                  <a:cubicBezTo>
                    <a:pt x="7" y="49"/>
                    <a:pt x="10" y="50"/>
                    <a:pt x="10" y="51"/>
                  </a:cubicBezTo>
                  <a:cubicBezTo>
                    <a:pt x="10" y="52"/>
                    <a:pt x="9" y="52"/>
                    <a:pt x="9" y="52"/>
                  </a:cubicBezTo>
                  <a:cubicBezTo>
                    <a:pt x="8" y="51"/>
                    <a:pt x="5" y="49"/>
                    <a:pt x="4" y="50"/>
                  </a:cubicBezTo>
                  <a:cubicBezTo>
                    <a:pt x="4" y="50"/>
                    <a:pt x="4" y="50"/>
                    <a:pt x="5" y="50"/>
                  </a:cubicBezTo>
                  <a:cubicBezTo>
                    <a:pt x="5" y="51"/>
                    <a:pt x="7" y="53"/>
                    <a:pt x="8" y="53"/>
                  </a:cubicBezTo>
                  <a:cubicBezTo>
                    <a:pt x="8" y="54"/>
                    <a:pt x="8" y="54"/>
                    <a:pt x="9" y="54"/>
                  </a:cubicBezTo>
                  <a:cubicBezTo>
                    <a:pt x="10" y="54"/>
                    <a:pt x="16" y="54"/>
                    <a:pt x="17" y="54"/>
                  </a:cubicBezTo>
                  <a:cubicBezTo>
                    <a:pt x="18" y="54"/>
                    <a:pt x="18" y="54"/>
                    <a:pt x="19" y="54"/>
                  </a:cubicBezTo>
                  <a:cubicBezTo>
                    <a:pt x="20" y="54"/>
                    <a:pt x="25" y="52"/>
                    <a:pt x="25" y="51"/>
                  </a:cubicBezTo>
                  <a:cubicBezTo>
                    <a:pt x="25" y="51"/>
                    <a:pt x="25" y="45"/>
                    <a:pt x="25" y="44"/>
                  </a:cubicBezTo>
                  <a:cubicBezTo>
                    <a:pt x="26" y="43"/>
                    <a:pt x="26" y="42"/>
                    <a:pt x="26" y="42"/>
                  </a:cubicBezTo>
                  <a:cubicBezTo>
                    <a:pt x="26" y="41"/>
                    <a:pt x="26" y="40"/>
                    <a:pt x="27" y="39"/>
                  </a:cubicBezTo>
                  <a:cubicBezTo>
                    <a:pt x="27" y="38"/>
                    <a:pt x="28" y="37"/>
                    <a:pt x="27" y="35"/>
                  </a:cubicBezTo>
                  <a:cubicBezTo>
                    <a:pt x="27" y="34"/>
                    <a:pt x="26" y="25"/>
                    <a:pt x="25" y="23"/>
                  </a:cubicBezTo>
                  <a:cubicBezTo>
                    <a:pt x="25" y="21"/>
                    <a:pt x="22" y="17"/>
                    <a:pt x="21" y="14"/>
                  </a:cubicBezTo>
                  <a:cubicBezTo>
                    <a:pt x="21" y="10"/>
                    <a:pt x="20" y="7"/>
                    <a:pt x="20" y="6"/>
                  </a:cubicBezTo>
                  <a:cubicBezTo>
                    <a:pt x="20" y="4"/>
                    <a:pt x="20" y="2"/>
                    <a:pt x="19" y="3"/>
                  </a:cubicBezTo>
                  <a:cubicBezTo>
                    <a:pt x="18" y="4"/>
                    <a:pt x="15" y="7"/>
                    <a:pt x="15" y="6"/>
                  </a:cubicBezTo>
                  <a:cubicBezTo>
                    <a:pt x="14" y="5"/>
                    <a:pt x="10" y="3"/>
                    <a:pt x="9" y="2"/>
                  </a:cubicBezTo>
                  <a:cubicBezTo>
                    <a:pt x="8" y="1"/>
                    <a:pt x="8" y="0"/>
                    <a:pt x="8" y="1"/>
                  </a:cubicBezTo>
                  <a:cubicBezTo>
                    <a:pt x="8" y="1"/>
                    <a:pt x="8" y="2"/>
                    <a:pt x="7" y="2"/>
                  </a:cubicBezTo>
                  <a:cubicBezTo>
                    <a:pt x="7" y="3"/>
                    <a:pt x="7" y="2"/>
                    <a:pt x="7" y="3"/>
                  </a:cubicBezTo>
                  <a:cubicBezTo>
                    <a:pt x="7" y="3"/>
                    <a:pt x="8" y="9"/>
                    <a:pt x="8" y="14"/>
                  </a:cubicBezTo>
                  <a:cubicBezTo>
                    <a:pt x="7" y="18"/>
                    <a:pt x="7" y="25"/>
                    <a:pt x="7" y="25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1" name="Freeform 39"/>
            <p:cNvSpPr>
              <a:spLocks noChangeAspect="1"/>
            </p:cNvSpPr>
            <p:nvPr/>
          </p:nvSpPr>
          <p:spPr bwMode="gray">
            <a:xfrm>
              <a:off x="10107613" y="2659063"/>
              <a:ext cx="57150" cy="184150"/>
            </a:xfrm>
            <a:custGeom>
              <a:avLst/>
              <a:gdLst>
                <a:gd name="T0" fmla="*/ 1 w 15"/>
                <a:gd name="T1" fmla="*/ 2 h 49"/>
                <a:gd name="T2" fmla="*/ 2 w 15"/>
                <a:gd name="T3" fmla="*/ 3 h 49"/>
                <a:gd name="T4" fmla="*/ 2 w 15"/>
                <a:gd name="T5" fmla="*/ 5 h 49"/>
                <a:gd name="T6" fmla="*/ 2 w 15"/>
                <a:gd name="T7" fmla="*/ 10 h 49"/>
                <a:gd name="T8" fmla="*/ 4 w 15"/>
                <a:gd name="T9" fmla="*/ 29 h 49"/>
                <a:gd name="T10" fmla="*/ 6 w 15"/>
                <a:gd name="T11" fmla="*/ 45 h 49"/>
                <a:gd name="T12" fmla="*/ 10 w 15"/>
                <a:gd name="T13" fmla="*/ 48 h 49"/>
                <a:gd name="T14" fmla="*/ 14 w 15"/>
                <a:gd name="T15" fmla="*/ 42 h 49"/>
                <a:gd name="T16" fmla="*/ 11 w 15"/>
                <a:gd name="T17" fmla="*/ 24 h 49"/>
                <a:gd name="T18" fmla="*/ 8 w 15"/>
                <a:gd name="T19" fmla="*/ 9 h 49"/>
                <a:gd name="T20" fmla="*/ 6 w 15"/>
                <a:gd name="T21" fmla="*/ 5 h 49"/>
                <a:gd name="T22" fmla="*/ 5 w 15"/>
                <a:gd name="T23" fmla="*/ 3 h 49"/>
                <a:gd name="T24" fmla="*/ 6 w 15"/>
                <a:gd name="T25" fmla="*/ 1 h 49"/>
                <a:gd name="T26" fmla="*/ 2 w 15"/>
                <a:gd name="T27" fmla="*/ 0 h 49"/>
                <a:gd name="T28" fmla="*/ 0 w 15"/>
                <a:gd name="T29" fmla="*/ 1 h 49"/>
                <a:gd name="T30" fmla="*/ 1 w 15"/>
                <a:gd name="T31" fmla="*/ 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49"/>
                <a:gd name="T50" fmla="*/ 15 w 15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49">
                  <a:moveTo>
                    <a:pt x="1" y="2"/>
                  </a:moveTo>
                  <a:cubicBezTo>
                    <a:pt x="1" y="2"/>
                    <a:pt x="2" y="3"/>
                    <a:pt x="2" y="3"/>
                  </a:cubicBezTo>
                  <a:cubicBezTo>
                    <a:pt x="3" y="3"/>
                    <a:pt x="3" y="4"/>
                    <a:pt x="2" y="5"/>
                  </a:cubicBezTo>
                  <a:cubicBezTo>
                    <a:pt x="2" y="6"/>
                    <a:pt x="1" y="7"/>
                    <a:pt x="2" y="10"/>
                  </a:cubicBezTo>
                  <a:cubicBezTo>
                    <a:pt x="2" y="14"/>
                    <a:pt x="4" y="27"/>
                    <a:pt x="4" y="29"/>
                  </a:cubicBezTo>
                  <a:cubicBezTo>
                    <a:pt x="4" y="31"/>
                    <a:pt x="4" y="43"/>
                    <a:pt x="6" y="45"/>
                  </a:cubicBezTo>
                  <a:cubicBezTo>
                    <a:pt x="7" y="46"/>
                    <a:pt x="10" y="49"/>
                    <a:pt x="10" y="48"/>
                  </a:cubicBezTo>
                  <a:cubicBezTo>
                    <a:pt x="11" y="47"/>
                    <a:pt x="15" y="45"/>
                    <a:pt x="14" y="42"/>
                  </a:cubicBezTo>
                  <a:cubicBezTo>
                    <a:pt x="14" y="39"/>
                    <a:pt x="12" y="26"/>
                    <a:pt x="11" y="24"/>
                  </a:cubicBezTo>
                  <a:cubicBezTo>
                    <a:pt x="10" y="21"/>
                    <a:pt x="8" y="10"/>
                    <a:pt x="8" y="9"/>
                  </a:cubicBezTo>
                  <a:cubicBezTo>
                    <a:pt x="8" y="8"/>
                    <a:pt x="6" y="5"/>
                    <a:pt x="6" y="5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2"/>
                    <a:pt x="7" y="1"/>
                    <a:pt x="6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2" name="Freeform 40"/>
            <p:cNvSpPr>
              <a:spLocks noChangeAspect="1"/>
            </p:cNvSpPr>
            <p:nvPr/>
          </p:nvSpPr>
          <p:spPr bwMode="gray">
            <a:xfrm>
              <a:off x="10088563" y="2647950"/>
              <a:ext cx="19050" cy="14288"/>
            </a:xfrm>
            <a:custGeom>
              <a:avLst/>
              <a:gdLst>
                <a:gd name="T0" fmla="*/ 12 w 12"/>
                <a:gd name="T1" fmla="*/ 9 h 9"/>
                <a:gd name="T2" fmla="*/ 0 w 12"/>
                <a:gd name="T3" fmla="*/ 0 h 9"/>
                <a:gd name="T4" fmla="*/ 0 w 12"/>
                <a:gd name="T5" fmla="*/ 0 h 9"/>
                <a:gd name="T6" fmla="*/ 12 w 12"/>
                <a:gd name="T7" fmla="*/ 9 h 9"/>
                <a:gd name="T8" fmla="*/ 12 w 12"/>
                <a:gd name="T9" fmla="*/ 9 h 9"/>
                <a:gd name="T10" fmla="*/ 12 w 12"/>
                <a:gd name="T11" fmla="*/ 9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12" y="9"/>
                  </a:moveTo>
                  <a:lnTo>
                    <a:pt x="0" y="0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3" name="Freeform 41"/>
            <p:cNvSpPr>
              <a:spLocks noChangeAspect="1"/>
            </p:cNvSpPr>
            <p:nvPr/>
          </p:nvSpPr>
          <p:spPr bwMode="gray">
            <a:xfrm>
              <a:off x="10129838" y="2655888"/>
              <a:ext cx="7938" cy="6350"/>
            </a:xfrm>
            <a:custGeom>
              <a:avLst/>
              <a:gdLst>
                <a:gd name="T0" fmla="*/ 5 w 5"/>
                <a:gd name="T1" fmla="*/ 0 h 4"/>
                <a:gd name="T2" fmla="*/ 5 w 5"/>
                <a:gd name="T3" fmla="*/ 0 h 4"/>
                <a:gd name="T4" fmla="*/ 0 w 5"/>
                <a:gd name="T5" fmla="*/ 4 h 4"/>
                <a:gd name="T6" fmla="*/ 0 w 5"/>
                <a:gd name="T7" fmla="*/ 4 h 4"/>
                <a:gd name="T8" fmla="*/ 5 w 5"/>
                <a:gd name="T9" fmla="*/ 0 h 4"/>
                <a:gd name="T10" fmla="*/ 5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5" y="0"/>
                  </a:moveTo>
                  <a:lnTo>
                    <a:pt x="5" y="0"/>
                  </a:lnTo>
                  <a:lnTo>
                    <a:pt x="0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4" name="Freeform 42"/>
            <p:cNvSpPr>
              <a:spLocks noChangeAspect="1"/>
            </p:cNvSpPr>
            <p:nvPr/>
          </p:nvSpPr>
          <p:spPr bwMode="gray">
            <a:xfrm>
              <a:off x="10074275" y="2832100"/>
              <a:ext cx="11113" cy="6350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2 h 2"/>
                <a:gd name="T4" fmla="*/ 2 w 3"/>
                <a:gd name="T5" fmla="*/ 2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cubicBezTo>
                    <a:pt x="0" y="0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15" name="Freeform 43"/>
            <p:cNvSpPr>
              <a:spLocks noChangeAspect="1"/>
            </p:cNvSpPr>
            <p:nvPr/>
          </p:nvSpPr>
          <p:spPr bwMode="gray">
            <a:xfrm>
              <a:off x="10069513" y="2835275"/>
              <a:ext cx="4763" cy="31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16" name="Freeform 75"/>
          <p:cNvSpPr>
            <a:spLocks noEditPoints="1"/>
          </p:cNvSpPr>
          <p:nvPr>
            <p:custDataLst>
              <p:tags r:id="rId31"/>
            </p:custDataLst>
          </p:nvPr>
        </p:nvSpPr>
        <p:spPr bwMode="gray">
          <a:xfrm>
            <a:off x="6219347" y="2052991"/>
            <a:ext cx="146050" cy="620712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17" name="Freeform 88"/>
          <p:cNvSpPr>
            <a:spLocks noChangeAspect="1"/>
          </p:cNvSpPr>
          <p:nvPr>
            <p:custDataLst>
              <p:tags r:id="rId32"/>
            </p:custDataLst>
          </p:nvPr>
        </p:nvSpPr>
        <p:spPr bwMode="gray">
          <a:xfrm flipH="1">
            <a:off x="5952810" y="1987260"/>
            <a:ext cx="211137" cy="581025"/>
          </a:xfrm>
          <a:custGeom>
            <a:avLst/>
            <a:gdLst>
              <a:gd name="T0" fmla="*/ 699 w 741"/>
              <a:gd name="T1" fmla="*/ 1191 h 2046"/>
              <a:gd name="T2" fmla="*/ 642 w 741"/>
              <a:gd name="T3" fmla="*/ 1149 h 2046"/>
              <a:gd name="T4" fmla="*/ 652 w 741"/>
              <a:gd name="T5" fmla="*/ 1033 h 2046"/>
              <a:gd name="T6" fmla="*/ 623 w 741"/>
              <a:gd name="T7" fmla="*/ 553 h 2046"/>
              <a:gd name="T8" fmla="*/ 581 w 741"/>
              <a:gd name="T9" fmla="*/ 374 h 2046"/>
              <a:gd name="T10" fmla="*/ 408 w 741"/>
              <a:gd name="T11" fmla="*/ 298 h 2046"/>
              <a:gd name="T12" fmla="*/ 321 w 741"/>
              <a:gd name="T13" fmla="*/ 504 h 2046"/>
              <a:gd name="T14" fmla="*/ 307 w 741"/>
              <a:gd name="T15" fmla="*/ 350 h 2046"/>
              <a:gd name="T16" fmla="*/ 340 w 741"/>
              <a:gd name="T17" fmla="*/ 305 h 2046"/>
              <a:gd name="T18" fmla="*/ 392 w 741"/>
              <a:gd name="T19" fmla="*/ 260 h 2046"/>
              <a:gd name="T20" fmla="*/ 420 w 741"/>
              <a:gd name="T21" fmla="*/ 175 h 2046"/>
              <a:gd name="T22" fmla="*/ 432 w 741"/>
              <a:gd name="T23" fmla="*/ 71 h 2046"/>
              <a:gd name="T24" fmla="*/ 359 w 741"/>
              <a:gd name="T25" fmla="*/ 3 h 2046"/>
              <a:gd name="T26" fmla="*/ 224 w 741"/>
              <a:gd name="T27" fmla="*/ 52 h 2046"/>
              <a:gd name="T28" fmla="*/ 198 w 741"/>
              <a:gd name="T29" fmla="*/ 126 h 2046"/>
              <a:gd name="T30" fmla="*/ 186 w 741"/>
              <a:gd name="T31" fmla="*/ 189 h 2046"/>
              <a:gd name="T32" fmla="*/ 196 w 741"/>
              <a:gd name="T33" fmla="*/ 230 h 2046"/>
              <a:gd name="T34" fmla="*/ 205 w 741"/>
              <a:gd name="T35" fmla="*/ 277 h 2046"/>
              <a:gd name="T36" fmla="*/ 257 w 741"/>
              <a:gd name="T37" fmla="*/ 308 h 2046"/>
              <a:gd name="T38" fmla="*/ 283 w 741"/>
              <a:gd name="T39" fmla="*/ 329 h 2046"/>
              <a:gd name="T40" fmla="*/ 278 w 741"/>
              <a:gd name="T41" fmla="*/ 367 h 2046"/>
              <a:gd name="T42" fmla="*/ 245 w 741"/>
              <a:gd name="T43" fmla="*/ 317 h 2046"/>
              <a:gd name="T44" fmla="*/ 78 w 741"/>
              <a:gd name="T45" fmla="*/ 390 h 2046"/>
              <a:gd name="T46" fmla="*/ 52 w 741"/>
              <a:gd name="T47" fmla="*/ 489 h 2046"/>
              <a:gd name="T48" fmla="*/ 0 w 741"/>
              <a:gd name="T49" fmla="*/ 1073 h 2046"/>
              <a:gd name="T50" fmla="*/ 16 w 741"/>
              <a:gd name="T51" fmla="*/ 1123 h 2046"/>
              <a:gd name="T52" fmla="*/ 30 w 741"/>
              <a:gd name="T53" fmla="*/ 1229 h 2046"/>
              <a:gd name="T54" fmla="*/ 54 w 741"/>
              <a:gd name="T55" fmla="*/ 1227 h 2046"/>
              <a:gd name="T56" fmla="*/ 94 w 741"/>
              <a:gd name="T57" fmla="*/ 1238 h 2046"/>
              <a:gd name="T58" fmla="*/ 82 w 741"/>
              <a:gd name="T59" fmla="*/ 1208 h 2046"/>
              <a:gd name="T60" fmla="*/ 68 w 741"/>
              <a:gd name="T61" fmla="*/ 1153 h 2046"/>
              <a:gd name="T62" fmla="*/ 85 w 741"/>
              <a:gd name="T63" fmla="*/ 1196 h 2046"/>
              <a:gd name="T64" fmla="*/ 99 w 741"/>
              <a:gd name="T65" fmla="*/ 1094 h 2046"/>
              <a:gd name="T66" fmla="*/ 96 w 741"/>
              <a:gd name="T67" fmla="*/ 1021 h 2046"/>
              <a:gd name="T68" fmla="*/ 125 w 741"/>
              <a:gd name="T69" fmla="*/ 1255 h 2046"/>
              <a:gd name="T70" fmla="*/ 148 w 741"/>
              <a:gd name="T71" fmla="*/ 1817 h 2046"/>
              <a:gd name="T72" fmla="*/ 139 w 741"/>
              <a:gd name="T73" fmla="*/ 1923 h 2046"/>
              <a:gd name="T74" fmla="*/ 120 w 741"/>
              <a:gd name="T75" fmla="*/ 1990 h 2046"/>
              <a:gd name="T76" fmla="*/ 132 w 741"/>
              <a:gd name="T77" fmla="*/ 2030 h 2046"/>
              <a:gd name="T78" fmla="*/ 224 w 741"/>
              <a:gd name="T79" fmla="*/ 2030 h 2046"/>
              <a:gd name="T80" fmla="*/ 259 w 741"/>
              <a:gd name="T81" fmla="*/ 1973 h 2046"/>
              <a:gd name="T82" fmla="*/ 269 w 741"/>
              <a:gd name="T83" fmla="*/ 1897 h 2046"/>
              <a:gd name="T84" fmla="*/ 257 w 741"/>
              <a:gd name="T85" fmla="*/ 1775 h 2046"/>
              <a:gd name="T86" fmla="*/ 293 w 741"/>
              <a:gd name="T87" fmla="*/ 1373 h 2046"/>
              <a:gd name="T88" fmla="*/ 316 w 741"/>
              <a:gd name="T89" fmla="*/ 1224 h 2046"/>
              <a:gd name="T90" fmla="*/ 352 w 741"/>
              <a:gd name="T91" fmla="*/ 1458 h 2046"/>
              <a:gd name="T92" fmla="*/ 382 w 741"/>
              <a:gd name="T93" fmla="*/ 1697 h 2046"/>
              <a:gd name="T94" fmla="*/ 363 w 741"/>
              <a:gd name="T95" fmla="*/ 1810 h 2046"/>
              <a:gd name="T96" fmla="*/ 349 w 741"/>
              <a:gd name="T97" fmla="*/ 1921 h 2046"/>
              <a:gd name="T98" fmla="*/ 368 w 741"/>
              <a:gd name="T99" fmla="*/ 1966 h 2046"/>
              <a:gd name="T100" fmla="*/ 352 w 741"/>
              <a:gd name="T101" fmla="*/ 2030 h 2046"/>
              <a:gd name="T102" fmla="*/ 427 w 741"/>
              <a:gd name="T103" fmla="*/ 2044 h 2046"/>
              <a:gd name="T104" fmla="*/ 474 w 741"/>
              <a:gd name="T105" fmla="*/ 1997 h 2046"/>
              <a:gd name="T106" fmla="*/ 491 w 741"/>
              <a:gd name="T107" fmla="*/ 1919 h 2046"/>
              <a:gd name="T108" fmla="*/ 503 w 741"/>
              <a:gd name="T109" fmla="*/ 1824 h 2046"/>
              <a:gd name="T110" fmla="*/ 635 w 741"/>
              <a:gd name="T111" fmla="*/ 1597 h 2046"/>
              <a:gd name="T112" fmla="*/ 741 w 741"/>
              <a:gd name="T113" fmla="*/ 1491 h 2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41" h="2046">
                <a:moveTo>
                  <a:pt x="739" y="1375"/>
                </a:moveTo>
                <a:lnTo>
                  <a:pt x="732" y="1205"/>
                </a:lnTo>
                <a:lnTo>
                  <a:pt x="730" y="1203"/>
                </a:lnTo>
                <a:lnTo>
                  <a:pt x="725" y="1198"/>
                </a:lnTo>
                <a:lnTo>
                  <a:pt x="713" y="1193"/>
                </a:lnTo>
                <a:lnTo>
                  <a:pt x="699" y="1191"/>
                </a:lnTo>
                <a:lnTo>
                  <a:pt x="687" y="1191"/>
                </a:lnTo>
                <a:lnTo>
                  <a:pt x="635" y="1193"/>
                </a:lnTo>
                <a:lnTo>
                  <a:pt x="633" y="1179"/>
                </a:lnTo>
                <a:lnTo>
                  <a:pt x="628" y="1165"/>
                </a:lnTo>
                <a:lnTo>
                  <a:pt x="640" y="1156"/>
                </a:lnTo>
                <a:lnTo>
                  <a:pt x="642" y="1149"/>
                </a:lnTo>
                <a:lnTo>
                  <a:pt x="645" y="1139"/>
                </a:lnTo>
                <a:lnTo>
                  <a:pt x="647" y="1113"/>
                </a:lnTo>
                <a:lnTo>
                  <a:pt x="647" y="1080"/>
                </a:lnTo>
                <a:lnTo>
                  <a:pt x="649" y="1066"/>
                </a:lnTo>
                <a:lnTo>
                  <a:pt x="652" y="1052"/>
                </a:lnTo>
                <a:lnTo>
                  <a:pt x="652" y="1033"/>
                </a:lnTo>
                <a:lnTo>
                  <a:pt x="652" y="957"/>
                </a:lnTo>
                <a:lnTo>
                  <a:pt x="649" y="846"/>
                </a:lnTo>
                <a:lnTo>
                  <a:pt x="642" y="730"/>
                </a:lnTo>
                <a:lnTo>
                  <a:pt x="637" y="676"/>
                </a:lnTo>
                <a:lnTo>
                  <a:pt x="633" y="629"/>
                </a:lnTo>
                <a:lnTo>
                  <a:pt x="623" y="553"/>
                </a:lnTo>
                <a:lnTo>
                  <a:pt x="619" y="494"/>
                </a:lnTo>
                <a:lnTo>
                  <a:pt x="614" y="423"/>
                </a:lnTo>
                <a:lnTo>
                  <a:pt x="611" y="409"/>
                </a:lnTo>
                <a:lnTo>
                  <a:pt x="604" y="395"/>
                </a:lnTo>
                <a:lnTo>
                  <a:pt x="595" y="386"/>
                </a:lnTo>
                <a:lnTo>
                  <a:pt x="581" y="374"/>
                </a:lnTo>
                <a:lnTo>
                  <a:pt x="567" y="367"/>
                </a:lnTo>
                <a:lnTo>
                  <a:pt x="550" y="357"/>
                </a:lnTo>
                <a:lnTo>
                  <a:pt x="512" y="345"/>
                </a:lnTo>
                <a:lnTo>
                  <a:pt x="477" y="334"/>
                </a:lnTo>
                <a:lnTo>
                  <a:pt x="444" y="317"/>
                </a:lnTo>
                <a:lnTo>
                  <a:pt x="408" y="298"/>
                </a:lnTo>
                <a:lnTo>
                  <a:pt x="399" y="310"/>
                </a:lnTo>
                <a:lnTo>
                  <a:pt x="389" y="326"/>
                </a:lnTo>
                <a:lnTo>
                  <a:pt x="373" y="360"/>
                </a:lnTo>
                <a:lnTo>
                  <a:pt x="356" y="400"/>
                </a:lnTo>
                <a:lnTo>
                  <a:pt x="340" y="445"/>
                </a:lnTo>
                <a:lnTo>
                  <a:pt x="321" y="504"/>
                </a:lnTo>
                <a:lnTo>
                  <a:pt x="300" y="369"/>
                </a:lnTo>
                <a:lnTo>
                  <a:pt x="300" y="367"/>
                </a:lnTo>
                <a:lnTo>
                  <a:pt x="304" y="364"/>
                </a:lnTo>
                <a:lnTo>
                  <a:pt x="309" y="360"/>
                </a:lnTo>
                <a:lnTo>
                  <a:pt x="309" y="355"/>
                </a:lnTo>
                <a:lnTo>
                  <a:pt x="307" y="350"/>
                </a:lnTo>
                <a:lnTo>
                  <a:pt x="304" y="341"/>
                </a:lnTo>
                <a:lnTo>
                  <a:pt x="302" y="334"/>
                </a:lnTo>
                <a:lnTo>
                  <a:pt x="297" y="326"/>
                </a:lnTo>
                <a:lnTo>
                  <a:pt x="309" y="322"/>
                </a:lnTo>
                <a:lnTo>
                  <a:pt x="326" y="315"/>
                </a:lnTo>
                <a:lnTo>
                  <a:pt x="340" y="305"/>
                </a:lnTo>
                <a:lnTo>
                  <a:pt x="356" y="293"/>
                </a:lnTo>
                <a:lnTo>
                  <a:pt x="361" y="289"/>
                </a:lnTo>
                <a:lnTo>
                  <a:pt x="370" y="284"/>
                </a:lnTo>
                <a:lnTo>
                  <a:pt x="385" y="277"/>
                </a:lnTo>
                <a:lnTo>
                  <a:pt x="389" y="270"/>
                </a:lnTo>
                <a:lnTo>
                  <a:pt x="392" y="260"/>
                </a:lnTo>
                <a:lnTo>
                  <a:pt x="392" y="234"/>
                </a:lnTo>
                <a:lnTo>
                  <a:pt x="394" y="223"/>
                </a:lnTo>
                <a:lnTo>
                  <a:pt x="396" y="213"/>
                </a:lnTo>
                <a:lnTo>
                  <a:pt x="401" y="201"/>
                </a:lnTo>
                <a:lnTo>
                  <a:pt x="411" y="189"/>
                </a:lnTo>
                <a:lnTo>
                  <a:pt x="420" y="175"/>
                </a:lnTo>
                <a:lnTo>
                  <a:pt x="430" y="159"/>
                </a:lnTo>
                <a:lnTo>
                  <a:pt x="434" y="135"/>
                </a:lnTo>
                <a:lnTo>
                  <a:pt x="439" y="111"/>
                </a:lnTo>
                <a:lnTo>
                  <a:pt x="439" y="97"/>
                </a:lnTo>
                <a:lnTo>
                  <a:pt x="437" y="85"/>
                </a:lnTo>
                <a:lnTo>
                  <a:pt x="432" y="71"/>
                </a:lnTo>
                <a:lnTo>
                  <a:pt x="425" y="57"/>
                </a:lnTo>
                <a:lnTo>
                  <a:pt x="420" y="48"/>
                </a:lnTo>
                <a:lnTo>
                  <a:pt x="401" y="29"/>
                </a:lnTo>
                <a:lnTo>
                  <a:pt x="389" y="19"/>
                </a:lnTo>
                <a:lnTo>
                  <a:pt x="375" y="10"/>
                </a:lnTo>
                <a:lnTo>
                  <a:pt x="359" y="3"/>
                </a:lnTo>
                <a:lnTo>
                  <a:pt x="342" y="0"/>
                </a:lnTo>
                <a:lnTo>
                  <a:pt x="255" y="15"/>
                </a:lnTo>
                <a:lnTo>
                  <a:pt x="233" y="26"/>
                </a:lnTo>
                <a:lnTo>
                  <a:pt x="224" y="34"/>
                </a:lnTo>
                <a:lnTo>
                  <a:pt x="222" y="41"/>
                </a:lnTo>
                <a:lnTo>
                  <a:pt x="224" y="52"/>
                </a:lnTo>
                <a:lnTo>
                  <a:pt x="226" y="60"/>
                </a:lnTo>
                <a:lnTo>
                  <a:pt x="226" y="64"/>
                </a:lnTo>
                <a:lnTo>
                  <a:pt x="224" y="69"/>
                </a:lnTo>
                <a:lnTo>
                  <a:pt x="205" y="107"/>
                </a:lnTo>
                <a:lnTo>
                  <a:pt x="200" y="116"/>
                </a:lnTo>
                <a:lnTo>
                  <a:pt x="198" y="126"/>
                </a:lnTo>
                <a:lnTo>
                  <a:pt x="198" y="133"/>
                </a:lnTo>
                <a:lnTo>
                  <a:pt x="198" y="142"/>
                </a:lnTo>
                <a:lnTo>
                  <a:pt x="184" y="173"/>
                </a:lnTo>
                <a:lnTo>
                  <a:pt x="181" y="182"/>
                </a:lnTo>
                <a:lnTo>
                  <a:pt x="181" y="187"/>
                </a:lnTo>
                <a:lnTo>
                  <a:pt x="186" y="189"/>
                </a:lnTo>
                <a:lnTo>
                  <a:pt x="193" y="192"/>
                </a:lnTo>
                <a:lnTo>
                  <a:pt x="196" y="194"/>
                </a:lnTo>
                <a:lnTo>
                  <a:pt x="198" y="199"/>
                </a:lnTo>
                <a:lnTo>
                  <a:pt x="196" y="215"/>
                </a:lnTo>
                <a:lnTo>
                  <a:pt x="196" y="227"/>
                </a:lnTo>
                <a:lnTo>
                  <a:pt x="196" y="230"/>
                </a:lnTo>
                <a:lnTo>
                  <a:pt x="198" y="239"/>
                </a:lnTo>
                <a:lnTo>
                  <a:pt x="198" y="248"/>
                </a:lnTo>
                <a:lnTo>
                  <a:pt x="196" y="256"/>
                </a:lnTo>
                <a:lnTo>
                  <a:pt x="198" y="265"/>
                </a:lnTo>
                <a:lnTo>
                  <a:pt x="198" y="267"/>
                </a:lnTo>
                <a:lnTo>
                  <a:pt x="205" y="277"/>
                </a:lnTo>
                <a:lnTo>
                  <a:pt x="210" y="279"/>
                </a:lnTo>
                <a:lnTo>
                  <a:pt x="219" y="284"/>
                </a:lnTo>
                <a:lnTo>
                  <a:pt x="238" y="286"/>
                </a:lnTo>
                <a:lnTo>
                  <a:pt x="248" y="286"/>
                </a:lnTo>
                <a:lnTo>
                  <a:pt x="262" y="286"/>
                </a:lnTo>
                <a:lnTo>
                  <a:pt x="257" y="308"/>
                </a:lnTo>
                <a:lnTo>
                  <a:pt x="257" y="312"/>
                </a:lnTo>
                <a:lnTo>
                  <a:pt x="259" y="317"/>
                </a:lnTo>
                <a:lnTo>
                  <a:pt x="271" y="329"/>
                </a:lnTo>
                <a:lnTo>
                  <a:pt x="276" y="331"/>
                </a:lnTo>
                <a:lnTo>
                  <a:pt x="281" y="329"/>
                </a:lnTo>
                <a:lnTo>
                  <a:pt x="283" y="329"/>
                </a:lnTo>
                <a:lnTo>
                  <a:pt x="278" y="331"/>
                </a:lnTo>
                <a:lnTo>
                  <a:pt x="274" y="341"/>
                </a:lnTo>
                <a:lnTo>
                  <a:pt x="271" y="345"/>
                </a:lnTo>
                <a:lnTo>
                  <a:pt x="269" y="350"/>
                </a:lnTo>
                <a:lnTo>
                  <a:pt x="274" y="360"/>
                </a:lnTo>
                <a:lnTo>
                  <a:pt x="278" y="367"/>
                </a:lnTo>
                <a:lnTo>
                  <a:pt x="250" y="456"/>
                </a:lnTo>
                <a:lnTo>
                  <a:pt x="245" y="471"/>
                </a:lnTo>
                <a:lnTo>
                  <a:pt x="245" y="456"/>
                </a:lnTo>
                <a:lnTo>
                  <a:pt x="243" y="362"/>
                </a:lnTo>
                <a:lnTo>
                  <a:pt x="243" y="331"/>
                </a:lnTo>
                <a:lnTo>
                  <a:pt x="245" y="317"/>
                </a:lnTo>
                <a:lnTo>
                  <a:pt x="248" y="315"/>
                </a:lnTo>
                <a:lnTo>
                  <a:pt x="229" y="322"/>
                </a:lnTo>
                <a:lnTo>
                  <a:pt x="172" y="345"/>
                </a:lnTo>
                <a:lnTo>
                  <a:pt x="115" y="369"/>
                </a:lnTo>
                <a:lnTo>
                  <a:pt x="92" y="381"/>
                </a:lnTo>
                <a:lnTo>
                  <a:pt x="78" y="390"/>
                </a:lnTo>
                <a:lnTo>
                  <a:pt x="70" y="397"/>
                </a:lnTo>
                <a:lnTo>
                  <a:pt x="66" y="407"/>
                </a:lnTo>
                <a:lnTo>
                  <a:pt x="61" y="419"/>
                </a:lnTo>
                <a:lnTo>
                  <a:pt x="59" y="430"/>
                </a:lnTo>
                <a:lnTo>
                  <a:pt x="56" y="459"/>
                </a:lnTo>
                <a:lnTo>
                  <a:pt x="52" y="489"/>
                </a:lnTo>
                <a:lnTo>
                  <a:pt x="37" y="650"/>
                </a:lnTo>
                <a:lnTo>
                  <a:pt x="28" y="726"/>
                </a:lnTo>
                <a:lnTo>
                  <a:pt x="21" y="785"/>
                </a:lnTo>
                <a:lnTo>
                  <a:pt x="16" y="851"/>
                </a:lnTo>
                <a:lnTo>
                  <a:pt x="7" y="990"/>
                </a:lnTo>
                <a:lnTo>
                  <a:pt x="0" y="1073"/>
                </a:lnTo>
                <a:lnTo>
                  <a:pt x="2" y="1078"/>
                </a:lnTo>
                <a:lnTo>
                  <a:pt x="2" y="1082"/>
                </a:lnTo>
                <a:lnTo>
                  <a:pt x="9" y="1089"/>
                </a:lnTo>
                <a:lnTo>
                  <a:pt x="16" y="1094"/>
                </a:lnTo>
                <a:lnTo>
                  <a:pt x="18" y="1097"/>
                </a:lnTo>
                <a:lnTo>
                  <a:pt x="16" y="1123"/>
                </a:lnTo>
                <a:lnTo>
                  <a:pt x="14" y="1158"/>
                </a:lnTo>
                <a:lnTo>
                  <a:pt x="16" y="1193"/>
                </a:lnTo>
                <a:lnTo>
                  <a:pt x="18" y="1210"/>
                </a:lnTo>
                <a:lnTo>
                  <a:pt x="21" y="1217"/>
                </a:lnTo>
                <a:lnTo>
                  <a:pt x="23" y="1222"/>
                </a:lnTo>
                <a:lnTo>
                  <a:pt x="30" y="1229"/>
                </a:lnTo>
                <a:lnTo>
                  <a:pt x="33" y="1234"/>
                </a:lnTo>
                <a:lnTo>
                  <a:pt x="35" y="1231"/>
                </a:lnTo>
                <a:lnTo>
                  <a:pt x="37" y="1229"/>
                </a:lnTo>
                <a:lnTo>
                  <a:pt x="35" y="1205"/>
                </a:lnTo>
                <a:lnTo>
                  <a:pt x="40" y="1215"/>
                </a:lnTo>
                <a:lnTo>
                  <a:pt x="54" y="1227"/>
                </a:lnTo>
                <a:lnTo>
                  <a:pt x="68" y="1241"/>
                </a:lnTo>
                <a:lnTo>
                  <a:pt x="78" y="1248"/>
                </a:lnTo>
                <a:lnTo>
                  <a:pt x="85" y="1248"/>
                </a:lnTo>
                <a:lnTo>
                  <a:pt x="87" y="1243"/>
                </a:lnTo>
                <a:lnTo>
                  <a:pt x="87" y="1238"/>
                </a:lnTo>
                <a:lnTo>
                  <a:pt x="94" y="1238"/>
                </a:lnTo>
                <a:lnTo>
                  <a:pt x="101" y="1238"/>
                </a:lnTo>
                <a:lnTo>
                  <a:pt x="104" y="1236"/>
                </a:lnTo>
                <a:lnTo>
                  <a:pt x="106" y="1234"/>
                </a:lnTo>
                <a:lnTo>
                  <a:pt x="104" y="1229"/>
                </a:lnTo>
                <a:lnTo>
                  <a:pt x="92" y="1217"/>
                </a:lnTo>
                <a:lnTo>
                  <a:pt x="82" y="1208"/>
                </a:lnTo>
                <a:lnTo>
                  <a:pt x="73" y="1196"/>
                </a:lnTo>
                <a:lnTo>
                  <a:pt x="66" y="1184"/>
                </a:lnTo>
                <a:lnTo>
                  <a:pt x="63" y="1172"/>
                </a:lnTo>
                <a:lnTo>
                  <a:pt x="63" y="1163"/>
                </a:lnTo>
                <a:lnTo>
                  <a:pt x="66" y="1156"/>
                </a:lnTo>
                <a:lnTo>
                  <a:pt x="68" y="1153"/>
                </a:lnTo>
                <a:lnTo>
                  <a:pt x="73" y="1153"/>
                </a:lnTo>
                <a:lnTo>
                  <a:pt x="78" y="1156"/>
                </a:lnTo>
                <a:lnTo>
                  <a:pt x="80" y="1165"/>
                </a:lnTo>
                <a:lnTo>
                  <a:pt x="82" y="1186"/>
                </a:lnTo>
                <a:lnTo>
                  <a:pt x="82" y="1191"/>
                </a:lnTo>
                <a:lnTo>
                  <a:pt x="85" y="1196"/>
                </a:lnTo>
                <a:lnTo>
                  <a:pt x="92" y="1201"/>
                </a:lnTo>
                <a:lnTo>
                  <a:pt x="99" y="1201"/>
                </a:lnTo>
                <a:lnTo>
                  <a:pt x="104" y="1201"/>
                </a:lnTo>
                <a:lnTo>
                  <a:pt x="101" y="1137"/>
                </a:lnTo>
                <a:lnTo>
                  <a:pt x="99" y="1108"/>
                </a:lnTo>
                <a:lnTo>
                  <a:pt x="99" y="1094"/>
                </a:lnTo>
                <a:lnTo>
                  <a:pt x="99" y="1087"/>
                </a:lnTo>
                <a:lnTo>
                  <a:pt x="96" y="1075"/>
                </a:lnTo>
                <a:lnTo>
                  <a:pt x="94" y="1064"/>
                </a:lnTo>
                <a:lnTo>
                  <a:pt x="92" y="1054"/>
                </a:lnTo>
                <a:lnTo>
                  <a:pt x="94" y="1030"/>
                </a:lnTo>
                <a:lnTo>
                  <a:pt x="96" y="1021"/>
                </a:lnTo>
                <a:lnTo>
                  <a:pt x="96" y="1026"/>
                </a:lnTo>
                <a:lnTo>
                  <a:pt x="99" y="1052"/>
                </a:lnTo>
                <a:lnTo>
                  <a:pt x="99" y="1087"/>
                </a:lnTo>
                <a:lnTo>
                  <a:pt x="106" y="1120"/>
                </a:lnTo>
                <a:lnTo>
                  <a:pt x="113" y="1167"/>
                </a:lnTo>
                <a:lnTo>
                  <a:pt x="125" y="1255"/>
                </a:lnTo>
                <a:lnTo>
                  <a:pt x="132" y="1349"/>
                </a:lnTo>
                <a:lnTo>
                  <a:pt x="137" y="1420"/>
                </a:lnTo>
                <a:lnTo>
                  <a:pt x="139" y="1503"/>
                </a:lnTo>
                <a:lnTo>
                  <a:pt x="144" y="1623"/>
                </a:lnTo>
                <a:lnTo>
                  <a:pt x="151" y="1803"/>
                </a:lnTo>
                <a:lnTo>
                  <a:pt x="148" y="1817"/>
                </a:lnTo>
                <a:lnTo>
                  <a:pt x="146" y="1831"/>
                </a:lnTo>
                <a:lnTo>
                  <a:pt x="139" y="1867"/>
                </a:lnTo>
                <a:lnTo>
                  <a:pt x="137" y="1883"/>
                </a:lnTo>
                <a:lnTo>
                  <a:pt x="134" y="1900"/>
                </a:lnTo>
                <a:lnTo>
                  <a:pt x="134" y="1914"/>
                </a:lnTo>
                <a:lnTo>
                  <a:pt x="139" y="1923"/>
                </a:lnTo>
                <a:lnTo>
                  <a:pt x="146" y="1940"/>
                </a:lnTo>
                <a:lnTo>
                  <a:pt x="151" y="1949"/>
                </a:lnTo>
                <a:lnTo>
                  <a:pt x="148" y="1959"/>
                </a:lnTo>
                <a:lnTo>
                  <a:pt x="141" y="1966"/>
                </a:lnTo>
                <a:lnTo>
                  <a:pt x="127" y="1978"/>
                </a:lnTo>
                <a:lnTo>
                  <a:pt x="120" y="1990"/>
                </a:lnTo>
                <a:lnTo>
                  <a:pt x="118" y="1999"/>
                </a:lnTo>
                <a:lnTo>
                  <a:pt x="115" y="2011"/>
                </a:lnTo>
                <a:lnTo>
                  <a:pt x="118" y="2016"/>
                </a:lnTo>
                <a:lnTo>
                  <a:pt x="120" y="2023"/>
                </a:lnTo>
                <a:lnTo>
                  <a:pt x="125" y="2027"/>
                </a:lnTo>
                <a:lnTo>
                  <a:pt x="132" y="2030"/>
                </a:lnTo>
                <a:lnTo>
                  <a:pt x="141" y="2034"/>
                </a:lnTo>
                <a:lnTo>
                  <a:pt x="153" y="2037"/>
                </a:lnTo>
                <a:lnTo>
                  <a:pt x="174" y="2039"/>
                </a:lnTo>
                <a:lnTo>
                  <a:pt x="193" y="2037"/>
                </a:lnTo>
                <a:lnTo>
                  <a:pt x="210" y="2034"/>
                </a:lnTo>
                <a:lnTo>
                  <a:pt x="224" y="2030"/>
                </a:lnTo>
                <a:lnTo>
                  <a:pt x="233" y="2023"/>
                </a:lnTo>
                <a:lnTo>
                  <a:pt x="243" y="2016"/>
                </a:lnTo>
                <a:lnTo>
                  <a:pt x="255" y="2001"/>
                </a:lnTo>
                <a:lnTo>
                  <a:pt x="259" y="1997"/>
                </a:lnTo>
                <a:lnTo>
                  <a:pt x="259" y="1990"/>
                </a:lnTo>
                <a:lnTo>
                  <a:pt x="259" y="1973"/>
                </a:lnTo>
                <a:lnTo>
                  <a:pt x="257" y="1956"/>
                </a:lnTo>
                <a:lnTo>
                  <a:pt x="259" y="1945"/>
                </a:lnTo>
                <a:lnTo>
                  <a:pt x="264" y="1931"/>
                </a:lnTo>
                <a:lnTo>
                  <a:pt x="269" y="1919"/>
                </a:lnTo>
                <a:lnTo>
                  <a:pt x="271" y="1907"/>
                </a:lnTo>
                <a:lnTo>
                  <a:pt x="269" y="1897"/>
                </a:lnTo>
                <a:lnTo>
                  <a:pt x="269" y="1886"/>
                </a:lnTo>
                <a:lnTo>
                  <a:pt x="262" y="1867"/>
                </a:lnTo>
                <a:lnTo>
                  <a:pt x="252" y="1850"/>
                </a:lnTo>
                <a:lnTo>
                  <a:pt x="250" y="1838"/>
                </a:lnTo>
                <a:lnTo>
                  <a:pt x="250" y="1819"/>
                </a:lnTo>
                <a:lnTo>
                  <a:pt x="257" y="1775"/>
                </a:lnTo>
                <a:lnTo>
                  <a:pt x="264" y="1720"/>
                </a:lnTo>
                <a:lnTo>
                  <a:pt x="269" y="1668"/>
                </a:lnTo>
                <a:lnTo>
                  <a:pt x="274" y="1614"/>
                </a:lnTo>
                <a:lnTo>
                  <a:pt x="278" y="1548"/>
                </a:lnTo>
                <a:lnTo>
                  <a:pt x="285" y="1470"/>
                </a:lnTo>
                <a:lnTo>
                  <a:pt x="293" y="1373"/>
                </a:lnTo>
                <a:lnTo>
                  <a:pt x="295" y="1328"/>
                </a:lnTo>
                <a:lnTo>
                  <a:pt x="297" y="1293"/>
                </a:lnTo>
                <a:lnTo>
                  <a:pt x="302" y="1264"/>
                </a:lnTo>
                <a:lnTo>
                  <a:pt x="307" y="1245"/>
                </a:lnTo>
                <a:lnTo>
                  <a:pt x="311" y="1231"/>
                </a:lnTo>
                <a:lnTo>
                  <a:pt x="316" y="1224"/>
                </a:lnTo>
                <a:lnTo>
                  <a:pt x="318" y="1219"/>
                </a:lnTo>
                <a:lnTo>
                  <a:pt x="321" y="1243"/>
                </a:lnTo>
                <a:lnTo>
                  <a:pt x="323" y="1271"/>
                </a:lnTo>
                <a:lnTo>
                  <a:pt x="335" y="1340"/>
                </a:lnTo>
                <a:lnTo>
                  <a:pt x="344" y="1406"/>
                </a:lnTo>
                <a:lnTo>
                  <a:pt x="352" y="1458"/>
                </a:lnTo>
                <a:lnTo>
                  <a:pt x="356" y="1498"/>
                </a:lnTo>
                <a:lnTo>
                  <a:pt x="363" y="1534"/>
                </a:lnTo>
                <a:lnTo>
                  <a:pt x="370" y="1571"/>
                </a:lnTo>
                <a:lnTo>
                  <a:pt x="375" y="1609"/>
                </a:lnTo>
                <a:lnTo>
                  <a:pt x="380" y="1652"/>
                </a:lnTo>
                <a:lnTo>
                  <a:pt x="382" y="1697"/>
                </a:lnTo>
                <a:lnTo>
                  <a:pt x="382" y="1718"/>
                </a:lnTo>
                <a:lnTo>
                  <a:pt x="380" y="1737"/>
                </a:lnTo>
                <a:lnTo>
                  <a:pt x="378" y="1756"/>
                </a:lnTo>
                <a:lnTo>
                  <a:pt x="370" y="1772"/>
                </a:lnTo>
                <a:lnTo>
                  <a:pt x="363" y="1793"/>
                </a:lnTo>
                <a:lnTo>
                  <a:pt x="363" y="1810"/>
                </a:lnTo>
                <a:lnTo>
                  <a:pt x="366" y="1824"/>
                </a:lnTo>
                <a:lnTo>
                  <a:pt x="368" y="1843"/>
                </a:lnTo>
                <a:lnTo>
                  <a:pt x="363" y="1864"/>
                </a:lnTo>
                <a:lnTo>
                  <a:pt x="359" y="1886"/>
                </a:lnTo>
                <a:lnTo>
                  <a:pt x="352" y="1905"/>
                </a:lnTo>
                <a:lnTo>
                  <a:pt x="349" y="1921"/>
                </a:lnTo>
                <a:lnTo>
                  <a:pt x="349" y="1926"/>
                </a:lnTo>
                <a:lnTo>
                  <a:pt x="352" y="1933"/>
                </a:lnTo>
                <a:lnTo>
                  <a:pt x="361" y="1945"/>
                </a:lnTo>
                <a:lnTo>
                  <a:pt x="370" y="1956"/>
                </a:lnTo>
                <a:lnTo>
                  <a:pt x="370" y="1961"/>
                </a:lnTo>
                <a:lnTo>
                  <a:pt x="368" y="1966"/>
                </a:lnTo>
                <a:lnTo>
                  <a:pt x="359" y="1973"/>
                </a:lnTo>
                <a:lnTo>
                  <a:pt x="354" y="1985"/>
                </a:lnTo>
                <a:lnTo>
                  <a:pt x="349" y="1997"/>
                </a:lnTo>
                <a:lnTo>
                  <a:pt x="349" y="2011"/>
                </a:lnTo>
                <a:lnTo>
                  <a:pt x="349" y="2025"/>
                </a:lnTo>
                <a:lnTo>
                  <a:pt x="352" y="2030"/>
                </a:lnTo>
                <a:lnTo>
                  <a:pt x="356" y="2034"/>
                </a:lnTo>
                <a:lnTo>
                  <a:pt x="363" y="2039"/>
                </a:lnTo>
                <a:lnTo>
                  <a:pt x="375" y="2044"/>
                </a:lnTo>
                <a:lnTo>
                  <a:pt x="389" y="2044"/>
                </a:lnTo>
                <a:lnTo>
                  <a:pt x="408" y="2046"/>
                </a:lnTo>
                <a:lnTo>
                  <a:pt x="427" y="2044"/>
                </a:lnTo>
                <a:lnTo>
                  <a:pt x="444" y="2039"/>
                </a:lnTo>
                <a:lnTo>
                  <a:pt x="453" y="2034"/>
                </a:lnTo>
                <a:lnTo>
                  <a:pt x="463" y="2027"/>
                </a:lnTo>
                <a:lnTo>
                  <a:pt x="470" y="2020"/>
                </a:lnTo>
                <a:lnTo>
                  <a:pt x="472" y="2011"/>
                </a:lnTo>
                <a:lnTo>
                  <a:pt x="474" y="1997"/>
                </a:lnTo>
                <a:lnTo>
                  <a:pt x="472" y="1973"/>
                </a:lnTo>
                <a:lnTo>
                  <a:pt x="472" y="1964"/>
                </a:lnTo>
                <a:lnTo>
                  <a:pt x="474" y="1956"/>
                </a:lnTo>
                <a:lnTo>
                  <a:pt x="479" y="1949"/>
                </a:lnTo>
                <a:lnTo>
                  <a:pt x="486" y="1935"/>
                </a:lnTo>
                <a:lnTo>
                  <a:pt x="491" y="1919"/>
                </a:lnTo>
                <a:lnTo>
                  <a:pt x="491" y="1900"/>
                </a:lnTo>
                <a:lnTo>
                  <a:pt x="491" y="1879"/>
                </a:lnTo>
                <a:lnTo>
                  <a:pt x="491" y="1869"/>
                </a:lnTo>
                <a:lnTo>
                  <a:pt x="493" y="1862"/>
                </a:lnTo>
                <a:lnTo>
                  <a:pt x="498" y="1848"/>
                </a:lnTo>
                <a:lnTo>
                  <a:pt x="503" y="1824"/>
                </a:lnTo>
                <a:lnTo>
                  <a:pt x="507" y="1803"/>
                </a:lnTo>
                <a:lnTo>
                  <a:pt x="510" y="1777"/>
                </a:lnTo>
                <a:lnTo>
                  <a:pt x="510" y="1704"/>
                </a:lnTo>
                <a:lnTo>
                  <a:pt x="507" y="1628"/>
                </a:lnTo>
                <a:lnTo>
                  <a:pt x="564" y="1616"/>
                </a:lnTo>
                <a:lnTo>
                  <a:pt x="635" y="1597"/>
                </a:lnTo>
                <a:lnTo>
                  <a:pt x="725" y="1571"/>
                </a:lnTo>
                <a:lnTo>
                  <a:pt x="730" y="1569"/>
                </a:lnTo>
                <a:lnTo>
                  <a:pt x="734" y="1567"/>
                </a:lnTo>
                <a:lnTo>
                  <a:pt x="739" y="1560"/>
                </a:lnTo>
                <a:lnTo>
                  <a:pt x="741" y="1550"/>
                </a:lnTo>
                <a:lnTo>
                  <a:pt x="741" y="1491"/>
                </a:lnTo>
                <a:lnTo>
                  <a:pt x="739" y="137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18" name="Freeform 79"/>
          <p:cNvSpPr>
            <a:spLocks noEditPoints="1"/>
          </p:cNvSpPr>
          <p:nvPr>
            <p:custDataLst>
              <p:tags r:id="rId33"/>
            </p:custDataLst>
          </p:nvPr>
        </p:nvSpPr>
        <p:spPr bwMode="gray">
          <a:xfrm>
            <a:off x="5580140" y="1983833"/>
            <a:ext cx="176212" cy="584200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19" name="Freeform 96"/>
          <p:cNvSpPr>
            <a:spLocks noChangeAspect="1" noEditPoints="1"/>
          </p:cNvSpPr>
          <p:nvPr>
            <p:custDataLst>
              <p:tags r:id="rId34"/>
            </p:custDataLst>
          </p:nvPr>
        </p:nvSpPr>
        <p:spPr bwMode="gray">
          <a:xfrm flipH="1">
            <a:off x="5803585" y="1881615"/>
            <a:ext cx="149225" cy="465137"/>
          </a:xfrm>
          <a:custGeom>
            <a:avLst/>
            <a:gdLst>
              <a:gd name="T0" fmla="*/ 270 w 306"/>
              <a:gd name="T1" fmla="*/ 314 h 957"/>
              <a:gd name="T2" fmla="*/ 250 w 306"/>
              <a:gd name="T3" fmla="*/ 172 h 957"/>
              <a:gd name="T4" fmla="*/ 224 w 306"/>
              <a:gd name="T5" fmla="*/ 147 h 957"/>
              <a:gd name="T6" fmla="*/ 226 w 306"/>
              <a:gd name="T7" fmla="*/ 102 h 957"/>
              <a:gd name="T8" fmla="*/ 209 w 306"/>
              <a:gd name="T9" fmla="*/ 49 h 957"/>
              <a:gd name="T10" fmla="*/ 191 w 306"/>
              <a:gd name="T11" fmla="*/ 6 h 957"/>
              <a:gd name="T12" fmla="*/ 138 w 306"/>
              <a:gd name="T13" fmla="*/ 8 h 957"/>
              <a:gd name="T14" fmla="*/ 116 w 306"/>
              <a:gd name="T15" fmla="*/ 41 h 957"/>
              <a:gd name="T16" fmla="*/ 101 w 306"/>
              <a:gd name="T17" fmla="*/ 79 h 957"/>
              <a:gd name="T18" fmla="*/ 93 w 306"/>
              <a:gd name="T19" fmla="*/ 113 h 957"/>
              <a:gd name="T20" fmla="*/ 95 w 306"/>
              <a:gd name="T21" fmla="*/ 118 h 957"/>
              <a:gd name="T22" fmla="*/ 97 w 306"/>
              <a:gd name="T23" fmla="*/ 124 h 957"/>
              <a:gd name="T24" fmla="*/ 87 w 306"/>
              <a:gd name="T25" fmla="*/ 154 h 957"/>
              <a:gd name="T26" fmla="*/ 55 w 306"/>
              <a:gd name="T27" fmla="*/ 189 h 957"/>
              <a:gd name="T28" fmla="*/ 53 w 306"/>
              <a:gd name="T29" fmla="*/ 427 h 957"/>
              <a:gd name="T30" fmla="*/ 53 w 306"/>
              <a:gd name="T31" fmla="*/ 488 h 957"/>
              <a:gd name="T32" fmla="*/ 5 w 306"/>
              <a:gd name="T33" fmla="*/ 501 h 957"/>
              <a:gd name="T34" fmla="*/ 8 w 306"/>
              <a:gd name="T35" fmla="*/ 684 h 957"/>
              <a:gd name="T36" fmla="*/ 87 w 306"/>
              <a:gd name="T37" fmla="*/ 838 h 957"/>
              <a:gd name="T38" fmla="*/ 76 w 306"/>
              <a:gd name="T39" fmla="*/ 939 h 957"/>
              <a:gd name="T40" fmla="*/ 94 w 306"/>
              <a:gd name="T41" fmla="*/ 956 h 957"/>
              <a:gd name="T42" fmla="*/ 102 w 306"/>
              <a:gd name="T43" fmla="*/ 870 h 957"/>
              <a:gd name="T44" fmla="*/ 130 w 306"/>
              <a:gd name="T45" fmla="*/ 707 h 957"/>
              <a:gd name="T46" fmla="*/ 183 w 306"/>
              <a:gd name="T47" fmla="*/ 639 h 957"/>
              <a:gd name="T48" fmla="*/ 192 w 306"/>
              <a:gd name="T49" fmla="*/ 741 h 957"/>
              <a:gd name="T50" fmla="*/ 202 w 306"/>
              <a:gd name="T51" fmla="*/ 885 h 957"/>
              <a:gd name="T52" fmla="*/ 211 w 306"/>
              <a:gd name="T53" fmla="*/ 910 h 957"/>
              <a:gd name="T54" fmla="*/ 222 w 306"/>
              <a:gd name="T55" fmla="*/ 941 h 957"/>
              <a:gd name="T56" fmla="*/ 258 w 306"/>
              <a:gd name="T57" fmla="*/ 947 h 957"/>
              <a:gd name="T58" fmla="*/ 227 w 306"/>
              <a:gd name="T59" fmla="*/ 873 h 957"/>
              <a:gd name="T60" fmla="*/ 227 w 306"/>
              <a:gd name="T61" fmla="*/ 657 h 957"/>
              <a:gd name="T62" fmla="*/ 245 w 306"/>
              <a:gd name="T63" fmla="*/ 630 h 957"/>
              <a:gd name="T64" fmla="*/ 258 w 306"/>
              <a:gd name="T65" fmla="*/ 441 h 957"/>
              <a:gd name="T66" fmla="*/ 281 w 306"/>
              <a:gd name="T67" fmla="*/ 481 h 957"/>
              <a:gd name="T68" fmla="*/ 286 w 306"/>
              <a:gd name="T69" fmla="*/ 492 h 957"/>
              <a:gd name="T70" fmla="*/ 295 w 306"/>
              <a:gd name="T71" fmla="*/ 495 h 957"/>
              <a:gd name="T72" fmla="*/ 305 w 306"/>
              <a:gd name="T73" fmla="*/ 497 h 957"/>
              <a:gd name="T74" fmla="*/ 63 w 306"/>
              <a:gd name="T75" fmla="*/ 500 h 957"/>
              <a:gd name="T76" fmla="*/ 74 w 306"/>
              <a:gd name="T77" fmla="*/ 495 h 957"/>
              <a:gd name="T78" fmla="*/ 81 w 306"/>
              <a:gd name="T79" fmla="*/ 479 h 957"/>
              <a:gd name="T80" fmla="*/ 79 w 306"/>
              <a:gd name="T81" fmla="*/ 455 h 957"/>
              <a:gd name="T82" fmla="*/ 87 w 306"/>
              <a:gd name="T83" fmla="*/ 442 h 957"/>
              <a:gd name="T84" fmla="*/ 99 w 306"/>
              <a:gd name="T85" fmla="*/ 126 h 957"/>
              <a:gd name="T86" fmla="*/ 213 w 306"/>
              <a:gd name="T87" fmla="*/ 188 h 957"/>
              <a:gd name="T88" fmla="*/ 187 w 306"/>
              <a:gd name="T89" fmla="*/ 251 h 957"/>
              <a:gd name="T90" fmla="*/ 189 w 306"/>
              <a:gd name="T91" fmla="*/ 382 h 957"/>
              <a:gd name="T92" fmla="*/ 172 w 306"/>
              <a:gd name="T93" fmla="*/ 391 h 957"/>
              <a:gd name="T94" fmla="*/ 146 w 306"/>
              <a:gd name="T95" fmla="*/ 374 h 957"/>
              <a:gd name="T96" fmla="*/ 151 w 306"/>
              <a:gd name="T97" fmla="*/ 232 h 957"/>
              <a:gd name="T98" fmla="*/ 133 w 306"/>
              <a:gd name="T99" fmla="*/ 184 h 957"/>
              <a:gd name="T100" fmla="*/ 122 w 306"/>
              <a:gd name="T101" fmla="*/ 159 h 957"/>
              <a:gd name="T102" fmla="*/ 131 w 306"/>
              <a:gd name="T103" fmla="*/ 151 h 957"/>
              <a:gd name="T104" fmla="*/ 167 w 306"/>
              <a:gd name="T105" fmla="*/ 195 h 957"/>
              <a:gd name="T106" fmla="*/ 190 w 306"/>
              <a:gd name="T107" fmla="*/ 158 h 957"/>
              <a:gd name="T108" fmla="*/ 218 w 306"/>
              <a:gd name="T109" fmla="*/ 87 h 957"/>
              <a:gd name="T110" fmla="*/ 225 w 306"/>
              <a:gd name="T111" fmla="*/ 104 h 957"/>
              <a:gd name="T112" fmla="*/ 226 w 306"/>
              <a:gd name="T113" fmla="*/ 119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6" h="957">
                <a:moveTo>
                  <a:pt x="304" y="482"/>
                </a:moveTo>
                <a:cubicBezTo>
                  <a:pt x="302" y="477"/>
                  <a:pt x="302" y="477"/>
                  <a:pt x="302" y="477"/>
                </a:cubicBezTo>
                <a:cubicBezTo>
                  <a:pt x="293" y="461"/>
                  <a:pt x="293" y="461"/>
                  <a:pt x="293" y="461"/>
                </a:cubicBezTo>
                <a:cubicBezTo>
                  <a:pt x="288" y="453"/>
                  <a:pt x="288" y="453"/>
                  <a:pt x="288" y="453"/>
                </a:cubicBezTo>
                <a:cubicBezTo>
                  <a:pt x="286" y="446"/>
                  <a:pt x="286" y="446"/>
                  <a:pt x="286" y="446"/>
                </a:cubicBezTo>
                <a:cubicBezTo>
                  <a:pt x="275" y="355"/>
                  <a:pt x="275" y="355"/>
                  <a:pt x="275" y="355"/>
                </a:cubicBezTo>
                <a:cubicBezTo>
                  <a:pt x="270" y="314"/>
                  <a:pt x="270" y="314"/>
                  <a:pt x="270" y="314"/>
                </a:cubicBezTo>
                <a:cubicBezTo>
                  <a:pt x="266" y="271"/>
                  <a:pt x="266" y="271"/>
                  <a:pt x="266" y="271"/>
                </a:cubicBezTo>
                <a:cubicBezTo>
                  <a:pt x="262" y="232"/>
                  <a:pt x="262" y="232"/>
                  <a:pt x="262" y="232"/>
                </a:cubicBezTo>
                <a:cubicBezTo>
                  <a:pt x="258" y="204"/>
                  <a:pt x="258" y="204"/>
                  <a:pt x="258" y="204"/>
                </a:cubicBezTo>
                <a:cubicBezTo>
                  <a:pt x="255" y="189"/>
                  <a:pt x="255" y="189"/>
                  <a:pt x="255" y="189"/>
                </a:cubicBezTo>
                <a:cubicBezTo>
                  <a:pt x="254" y="183"/>
                  <a:pt x="254" y="183"/>
                  <a:pt x="254" y="183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0" y="172"/>
                  <a:pt x="250" y="172"/>
                  <a:pt x="250" y="172"/>
                </a:cubicBezTo>
                <a:cubicBezTo>
                  <a:pt x="247" y="167"/>
                  <a:pt x="247" y="167"/>
                  <a:pt x="247" y="167"/>
                </a:cubicBezTo>
                <a:cubicBezTo>
                  <a:pt x="241" y="163"/>
                  <a:pt x="241" y="163"/>
                  <a:pt x="241" y="163"/>
                </a:cubicBezTo>
                <a:cubicBezTo>
                  <a:pt x="233" y="158"/>
                  <a:pt x="233" y="158"/>
                  <a:pt x="233" y="158"/>
                </a:cubicBezTo>
                <a:cubicBezTo>
                  <a:pt x="228" y="156"/>
                  <a:pt x="228" y="156"/>
                  <a:pt x="228" y="156"/>
                </a:cubicBezTo>
                <a:cubicBezTo>
                  <a:pt x="227" y="155"/>
                  <a:pt x="227" y="155"/>
                  <a:pt x="227" y="155"/>
                </a:cubicBezTo>
                <a:cubicBezTo>
                  <a:pt x="225" y="151"/>
                  <a:pt x="225" y="151"/>
                  <a:pt x="225" y="151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224" y="142"/>
                  <a:pt x="224" y="142"/>
                  <a:pt x="224" y="142"/>
                </a:cubicBezTo>
                <a:cubicBezTo>
                  <a:pt x="225" y="135"/>
                  <a:pt x="225" y="135"/>
                  <a:pt x="225" y="135"/>
                </a:cubicBezTo>
                <a:cubicBezTo>
                  <a:pt x="227" y="131"/>
                  <a:pt x="227" y="131"/>
                  <a:pt x="227" y="131"/>
                </a:cubicBezTo>
                <a:cubicBezTo>
                  <a:pt x="229" y="127"/>
                  <a:pt x="229" y="127"/>
                  <a:pt x="229" y="127"/>
                </a:cubicBezTo>
                <a:cubicBezTo>
                  <a:pt x="230" y="118"/>
                  <a:pt x="230" y="118"/>
                  <a:pt x="230" y="118"/>
                </a:cubicBezTo>
                <a:cubicBezTo>
                  <a:pt x="229" y="110"/>
                  <a:pt x="229" y="110"/>
                  <a:pt x="229" y="110"/>
                </a:cubicBezTo>
                <a:cubicBezTo>
                  <a:pt x="226" y="102"/>
                  <a:pt x="226" y="102"/>
                  <a:pt x="226" y="102"/>
                </a:cubicBezTo>
                <a:cubicBezTo>
                  <a:pt x="226" y="97"/>
                  <a:pt x="226" y="97"/>
                  <a:pt x="226" y="97"/>
                </a:cubicBezTo>
                <a:cubicBezTo>
                  <a:pt x="225" y="91"/>
                  <a:pt x="225" y="91"/>
                  <a:pt x="225" y="91"/>
                </a:cubicBezTo>
                <a:cubicBezTo>
                  <a:pt x="222" y="84"/>
                  <a:pt x="222" y="84"/>
                  <a:pt x="222" y="84"/>
                </a:cubicBezTo>
                <a:cubicBezTo>
                  <a:pt x="217" y="75"/>
                  <a:pt x="217" y="75"/>
                  <a:pt x="217" y="75"/>
                </a:cubicBezTo>
                <a:cubicBezTo>
                  <a:pt x="214" y="69"/>
                  <a:pt x="214" y="69"/>
                  <a:pt x="214" y="69"/>
                </a:cubicBezTo>
                <a:cubicBezTo>
                  <a:pt x="212" y="63"/>
                  <a:pt x="212" y="63"/>
                  <a:pt x="212" y="63"/>
                </a:cubicBezTo>
                <a:cubicBezTo>
                  <a:pt x="209" y="49"/>
                  <a:pt x="209" y="49"/>
                  <a:pt x="209" y="49"/>
                </a:cubicBezTo>
                <a:cubicBezTo>
                  <a:pt x="208" y="34"/>
                  <a:pt x="208" y="34"/>
                  <a:pt x="208" y="34"/>
                </a:cubicBezTo>
                <a:cubicBezTo>
                  <a:pt x="207" y="29"/>
                  <a:pt x="207" y="29"/>
                  <a:pt x="207" y="29"/>
                </a:cubicBezTo>
                <a:cubicBezTo>
                  <a:pt x="206" y="25"/>
                  <a:pt x="206" y="25"/>
                  <a:pt x="206" y="25"/>
                </a:cubicBezTo>
                <a:cubicBezTo>
                  <a:pt x="202" y="18"/>
                  <a:pt x="202" y="18"/>
                  <a:pt x="202" y="18"/>
                </a:cubicBezTo>
                <a:cubicBezTo>
                  <a:pt x="199" y="13"/>
                  <a:pt x="199" y="13"/>
                  <a:pt x="199" y="13"/>
                </a:cubicBezTo>
                <a:cubicBezTo>
                  <a:pt x="195" y="9"/>
                  <a:pt x="195" y="9"/>
                  <a:pt x="195" y="9"/>
                </a:cubicBezTo>
                <a:cubicBezTo>
                  <a:pt x="191" y="6"/>
                  <a:pt x="191" y="6"/>
                  <a:pt x="191" y="6"/>
                </a:cubicBezTo>
                <a:cubicBezTo>
                  <a:pt x="185" y="3"/>
                  <a:pt x="185" y="3"/>
                  <a:pt x="185" y="3"/>
                </a:cubicBezTo>
                <a:cubicBezTo>
                  <a:pt x="179" y="1"/>
                  <a:pt x="179" y="1"/>
                  <a:pt x="179" y="1"/>
                </a:cubicBezTo>
                <a:cubicBezTo>
                  <a:pt x="172" y="0"/>
                  <a:pt x="172" y="0"/>
                  <a:pt x="172" y="0"/>
                </a:cubicBezTo>
                <a:cubicBezTo>
                  <a:pt x="165" y="0"/>
                  <a:pt x="165" y="0"/>
                  <a:pt x="165" y="0"/>
                </a:cubicBezTo>
                <a:cubicBezTo>
                  <a:pt x="156" y="1"/>
                  <a:pt x="156" y="1"/>
                  <a:pt x="156" y="1"/>
                </a:cubicBezTo>
                <a:cubicBezTo>
                  <a:pt x="147" y="4"/>
                  <a:pt x="147" y="4"/>
                  <a:pt x="147" y="4"/>
                </a:cubicBezTo>
                <a:cubicBezTo>
                  <a:pt x="138" y="8"/>
                  <a:pt x="138" y="8"/>
                  <a:pt x="138" y="8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0" y="14"/>
                  <a:pt x="130" y="14"/>
                  <a:pt x="130" y="14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5" y="49"/>
                  <a:pt x="115" y="49"/>
                  <a:pt x="115" y="49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06" y="72"/>
                  <a:pt x="106" y="72"/>
                  <a:pt x="106" y="72"/>
                </a:cubicBezTo>
                <a:cubicBezTo>
                  <a:pt x="103" y="76"/>
                  <a:pt x="103" y="76"/>
                  <a:pt x="103" y="76"/>
                </a:cubicBezTo>
                <a:cubicBezTo>
                  <a:pt x="100" y="79"/>
                  <a:pt x="100" y="79"/>
                  <a:pt x="100" y="79"/>
                </a:cubicBezTo>
                <a:cubicBezTo>
                  <a:pt x="101" y="79"/>
                  <a:pt x="101" y="79"/>
                  <a:pt x="101" y="79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8" y="73"/>
                  <a:pt x="108" y="73"/>
                  <a:pt x="108" y="73"/>
                </a:cubicBezTo>
                <a:cubicBezTo>
                  <a:pt x="112" y="65"/>
                  <a:pt x="112" y="65"/>
                  <a:pt x="112" y="65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00" y="92"/>
                  <a:pt x="100" y="92"/>
                  <a:pt x="100" y="92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93" y="113"/>
                  <a:pt x="93" y="113"/>
                  <a:pt x="93" y="113"/>
                </a:cubicBezTo>
                <a:cubicBezTo>
                  <a:pt x="92" y="118"/>
                  <a:pt x="92" y="118"/>
                  <a:pt x="92" y="118"/>
                </a:cubicBezTo>
                <a:cubicBezTo>
                  <a:pt x="92" y="124"/>
                  <a:pt x="92" y="124"/>
                  <a:pt x="92" y="124"/>
                </a:cubicBezTo>
                <a:cubicBezTo>
                  <a:pt x="93" y="131"/>
                  <a:pt x="93" y="131"/>
                  <a:pt x="93" y="131"/>
                </a:cubicBezTo>
                <a:cubicBezTo>
                  <a:pt x="95" y="137"/>
                  <a:pt x="95" y="137"/>
                  <a:pt x="95" y="137"/>
                </a:cubicBezTo>
                <a:cubicBezTo>
                  <a:pt x="95" y="133"/>
                  <a:pt x="95" y="133"/>
                  <a:pt x="95" y="133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95" y="118"/>
                  <a:pt x="95" y="118"/>
                  <a:pt x="95" y="118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99" y="104"/>
                  <a:pt x="99" y="104"/>
                  <a:pt x="99" y="104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101" y="103"/>
                  <a:pt x="101" y="103"/>
                  <a:pt x="101" y="103"/>
                </a:cubicBezTo>
                <a:cubicBezTo>
                  <a:pt x="100" y="109"/>
                  <a:pt x="100" y="109"/>
                  <a:pt x="100" y="109"/>
                </a:cubicBezTo>
                <a:cubicBezTo>
                  <a:pt x="98" y="116"/>
                  <a:pt x="98" y="116"/>
                  <a:pt x="98" y="116"/>
                </a:cubicBezTo>
                <a:cubicBezTo>
                  <a:pt x="97" y="124"/>
                  <a:pt x="97" y="124"/>
                  <a:pt x="97" y="124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1" y="147"/>
                  <a:pt x="101" y="147"/>
                  <a:pt x="101" y="147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5" y="153"/>
                  <a:pt x="95" y="153"/>
                  <a:pt x="95" y="153"/>
                </a:cubicBezTo>
                <a:cubicBezTo>
                  <a:pt x="87" y="154"/>
                  <a:pt x="87" y="154"/>
                  <a:pt x="87" y="154"/>
                </a:cubicBezTo>
                <a:cubicBezTo>
                  <a:pt x="80" y="156"/>
                  <a:pt x="80" y="156"/>
                  <a:pt x="80" y="156"/>
                </a:cubicBezTo>
                <a:cubicBezTo>
                  <a:pt x="73" y="159"/>
                  <a:pt x="73" y="159"/>
                  <a:pt x="73" y="159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63" y="168"/>
                  <a:pt x="63" y="168"/>
                  <a:pt x="63" y="168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57" y="182"/>
                  <a:pt x="57" y="182"/>
                  <a:pt x="57" y="182"/>
                </a:cubicBezTo>
                <a:cubicBezTo>
                  <a:pt x="55" y="189"/>
                  <a:pt x="55" y="189"/>
                  <a:pt x="55" y="189"/>
                </a:cubicBezTo>
                <a:cubicBezTo>
                  <a:pt x="55" y="197"/>
                  <a:pt x="55" y="197"/>
                  <a:pt x="55" y="197"/>
                </a:cubicBezTo>
                <a:cubicBezTo>
                  <a:pt x="51" y="301"/>
                  <a:pt x="51" y="301"/>
                  <a:pt x="51" y="301"/>
                </a:cubicBezTo>
                <a:cubicBezTo>
                  <a:pt x="50" y="366"/>
                  <a:pt x="50" y="366"/>
                  <a:pt x="50" y="366"/>
                </a:cubicBezTo>
                <a:cubicBezTo>
                  <a:pt x="50" y="389"/>
                  <a:pt x="50" y="389"/>
                  <a:pt x="50" y="389"/>
                </a:cubicBezTo>
                <a:cubicBezTo>
                  <a:pt x="50" y="403"/>
                  <a:pt x="50" y="403"/>
                  <a:pt x="50" y="403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53" y="427"/>
                  <a:pt x="53" y="427"/>
                  <a:pt x="53" y="427"/>
                </a:cubicBezTo>
                <a:cubicBezTo>
                  <a:pt x="54" y="444"/>
                  <a:pt x="54" y="444"/>
                  <a:pt x="54" y="444"/>
                </a:cubicBezTo>
                <a:cubicBezTo>
                  <a:pt x="53" y="465"/>
                  <a:pt x="53" y="465"/>
                  <a:pt x="53" y="465"/>
                </a:cubicBezTo>
                <a:cubicBezTo>
                  <a:pt x="53" y="475"/>
                  <a:pt x="53" y="475"/>
                  <a:pt x="53" y="475"/>
                </a:cubicBezTo>
                <a:cubicBezTo>
                  <a:pt x="53" y="479"/>
                  <a:pt x="53" y="479"/>
                  <a:pt x="53" y="479"/>
                </a:cubicBezTo>
                <a:cubicBezTo>
                  <a:pt x="55" y="481"/>
                  <a:pt x="55" y="481"/>
                  <a:pt x="55" y="481"/>
                </a:cubicBezTo>
                <a:cubicBezTo>
                  <a:pt x="56" y="482"/>
                  <a:pt x="56" y="482"/>
                  <a:pt x="56" y="482"/>
                </a:cubicBezTo>
                <a:cubicBezTo>
                  <a:pt x="53" y="488"/>
                  <a:pt x="53" y="488"/>
                  <a:pt x="53" y="488"/>
                </a:cubicBezTo>
                <a:cubicBezTo>
                  <a:pt x="52" y="495"/>
                  <a:pt x="52" y="495"/>
                  <a:pt x="52" y="495"/>
                </a:cubicBezTo>
                <a:cubicBezTo>
                  <a:pt x="27" y="494"/>
                  <a:pt x="27" y="494"/>
                  <a:pt x="27" y="494"/>
                </a:cubicBezTo>
                <a:cubicBezTo>
                  <a:pt x="21" y="494"/>
                  <a:pt x="21" y="494"/>
                  <a:pt x="21" y="494"/>
                </a:cubicBezTo>
                <a:cubicBezTo>
                  <a:pt x="14" y="496"/>
                  <a:pt x="14" y="496"/>
                  <a:pt x="14" y="496"/>
                </a:cubicBezTo>
                <a:cubicBezTo>
                  <a:pt x="8" y="498"/>
                  <a:pt x="8" y="498"/>
                  <a:pt x="8" y="498"/>
                </a:cubicBezTo>
                <a:cubicBezTo>
                  <a:pt x="6" y="500"/>
                  <a:pt x="6" y="500"/>
                  <a:pt x="6" y="500"/>
                </a:cubicBezTo>
                <a:cubicBezTo>
                  <a:pt x="5" y="501"/>
                  <a:pt x="5" y="501"/>
                  <a:pt x="5" y="501"/>
                </a:cubicBezTo>
                <a:cubicBezTo>
                  <a:pt x="2" y="585"/>
                  <a:pt x="2" y="585"/>
                  <a:pt x="2" y="585"/>
                </a:cubicBezTo>
                <a:cubicBezTo>
                  <a:pt x="0" y="643"/>
                  <a:pt x="0" y="643"/>
                  <a:pt x="0" y="643"/>
                </a:cubicBezTo>
                <a:cubicBezTo>
                  <a:pt x="0" y="673"/>
                  <a:pt x="0" y="673"/>
                  <a:pt x="0" y="673"/>
                </a:cubicBezTo>
                <a:cubicBezTo>
                  <a:pt x="1" y="678"/>
                  <a:pt x="1" y="678"/>
                  <a:pt x="1" y="678"/>
                </a:cubicBezTo>
                <a:cubicBezTo>
                  <a:pt x="3" y="681"/>
                  <a:pt x="3" y="681"/>
                  <a:pt x="3" y="681"/>
                </a:cubicBezTo>
                <a:cubicBezTo>
                  <a:pt x="6" y="682"/>
                  <a:pt x="6" y="682"/>
                  <a:pt x="6" y="682"/>
                </a:cubicBezTo>
                <a:cubicBezTo>
                  <a:pt x="8" y="684"/>
                  <a:pt x="8" y="684"/>
                  <a:pt x="8" y="684"/>
                </a:cubicBezTo>
                <a:cubicBezTo>
                  <a:pt x="38" y="692"/>
                  <a:pt x="38" y="692"/>
                  <a:pt x="38" y="692"/>
                </a:cubicBezTo>
                <a:cubicBezTo>
                  <a:pt x="90" y="706"/>
                  <a:pt x="90" y="706"/>
                  <a:pt x="90" y="706"/>
                </a:cubicBezTo>
                <a:cubicBezTo>
                  <a:pt x="88" y="722"/>
                  <a:pt x="88" y="722"/>
                  <a:pt x="88" y="722"/>
                </a:cubicBezTo>
                <a:cubicBezTo>
                  <a:pt x="87" y="740"/>
                  <a:pt x="87" y="740"/>
                  <a:pt x="87" y="740"/>
                </a:cubicBezTo>
                <a:cubicBezTo>
                  <a:pt x="88" y="794"/>
                  <a:pt x="88" y="794"/>
                  <a:pt x="88" y="794"/>
                </a:cubicBezTo>
                <a:cubicBezTo>
                  <a:pt x="87" y="821"/>
                  <a:pt x="87" y="821"/>
                  <a:pt x="87" y="821"/>
                </a:cubicBezTo>
                <a:cubicBezTo>
                  <a:pt x="87" y="838"/>
                  <a:pt x="87" y="838"/>
                  <a:pt x="87" y="838"/>
                </a:cubicBezTo>
                <a:cubicBezTo>
                  <a:pt x="82" y="872"/>
                  <a:pt x="82" y="872"/>
                  <a:pt x="82" y="872"/>
                </a:cubicBezTo>
                <a:cubicBezTo>
                  <a:pt x="80" y="892"/>
                  <a:pt x="80" y="892"/>
                  <a:pt x="80" y="892"/>
                </a:cubicBezTo>
                <a:cubicBezTo>
                  <a:pt x="76" y="907"/>
                  <a:pt x="76" y="907"/>
                  <a:pt x="76" y="907"/>
                </a:cubicBezTo>
                <a:cubicBezTo>
                  <a:pt x="75" y="914"/>
                  <a:pt x="75" y="914"/>
                  <a:pt x="75" y="914"/>
                </a:cubicBezTo>
                <a:cubicBezTo>
                  <a:pt x="75" y="922"/>
                  <a:pt x="75" y="922"/>
                  <a:pt x="75" y="922"/>
                </a:cubicBezTo>
                <a:cubicBezTo>
                  <a:pt x="75" y="930"/>
                  <a:pt x="75" y="930"/>
                  <a:pt x="75" y="930"/>
                </a:cubicBezTo>
                <a:cubicBezTo>
                  <a:pt x="76" y="939"/>
                  <a:pt x="76" y="939"/>
                  <a:pt x="76" y="939"/>
                </a:cubicBezTo>
                <a:cubicBezTo>
                  <a:pt x="78" y="946"/>
                  <a:pt x="78" y="946"/>
                  <a:pt x="78" y="946"/>
                </a:cubicBezTo>
                <a:cubicBezTo>
                  <a:pt x="81" y="952"/>
                  <a:pt x="81" y="952"/>
                  <a:pt x="81" y="952"/>
                </a:cubicBezTo>
                <a:cubicBezTo>
                  <a:pt x="83" y="954"/>
                  <a:pt x="83" y="954"/>
                  <a:pt x="83" y="954"/>
                </a:cubicBezTo>
                <a:cubicBezTo>
                  <a:pt x="86" y="956"/>
                  <a:pt x="86" y="956"/>
                  <a:pt x="86" y="956"/>
                </a:cubicBezTo>
                <a:cubicBezTo>
                  <a:pt x="89" y="957"/>
                  <a:pt x="89" y="957"/>
                  <a:pt x="89" y="957"/>
                </a:cubicBezTo>
                <a:cubicBezTo>
                  <a:pt x="92" y="957"/>
                  <a:pt x="92" y="957"/>
                  <a:pt x="92" y="957"/>
                </a:cubicBezTo>
                <a:cubicBezTo>
                  <a:pt x="94" y="956"/>
                  <a:pt x="94" y="956"/>
                  <a:pt x="94" y="956"/>
                </a:cubicBezTo>
                <a:cubicBezTo>
                  <a:pt x="97" y="954"/>
                  <a:pt x="97" y="954"/>
                  <a:pt x="97" y="954"/>
                </a:cubicBezTo>
                <a:cubicBezTo>
                  <a:pt x="99" y="951"/>
                  <a:pt x="99" y="951"/>
                  <a:pt x="99" y="951"/>
                </a:cubicBezTo>
                <a:cubicBezTo>
                  <a:pt x="100" y="947"/>
                  <a:pt x="100" y="947"/>
                  <a:pt x="100" y="947"/>
                </a:cubicBezTo>
                <a:cubicBezTo>
                  <a:pt x="102" y="939"/>
                  <a:pt x="102" y="939"/>
                  <a:pt x="102" y="939"/>
                </a:cubicBezTo>
                <a:cubicBezTo>
                  <a:pt x="103" y="930"/>
                  <a:pt x="103" y="930"/>
                  <a:pt x="103" y="930"/>
                </a:cubicBezTo>
                <a:cubicBezTo>
                  <a:pt x="102" y="895"/>
                  <a:pt x="102" y="895"/>
                  <a:pt x="102" y="895"/>
                </a:cubicBezTo>
                <a:cubicBezTo>
                  <a:pt x="102" y="870"/>
                  <a:pt x="102" y="870"/>
                  <a:pt x="102" y="870"/>
                </a:cubicBezTo>
                <a:cubicBezTo>
                  <a:pt x="103" y="857"/>
                  <a:pt x="103" y="857"/>
                  <a:pt x="103" y="857"/>
                </a:cubicBezTo>
                <a:cubicBezTo>
                  <a:pt x="105" y="845"/>
                  <a:pt x="105" y="845"/>
                  <a:pt x="105" y="845"/>
                </a:cubicBezTo>
                <a:cubicBezTo>
                  <a:pt x="119" y="775"/>
                  <a:pt x="119" y="775"/>
                  <a:pt x="119" y="775"/>
                </a:cubicBezTo>
                <a:cubicBezTo>
                  <a:pt x="126" y="739"/>
                  <a:pt x="126" y="739"/>
                  <a:pt x="126" y="739"/>
                </a:cubicBezTo>
                <a:cubicBezTo>
                  <a:pt x="129" y="725"/>
                  <a:pt x="129" y="725"/>
                  <a:pt x="129" y="725"/>
                </a:cubicBezTo>
                <a:cubicBezTo>
                  <a:pt x="129" y="717"/>
                  <a:pt x="129" y="717"/>
                  <a:pt x="129" y="717"/>
                </a:cubicBezTo>
                <a:cubicBezTo>
                  <a:pt x="130" y="707"/>
                  <a:pt x="130" y="707"/>
                  <a:pt x="130" y="707"/>
                </a:cubicBezTo>
                <a:cubicBezTo>
                  <a:pt x="133" y="694"/>
                  <a:pt x="133" y="694"/>
                  <a:pt x="133" y="694"/>
                </a:cubicBezTo>
                <a:cubicBezTo>
                  <a:pt x="139" y="670"/>
                  <a:pt x="139" y="670"/>
                  <a:pt x="139" y="670"/>
                </a:cubicBezTo>
                <a:cubicBezTo>
                  <a:pt x="145" y="642"/>
                  <a:pt x="145" y="642"/>
                  <a:pt x="145" y="642"/>
                </a:cubicBezTo>
                <a:cubicBezTo>
                  <a:pt x="166" y="642"/>
                  <a:pt x="166" y="642"/>
                  <a:pt x="166" y="642"/>
                </a:cubicBezTo>
                <a:cubicBezTo>
                  <a:pt x="177" y="641"/>
                  <a:pt x="177" y="641"/>
                  <a:pt x="177" y="641"/>
                </a:cubicBezTo>
                <a:cubicBezTo>
                  <a:pt x="181" y="641"/>
                  <a:pt x="181" y="641"/>
                  <a:pt x="181" y="641"/>
                </a:cubicBezTo>
                <a:cubicBezTo>
                  <a:pt x="183" y="639"/>
                  <a:pt x="183" y="639"/>
                  <a:pt x="183" y="639"/>
                </a:cubicBezTo>
                <a:cubicBezTo>
                  <a:pt x="183" y="640"/>
                  <a:pt x="183" y="640"/>
                  <a:pt x="183" y="640"/>
                </a:cubicBezTo>
                <a:cubicBezTo>
                  <a:pt x="183" y="642"/>
                  <a:pt x="183" y="642"/>
                  <a:pt x="183" y="642"/>
                </a:cubicBezTo>
                <a:cubicBezTo>
                  <a:pt x="184" y="650"/>
                  <a:pt x="184" y="650"/>
                  <a:pt x="184" y="650"/>
                </a:cubicBezTo>
                <a:cubicBezTo>
                  <a:pt x="184" y="667"/>
                  <a:pt x="184" y="667"/>
                  <a:pt x="184" y="667"/>
                </a:cubicBezTo>
                <a:cubicBezTo>
                  <a:pt x="185" y="691"/>
                  <a:pt x="185" y="691"/>
                  <a:pt x="185" y="691"/>
                </a:cubicBezTo>
                <a:cubicBezTo>
                  <a:pt x="188" y="717"/>
                  <a:pt x="188" y="717"/>
                  <a:pt x="188" y="717"/>
                </a:cubicBezTo>
                <a:cubicBezTo>
                  <a:pt x="192" y="741"/>
                  <a:pt x="192" y="741"/>
                  <a:pt x="192" y="741"/>
                </a:cubicBezTo>
                <a:cubicBezTo>
                  <a:pt x="195" y="759"/>
                  <a:pt x="195" y="759"/>
                  <a:pt x="195" y="759"/>
                </a:cubicBezTo>
                <a:cubicBezTo>
                  <a:pt x="199" y="780"/>
                  <a:pt x="199" y="780"/>
                  <a:pt x="199" y="780"/>
                </a:cubicBezTo>
                <a:cubicBezTo>
                  <a:pt x="202" y="810"/>
                  <a:pt x="202" y="810"/>
                  <a:pt x="202" y="810"/>
                </a:cubicBezTo>
                <a:cubicBezTo>
                  <a:pt x="205" y="839"/>
                  <a:pt x="205" y="839"/>
                  <a:pt x="205" y="839"/>
                </a:cubicBezTo>
                <a:cubicBezTo>
                  <a:pt x="205" y="861"/>
                  <a:pt x="205" y="861"/>
                  <a:pt x="205" y="861"/>
                </a:cubicBezTo>
                <a:cubicBezTo>
                  <a:pt x="204" y="875"/>
                  <a:pt x="204" y="875"/>
                  <a:pt x="204" y="875"/>
                </a:cubicBezTo>
                <a:cubicBezTo>
                  <a:pt x="202" y="885"/>
                  <a:pt x="202" y="885"/>
                  <a:pt x="202" y="885"/>
                </a:cubicBezTo>
                <a:cubicBezTo>
                  <a:pt x="201" y="892"/>
                  <a:pt x="201" y="892"/>
                  <a:pt x="201" y="892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911"/>
                  <a:pt x="201" y="911"/>
                  <a:pt x="201" y="911"/>
                </a:cubicBezTo>
                <a:cubicBezTo>
                  <a:pt x="204" y="911"/>
                  <a:pt x="204" y="911"/>
                  <a:pt x="204" y="911"/>
                </a:cubicBezTo>
                <a:cubicBezTo>
                  <a:pt x="205" y="906"/>
                  <a:pt x="206" y="904"/>
                  <a:pt x="206" y="903"/>
                </a:cubicBezTo>
                <a:cubicBezTo>
                  <a:pt x="211" y="910"/>
                  <a:pt x="211" y="910"/>
                  <a:pt x="211" y="910"/>
                </a:cubicBezTo>
                <a:cubicBezTo>
                  <a:pt x="214" y="918"/>
                  <a:pt x="214" y="918"/>
                  <a:pt x="214" y="918"/>
                </a:cubicBezTo>
                <a:cubicBezTo>
                  <a:pt x="215" y="922"/>
                  <a:pt x="215" y="922"/>
                  <a:pt x="215" y="922"/>
                </a:cubicBezTo>
                <a:cubicBezTo>
                  <a:pt x="215" y="925"/>
                  <a:pt x="215" y="925"/>
                  <a:pt x="215" y="925"/>
                </a:cubicBezTo>
                <a:cubicBezTo>
                  <a:pt x="216" y="929"/>
                  <a:pt x="216" y="929"/>
                  <a:pt x="216" y="929"/>
                </a:cubicBezTo>
                <a:cubicBezTo>
                  <a:pt x="217" y="933"/>
                  <a:pt x="217" y="933"/>
                  <a:pt x="217" y="933"/>
                </a:cubicBezTo>
                <a:cubicBezTo>
                  <a:pt x="219" y="937"/>
                  <a:pt x="219" y="937"/>
                  <a:pt x="219" y="937"/>
                </a:cubicBezTo>
                <a:cubicBezTo>
                  <a:pt x="222" y="941"/>
                  <a:pt x="222" y="941"/>
                  <a:pt x="222" y="941"/>
                </a:cubicBezTo>
                <a:cubicBezTo>
                  <a:pt x="227" y="945"/>
                  <a:pt x="227" y="945"/>
                  <a:pt x="227" y="945"/>
                </a:cubicBezTo>
                <a:cubicBezTo>
                  <a:pt x="233" y="947"/>
                  <a:pt x="233" y="947"/>
                  <a:pt x="233" y="947"/>
                </a:cubicBezTo>
                <a:cubicBezTo>
                  <a:pt x="241" y="949"/>
                  <a:pt x="241" y="949"/>
                  <a:pt x="241" y="949"/>
                </a:cubicBezTo>
                <a:cubicBezTo>
                  <a:pt x="252" y="950"/>
                  <a:pt x="252" y="950"/>
                  <a:pt x="252" y="950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7" y="948"/>
                  <a:pt x="257" y="948"/>
                  <a:pt x="257" y="948"/>
                </a:cubicBezTo>
                <a:cubicBezTo>
                  <a:pt x="258" y="947"/>
                  <a:pt x="258" y="947"/>
                  <a:pt x="258" y="947"/>
                </a:cubicBezTo>
                <a:cubicBezTo>
                  <a:pt x="257" y="943"/>
                  <a:pt x="257" y="943"/>
                  <a:pt x="257" y="943"/>
                </a:cubicBezTo>
                <a:cubicBezTo>
                  <a:pt x="256" y="938"/>
                  <a:pt x="256" y="938"/>
                  <a:pt x="256" y="938"/>
                </a:cubicBezTo>
                <a:cubicBezTo>
                  <a:pt x="249" y="927"/>
                  <a:pt x="249" y="927"/>
                  <a:pt x="249" y="927"/>
                </a:cubicBezTo>
                <a:cubicBezTo>
                  <a:pt x="242" y="915"/>
                  <a:pt x="242" y="915"/>
                  <a:pt x="242" y="915"/>
                </a:cubicBezTo>
                <a:cubicBezTo>
                  <a:pt x="235" y="902"/>
                  <a:pt x="235" y="902"/>
                  <a:pt x="235" y="902"/>
                </a:cubicBezTo>
                <a:cubicBezTo>
                  <a:pt x="230" y="887"/>
                  <a:pt x="230" y="887"/>
                  <a:pt x="230" y="887"/>
                </a:cubicBezTo>
                <a:cubicBezTo>
                  <a:pt x="227" y="873"/>
                  <a:pt x="227" y="873"/>
                  <a:pt x="227" y="873"/>
                </a:cubicBezTo>
                <a:cubicBezTo>
                  <a:pt x="226" y="861"/>
                  <a:pt x="226" y="861"/>
                  <a:pt x="226" y="861"/>
                </a:cubicBezTo>
                <a:cubicBezTo>
                  <a:pt x="229" y="795"/>
                  <a:pt x="229" y="795"/>
                  <a:pt x="229" y="795"/>
                </a:cubicBezTo>
                <a:cubicBezTo>
                  <a:pt x="231" y="748"/>
                  <a:pt x="231" y="748"/>
                  <a:pt x="231" y="748"/>
                </a:cubicBezTo>
                <a:cubicBezTo>
                  <a:pt x="231" y="726"/>
                  <a:pt x="231" y="726"/>
                  <a:pt x="231" y="726"/>
                </a:cubicBezTo>
                <a:cubicBezTo>
                  <a:pt x="231" y="709"/>
                  <a:pt x="231" y="709"/>
                  <a:pt x="231" y="709"/>
                </a:cubicBezTo>
                <a:cubicBezTo>
                  <a:pt x="229" y="681"/>
                  <a:pt x="229" y="681"/>
                  <a:pt x="229" y="681"/>
                </a:cubicBezTo>
                <a:cubicBezTo>
                  <a:pt x="227" y="657"/>
                  <a:pt x="227" y="657"/>
                  <a:pt x="227" y="657"/>
                </a:cubicBezTo>
                <a:cubicBezTo>
                  <a:pt x="227" y="641"/>
                  <a:pt x="227" y="641"/>
                  <a:pt x="227" y="641"/>
                </a:cubicBezTo>
                <a:cubicBezTo>
                  <a:pt x="227" y="636"/>
                  <a:pt x="227" y="636"/>
                  <a:pt x="227" y="636"/>
                </a:cubicBezTo>
                <a:cubicBezTo>
                  <a:pt x="228" y="634"/>
                  <a:pt x="228" y="634"/>
                  <a:pt x="228" y="634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1" y="633"/>
                  <a:pt x="241" y="633"/>
                  <a:pt x="241" y="633"/>
                </a:cubicBezTo>
                <a:cubicBezTo>
                  <a:pt x="244" y="632"/>
                  <a:pt x="244" y="632"/>
                  <a:pt x="244" y="632"/>
                </a:cubicBezTo>
                <a:cubicBezTo>
                  <a:pt x="245" y="630"/>
                  <a:pt x="245" y="630"/>
                  <a:pt x="245" y="630"/>
                </a:cubicBezTo>
                <a:cubicBezTo>
                  <a:pt x="246" y="627"/>
                  <a:pt x="246" y="627"/>
                  <a:pt x="246" y="627"/>
                </a:cubicBezTo>
                <a:cubicBezTo>
                  <a:pt x="248" y="530"/>
                  <a:pt x="248" y="530"/>
                  <a:pt x="248" y="530"/>
                </a:cubicBezTo>
                <a:cubicBezTo>
                  <a:pt x="249" y="461"/>
                  <a:pt x="249" y="461"/>
                  <a:pt x="249" y="461"/>
                </a:cubicBezTo>
                <a:cubicBezTo>
                  <a:pt x="249" y="434"/>
                  <a:pt x="249" y="434"/>
                  <a:pt x="249" y="434"/>
                </a:cubicBezTo>
                <a:cubicBezTo>
                  <a:pt x="248" y="418"/>
                  <a:pt x="248" y="418"/>
                  <a:pt x="248" y="418"/>
                </a:cubicBezTo>
                <a:cubicBezTo>
                  <a:pt x="252" y="428"/>
                  <a:pt x="252" y="428"/>
                  <a:pt x="252" y="428"/>
                </a:cubicBezTo>
                <a:cubicBezTo>
                  <a:pt x="258" y="441"/>
                  <a:pt x="258" y="441"/>
                  <a:pt x="258" y="441"/>
                </a:cubicBezTo>
                <a:cubicBezTo>
                  <a:pt x="266" y="458"/>
                  <a:pt x="266" y="458"/>
                  <a:pt x="266" y="458"/>
                </a:cubicBezTo>
                <a:cubicBezTo>
                  <a:pt x="271" y="467"/>
                  <a:pt x="271" y="467"/>
                  <a:pt x="271" y="467"/>
                </a:cubicBezTo>
                <a:cubicBezTo>
                  <a:pt x="275" y="474"/>
                  <a:pt x="275" y="474"/>
                  <a:pt x="275" y="474"/>
                </a:cubicBezTo>
                <a:cubicBezTo>
                  <a:pt x="279" y="477"/>
                  <a:pt x="279" y="477"/>
                  <a:pt x="279" y="477"/>
                </a:cubicBezTo>
                <a:cubicBezTo>
                  <a:pt x="281" y="479"/>
                  <a:pt x="281" y="479"/>
                  <a:pt x="281" y="479"/>
                </a:cubicBezTo>
                <a:cubicBezTo>
                  <a:pt x="282" y="480"/>
                  <a:pt x="282" y="480"/>
                  <a:pt x="282" y="480"/>
                </a:cubicBezTo>
                <a:cubicBezTo>
                  <a:pt x="281" y="481"/>
                  <a:pt x="281" y="481"/>
                  <a:pt x="281" y="481"/>
                </a:cubicBezTo>
                <a:cubicBezTo>
                  <a:pt x="279" y="483"/>
                  <a:pt x="279" y="483"/>
                  <a:pt x="279" y="483"/>
                </a:cubicBezTo>
                <a:cubicBezTo>
                  <a:pt x="276" y="486"/>
                  <a:pt x="276" y="486"/>
                  <a:pt x="276" y="486"/>
                </a:cubicBezTo>
                <a:cubicBezTo>
                  <a:pt x="276" y="488"/>
                  <a:pt x="276" y="488"/>
                  <a:pt x="276" y="488"/>
                </a:cubicBezTo>
                <a:cubicBezTo>
                  <a:pt x="280" y="488"/>
                  <a:pt x="280" y="488"/>
                  <a:pt x="280" y="488"/>
                </a:cubicBezTo>
                <a:cubicBezTo>
                  <a:pt x="283" y="488"/>
                  <a:pt x="283" y="488"/>
                  <a:pt x="283" y="488"/>
                </a:cubicBezTo>
                <a:cubicBezTo>
                  <a:pt x="285" y="490"/>
                  <a:pt x="285" y="490"/>
                  <a:pt x="285" y="490"/>
                </a:cubicBezTo>
                <a:cubicBezTo>
                  <a:pt x="286" y="492"/>
                  <a:pt x="286" y="492"/>
                  <a:pt x="286" y="492"/>
                </a:cubicBezTo>
                <a:cubicBezTo>
                  <a:pt x="284" y="495"/>
                  <a:pt x="284" y="495"/>
                  <a:pt x="284" y="495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3" y="498"/>
                  <a:pt x="283" y="498"/>
                  <a:pt x="283" y="498"/>
                </a:cubicBezTo>
                <a:cubicBezTo>
                  <a:pt x="285" y="499"/>
                  <a:pt x="285" y="499"/>
                  <a:pt x="285" y="499"/>
                </a:cubicBezTo>
                <a:cubicBezTo>
                  <a:pt x="288" y="499"/>
                  <a:pt x="288" y="499"/>
                  <a:pt x="288" y="499"/>
                </a:cubicBezTo>
                <a:cubicBezTo>
                  <a:pt x="295" y="495"/>
                  <a:pt x="295" y="495"/>
                  <a:pt x="295" y="495"/>
                </a:cubicBezTo>
                <a:cubicBezTo>
                  <a:pt x="298" y="494"/>
                  <a:pt x="298" y="494"/>
                  <a:pt x="298" y="494"/>
                </a:cubicBezTo>
                <a:cubicBezTo>
                  <a:pt x="299" y="495"/>
                  <a:pt x="299" y="495"/>
                  <a:pt x="299" y="495"/>
                </a:cubicBezTo>
                <a:cubicBezTo>
                  <a:pt x="299" y="496"/>
                  <a:pt x="299" y="496"/>
                  <a:pt x="299" y="496"/>
                </a:cubicBezTo>
                <a:cubicBezTo>
                  <a:pt x="299" y="499"/>
                  <a:pt x="299" y="499"/>
                  <a:pt x="299" y="499"/>
                </a:cubicBezTo>
                <a:cubicBezTo>
                  <a:pt x="301" y="501"/>
                  <a:pt x="301" y="501"/>
                  <a:pt x="301" y="501"/>
                </a:cubicBezTo>
                <a:cubicBezTo>
                  <a:pt x="303" y="501"/>
                  <a:pt x="303" y="501"/>
                  <a:pt x="303" y="501"/>
                </a:cubicBezTo>
                <a:cubicBezTo>
                  <a:pt x="305" y="497"/>
                  <a:pt x="305" y="497"/>
                  <a:pt x="305" y="497"/>
                </a:cubicBezTo>
                <a:cubicBezTo>
                  <a:pt x="306" y="492"/>
                  <a:pt x="306" y="492"/>
                  <a:pt x="306" y="492"/>
                </a:cubicBezTo>
                <a:cubicBezTo>
                  <a:pt x="306" y="487"/>
                  <a:pt x="306" y="487"/>
                  <a:pt x="306" y="487"/>
                </a:cubicBezTo>
                <a:lnTo>
                  <a:pt x="304" y="482"/>
                </a:lnTo>
                <a:close/>
                <a:moveTo>
                  <a:pt x="68" y="502"/>
                </a:moveTo>
                <a:cubicBezTo>
                  <a:pt x="66" y="503"/>
                  <a:pt x="66" y="503"/>
                  <a:pt x="66" y="503"/>
                </a:cubicBezTo>
                <a:cubicBezTo>
                  <a:pt x="64" y="502"/>
                  <a:pt x="64" y="502"/>
                  <a:pt x="64" y="502"/>
                </a:cubicBezTo>
                <a:cubicBezTo>
                  <a:pt x="63" y="500"/>
                  <a:pt x="63" y="500"/>
                  <a:pt x="63" y="500"/>
                </a:cubicBezTo>
                <a:cubicBezTo>
                  <a:pt x="63" y="491"/>
                  <a:pt x="63" y="491"/>
                  <a:pt x="63" y="491"/>
                </a:cubicBezTo>
                <a:cubicBezTo>
                  <a:pt x="71" y="501"/>
                  <a:pt x="71" y="501"/>
                  <a:pt x="71" y="501"/>
                </a:cubicBezTo>
                <a:lnTo>
                  <a:pt x="68" y="502"/>
                </a:lnTo>
                <a:close/>
                <a:moveTo>
                  <a:pt x="76" y="497"/>
                </a:moveTo>
                <a:cubicBezTo>
                  <a:pt x="75" y="500"/>
                  <a:pt x="75" y="500"/>
                  <a:pt x="75" y="500"/>
                </a:cubicBezTo>
                <a:cubicBezTo>
                  <a:pt x="73" y="500"/>
                  <a:pt x="73" y="500"/>
                  <a:pt x="73" y="500"/>
                </a:cubicBezTo>
                <a:cubicBezTo>
                  <a:pt x="74" y="495"/>
                  <a:pt x="74" y="495"/>
                  <a:pt x="74" y="495"/>
                </a:cubicBezTo>
                <a:cubicBezTo>
                  <a:pt x="75" y="490"/>
                  <a:pt x="75" y="490"/>
                  <a:pt x="75" y="490"/>
                </a:cubicBezTo>
                <a:cubicBezTo>
                  <a:pt x="76" y="494"/>
                  <a:pt x="76" y="494"/>
                  <a:pt x="76" y="494"/>
                </a:cubicBezTo>
                <a:lnTo>
                  <a:pt x="76" y="497"/>
                </a:lnTo>
                <a:close/>
                <a:moveTo>
                  <a:pt x="87" y="471"/>
                </a:moveTo>
                <a:cubicBezTo>
                  <a:pt x="86" y="486"/>
                  <a:pt x="86" y="486"/>
                  <a:pt x="86" y="486"/>
                </a:cubicBezTo>
                <a:cubicBezTo>
                  <a:pt x="84" y="482"/>
                  <a:pt x="84" y="482"/>
                  <a:pt x="84" y="482"/>
                </a:cubicBezTo>
                <a:cubicBezTo>
                  <a:pt x="81" y="479"/>
                  <a:pt x="81" y="479"/>
                  <a:pt x="81" y="479"/>
                </a:cubicBezTo>
                <a:cubicBezTo>
                  <a:pt x="79" y="478"/>
                  <a:pt x="79" y="478"/>
                  <a:pt x="79" y="478"/>
                </a:cubicBezTo>
                <a:cubicBezTo>
                  <a:pt x="76" y="472"/>
                  <a:pt x="76" y="472"/>
                  <a:pt x="76" y="472"/>
                </a:cubicBezTo>
                <a:cubicBezTo>
                  <a:pt x="75" y="470"/>
                  <a:pt x="75" y="470"/>
                  <a:pt x="75" y="470"/>
                </a:cubicBezTo>
                <a:cubicBezTo>
                  <a:pt x="75" y="468"/>
                  <a:pt x="75" y="468"/>
                  <a:pt x="75" y="468"/>
                </a:cubicBezTo>
                <a:cubicBezTo>
                  <a:pt x="76" y="463"/>
                  <a:pt x="76" y="463"/>
                  <a:pt x="76" y="463"/>
                </a:cubicBezTo>
                <a:cubicBezTo>
                  <a:pt x="79" y="458"/>
                  <a:pt x="79" y="458"/>
                  <a:pt x="79" y="458"/>
                </a:cubicBezTo>
                <a:cubicBezTo>
                  <a:pt x="79" y="455"/>
                  <a:pt x="79" y="455"/>
                  <a:pt x="79" y="455"/>
                </a:cubicBezTo>
                <a:cubicBezTo>
                  <a:pt x="80" y="451"/>
                  <a:pt x="80" y="451"/>
                  <a:pt x="80" y="451"/>
                </a:cubicBezTo>
                <a:cubicBezTo>
                  <a:pt x="81" y="406"/>
                  <a:pt x="81" y="406"/>
                  <a:pt x="81" y="406"/>
                </a:cubicBezTo>
                <a:cubicBezTo>
                  <a:pt x="82" y="384"/>
                  <a:pt x="82" y="384"/>
                  <a:pt x="82" y="384"/>
                </a:cubicBezTo>
                <a:cubicBezTo>
                  <a:pt x="83" y="379"/>
                  <a:pt x="83" y="379"/>
                  <a:pt x="83" y="379"/>
                </a:cubicBezTo>
                <a:cubicBezTo>
                  <a:pt x="83" y="380"/>
                  <a:pt x="83" y="380"/>
                  <a:pt x="83" y="380"/>
                </a:cubicBezTo>
                <a:cubicBezTo>
                  <a:pt x="86" y="412"/>
                  <a:pt x="86" y="412"/>
                  <a:pt x="86" y="412"/>
                </a:cubicBezTo>
                <a:cubicBezTo>
                  <a:pt x="87" y="442"/>
                  <a:pt x="87" y="442"/>
                  <a:pt x="87" y="442"/>
                </a:cubicBezTo>
                <a:cubicBezTo>
                  <a:pt x="88" y="458"/>
                  <a:pt x="88" y="458"/>
                  <a:pt x="88" y="458"/>
                </a:cubicBezTo>
                <a:lnTo>
                  <a:pt x="87" y="471"/>
                </a:lnTo>
                <a:close/>
                <a:moveTo>
                  <a:pt x="100" y="138"/>
                </a:moveTo>
                <a:cubicBezTo>
                  <a:pt x="99" y="132"/>
                  <a:pt x="99" y="132"/>
                  <a:pt x="99" y="132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43"/>
                  <a:pt x="101" y="143"/>
                  <a:pt x="101" y="143"/>
                </a:cubicBezTo>
                <a:lnTo>
                  <a:pt x="100" y="138"/>
                </a:lnTo>
                <a:close/>
                <a:moveTo>
                  <a:pt x="218" y="174"/>
                </a:moveTo>
                <a:cubicBezTo>
                  <a:pt x="217" y="184"/>
                  <a:pt x="217" y="184"/>
                  <a:pt x="217" y="184"/>
                </a:cubicBezTo>
                <a:cubicBezTo>
                  <a:pt x="216" y="192"/>
                  <a:pt x="216" y="192"/>
                  <a:pt x="216" y="192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99" y="192"/>
                  <a:pt x="199" y="192"/>
                  <a:pt x="199" y="192"/>
                </a:cubicBezTo>
                <a:cubicBezTo>
                  <a:pt x="197" y="205"/>
                  <a:pt x="197" y="205"/>
                  <a:pt x="197" y="205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190" y="233"/>
                  <a:pt x="190" y="233"/>
                  <a:pt x="190" y="233"/>
                </a:cubicBezTo>
                <a:cubicBezTo>
                  <a:pt x="187" y="251"/>
                  <a:pt x="187" y="251"/>
                  <a:pt x="187" y="251"/>
                </a:cubicBezTo>
                <a:cubicBezTo>
                  <a:pt x="183" y="287"/>
                  <a:pt x="183" y="287"/>
                  <a:pt x="183" y="287"/>
                </a:cubicBezTo>
                <a:cubicBezTo>
                  <a:pt x="182" y="305"/>
                  <a:pt x="182" y="305"/>
                  <a:pt x="182" y="305"/>
                </a:cubicBezTo>
                <a:cubicBezTo>
                  <a:pt x="183" y="322"/>
                  <a:pt x="183" y="322"/>
                  <a:pt x="183" y="322"/>
                </a:cubicBezTo>
                <a:cubicBezTo>
                  <a:pt x="186" y="356"/>
                  <a:pt x="186" y="356"/>
                  <a:pt x="186" y="356"/>
                </a:cubicBezTo>
                <a:cubicBezTo>
                  <a:pt x="187" y="369"/>
                  <a:pt x="187" y="369"/>
                  <a:pt x="187" y="369"/>
                </a:cubicBezTo>
                <a:cubicBezTo>
                  <a:pt x="188" y="375"/>
                  <a:pt x="188" y="375"/>
                  <a:pt x="188" y="375"/>
                </a:cubicBezTo>
                <a:cubicBezTo>
                  <a:pt x="189" y="382"/>
                  <a:pt x="189" y="382"/>
                  <a:pt x="189" y="382"/>
                </a:cubicBezTo>
                <a:cubicBezTo>
                  <a:pt x="192" y="389"/>
                  <a:pt x="192" y="389"/>
                  <a:pt x="192" y="389"/>
                </a:cubicBezTo>
                <a:cubicBezTo>
                  <a:pt x="193" y="392"/>
                  <a:pt x="193" y="392"/>
                  <a:pt x="193" y="392"/>
                </a:cubicBezTo>
                <a:cubicBezTo>
                  <a:pt x="194" y="396"/>
                  <a:pt x="194" y="396"/>
                  <a:pt x="194" y="396"/>
                </a:cubicBezTo>
                <a:cubicBezTo>
                  <a:pt x="190" y="396"/>
                  <a:pt x="190" y="396"/>
                  <a:pt x="190" y="396"/>
                </a:cubicBezTo>
                <a:cubicBezTo>
                  <a:pt x="186" y="395"/>
                  <a:pt x="186" y="395"/>
                  <a:pt x="186" y="395"/>
                </a:cubicBezTo>
                <a:cubicBezTo>
                  <a:pt x="179" y="393"/>
                  <a:pt x="179" y="393"/>
                  <a:pt x="179" y="393"/>
                </a:cubicBezTo>
                <a:cubicBezTo>
                  <a:pt x="172" y="391"/>
                  <a:pt x="172" y="391"/>
                  <a:pt x="172" y="391"/>
                </a:cubicBezTo>
                <a:cubicBezTo>
                  <a:pt x="165" y="389"/>
                  <a:pt x="165" y="389"/>
                  <a:pt x="165" y="389"/>
                </a:cubicBezTo>
                <a:cubicBezTo>
                  <a:pt x="159" y="389"/>
                  <a:pt x="159" y="389"/>
                  <a:pt x="159" y="389"/>
                </a:cubicBezTo>
                <a:cubicBezTo>
                  <a:pt x="153" y="390"/>
                  <a:pt x="153" y="390"/>
                  <a:pt x="153" y="390"/>
                </a:cubicBezTo>
                <a:cubicBezTo>
                  <a:pt x="140" y="393"/>
                  <a:pt x="140" y="393"/>
                  <a:pt x="140" y="393"/>
                </a:cubicBezTo>
                <a:cubicBezTo>
                  <a:pt x="141" y="389"/>
                  <a:pt x="141" y="389"/>
                  <a:pt x="141" y="389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6" y="374"/>
                  <a:pt x="146" y="374"/>
                  <a:pt x="146" y="374"/>
                </a:cubicBezTo>
                <a:cubicBezTo>
                  <a:pt x="150" y="358"/>
                  <a:pt x="150" y="358"/>
                  <a:pt x="150" y="358"/>
                </a:cubicBezTo>
                <a:cubicBezTo>
                  <a:pt x="152" y="342"/>
                  <a:pt x="152" y="342"/>
                  <a:pt x="152" y="342"/>
                </a:cubicBezTo>
                <a:cubicBezTo>
                  <a:pt x="153" y="324"/>
                  <a:pt x="153" y="324"/>
                  <a:pt x="153" y="324"/>
                </a:cubicBezTo>
                <a:cubicBezTo>
                  <a:pt x="153" y="305"/>
                  <a:pt x="153" y="305"/>
                  <a:pt x="153" y="305"/>
                </a:cubicBezTo>
                <a:cubicBezTo>
                  <a:pt x="152" y="268"/>
                  <a:pt x="152" y="268"/>
                  <a:pt x="152" y="268"/>
                </a:cubicBezTo>
                <a:cubicBezTo>
                  <a:pt x="152" y="250"/>
                  <a:pt x="152" y="250"/>
                  <a:pt x="152" y="250"/>
                </a:cubicBezTo>
                <a:cubicBezTo>
                  <a:pt x="151" y="232"/>
                  <a:pt x="151" y="232"/>
                  <a:pt x="151" y="232"/>
                </a:cubicBezTo>
                <a:cubicBezTo>
                  <a:pt x="149" y="216"/>
                  <a:pt x="149" y="216"/>
                  <a:pt x="149" y="216"/>
                </a:cubicBezTo>
                <a:cubicBezTo>
                  <a:pt x="147" y="207"/>
                  <a:pt x="147" y="207"/>
                  <a:pt x="147" y="207"/>
                </a:cubicBezTo>
                <a:cubicBezTo>
                  <a:pt x="144" y="198"/>
                  <a:pt x="144" y="198"/>
                  <a:pt x="144" y="198"/>
                </a:cubicBezTo>
                <a:cubicBezTo>
                  <a:pt x="140" y="190"/>
                  <a:pt x="140" y="190"/>
                  <a:pt x="140" y="190"/>
                </a:cubicBezTo>
                <a:cubicBezTo>
                  <a:pt x="138" y="186"/>
                  <a:pt x="138" y="186"/>
                  <a:pt x="138" y="186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31" y="185"/>
                  <a:pt x="131" y="185"/>
                  <a:pt x="131" y="185"/>
                </a:cubicBezTo>
                <a:cubicBezTo>
                  <a:pt x="128" y="189"/>
                  <a:pt x="128" y="189"/>
                  <a:pt x="128" y="189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74"/>
                  <a:pt x="126" y="174"/>
                  <a:pt x="126" y="174"/>
                </a:cubicBezTo>
                <a:cubicBezTo>
                  <a:pt x="125" y="167"/>
                  <a:pt x="125" y="167"/>
                  <a:pt x="125" y="167"/>
                </a:cubicBezTo>
                <a:cubicBezTo>
                  <a:pt x="124" y="163"/>
                  <a:pt x="124" y="163"/>
                  <a:pt x="124" y="163"/>
                </a:cubicBezTo>
                <a:cubicBezTo>
                  <a:pt x="122" y="159"/>
                  <a:pt x="122" y="159"/>
                  <a:pt x="122" y="159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18" y="155"/>
                  <a:pt x="118" y="155"/>
                  <a:pt x="118" y="155"/>
                </a:cubicBezTo>
                <a:cubicBezTo>
                  <a:pt x="114" y="154"/>
                  <a:pt x="114" y="154"/>
                  <a:pt x="114" y="15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03" y="151"/>
                  <a:pt x="103" y="151"/>
                  <a:pt x="103" y="151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31" y="151"/>
                  <a:pt x="131" y="151"/>
                  <a:pt x="131" y="151"/>
                </a:cubicBezTo>
                <a:cubicBezTo>
                  <a:pt x="134" y="153"/>
                  <a:pt x="134" y="153"/>
                  <a:pt x="134" y="153"/>
                </a:cubicBezTo>
                <a:cubicBezTo>
                  <a:pt x="137" y="156"/>
                  <a:pt x="137" y="156"/>
                  <a:pt x="137" y="156"/>
                </a:cubicBezTo>
                <a:cubicBezTo>
                  <a:pt x="141" y="160"/>
                  <a:pt x="141" y="160"/>
                  <a:pt x="141" y="160"/>
                </a:cubicBezTo>
                <a:cubicBezTo>
                  <a:pt x="144" y="163"/>
                  <a:pt x="144" y="163"/>
                  <a:pt x="144" y="163"/>
                </a:cubicBezTo>
                <a:cubicBezTo>
                  <a:pt x="148" y="168"/>
                  <a:pt x="148" y="168"/>
                  <a:pt x="148" y="168"/>
                </a:cubicBezTo>
                <a:cubicBezTo>
                  <a:pt x="157" y="180"/>
                  <a:pt x="157" y="180"/>
                  <a:pt x="157" y="180"/>
                </a:cubicBezTo>
                <a:cubicBezTo>
                  <a:pt x="167" y="195"/>
                  <a:pt x="167" y="195"/>
                  <a:pt x="167" y="195"/>
                </a:cubicBezTo>
                <a:cubicBezTo>
                  <a:pt x="168" y="194"/>
                  <a:pt x="168" y="194"/>
                  <a:pt x="168" y="194"/>
                </a:cubicBezTo>
                <a:cubicBezTo>
                  <a:pt x="171" y="190"/>
                  <a:pt x="171" y="190"/>
                  <a:pt x="171" y="190"/>
                </a:cubicBezTo>
                <a:cubicBezTo>
                  <a:pt x="176" y="180"/>
                  <a:pt x="176" y="180"/>
                  <a:pt x="176" y="180"/>
                </a:cubicBezTo>
                <a:cubicBezTo>
                  <a:pt x="181" y="168"/>
                  <a:pt x="181" y="168"/>
                  <a:pt x="181" y="168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7" y="161"/>
                  <a:pt x="187" y="161"/>
                  <a:pt x="187" y="161"/>
                </a:cubicBezTo>
                <a:cubicBezTo>
                  <a:pt x="190" y="158"/>
                  <a:pt x="190" y="158"/>
                  <a:pt x="190" y="158"/>
                </a:cubicBezTo>
                <a:cubicBezTo>
                  <a:pt x="194" y="157"/>
                  <a:pt x="194" y="157"/>
                  <a:pt x="194" y="157"/>
                </a:cubicBezTo>
                <a:cubicBezTo>
                  <a:pt x="197" y="156"/>
                  <a:pt x="197" y="156"/>
                  <a:pt x="197" y="156"/>
                </a:cubicBezTo>
                <a:cubicBezTo>
                  <a:pt x="201" y="156"/>
                  <a:pt x="201" y="156"/>
                  <a:pt x="201" y="156"/>
                </a:cubicBezTo>
                <a:cubicBezTo>
                  <a:pt x="209" y="156"/>
                  <a:pt x="209" y="156"/>
                  <a:pt x="209" y="156"/>
                </a:cubicBezTo>
                <a:cubicBezTo>
                  <a:pt x="218" y="157"/>
                  <a:pt x="218" y="157"/>
                  <a:pt x="218" y="157"/>
                </a:cubicBezTo>
                <a:lnTo>
                  <a:pt x="218" y="174"/>
                </a:lnTo>
                <a:close/>
                <a:moveTo>
                  <a:pt x="218" y="87"/>
                </a:moveTo>
                <a:cubicBezTo>
                  <a:pt x="215" y="77"/>
                  <a:pt x="215" y="77"/>
                  <a:pt x="215" y="77"/>
                </a:cubicBezTo>
                <a:cubicBezTo>
                  <a:pt x="218" y="82"/>
                  <a:pt x="218" y="82"/>
                  <a:pt x="218" y="82"/>
                </a:cubicBezTo>
                <a:cubicBezTo>
                  <a:pt x="221" y="87"/>
                  <a:pt x="221" y="87"/>
                  <a:pt x="221" y="87"/>
                </a:cubicBezTo>
                <a:cubicBezTo>
                  <a:pt x="224" y="97"/>
                  <a:pt x="224" y="97"/>
                  <a:pt x="224" y="97"/>
                </a:cubicBezTo>
                <a:lnTo>
                  <a:pt x="218" y="87"/>
                </a:lnTo>
                <a:close/>
                <a:moveTo>
                  <a:pt x="222" y="98"/>
                </a:moveTo>
                <a:cubicBezTo>
                  <a:pt x="225" y="104"/>
                  <a:pt x="225" y="104"/>
                  <a:pt x="225" y="104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8" y="115"/>
                  <a:pt x="228" y="115"/>
                  <a:pt x="228" y="115"/>
                </a:cubicBezTo>
                <a:cubicBezTo>
                  <a:pt x="228" y="120"/>
                  <a:pt x="228" y="120"/>
                  <a:pt x="228" y="120"/>
                </a:cubicBezTo>
                <a:cubicBezTo>
                  <a:pt x="227" y="128"/>
                  <a:pt x="227" y="128"/>
                  <a:pt x="227" y="128"/>
                </a:cubicBezTo>
                <a:cubicBezTo>
                  <a:pt x="225" y="134"/>
                  <a:pt x="225" y="134"/>
                  <a:pt x="225" y="134"/>
                </a:cubicBezTo>
                <a:cubicBezTo>
                  <a:pt x="226" y="127"/>
                  <a:pt x="226" y="127"/>
                  <a:pt x="226" y="127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5" y="109"/>
                  <a:pt x="225" y="109"/>
                  <a:pt x="225" y="109"/>
                </a:cubicBezTo>
                <a:cubicBezTo>
                  <a:pt x="222" y="99"/>
                  <a:pt x="222" y="99"/>
                  <a:pt x="222" y="99"/>
                </a:cubicBezTo>
                <a:lnTo>
                  <a:pt x="222" y="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220" name="Gruppieren 55"/>
          <p:cNvGrpSpPr>
            <a:grpSpLocks noChangeAspect="1"/>
          </p:cNvGrpSpPr>
          <p:nvPr>
            <p:custDataLst>
              <p:tags r:id="rId35"/>
            </p:custDataLst>
          </p:nvPr>
        </p:nvGrpSpPr>
        <p:grpSpPr bwMode="gray">
          <a:xfrm>
            <a:off x="5681321" y="2150698"/>
            <a:ext cx="229247" cy="549605"/>
            <a:chOff x="11957050" y="3071813"/>
            <a:chExt cx="311150" cy="749300"/>
          </a:xfrm>
        </p:grpSpPr>
        <p:sp>
          <p:nvSpPr>
            <p:cNvPr id="221" name="Freeform 33"/>
            <p:cNvSpPr>
              <a:spLocks noChangeAspect="1" noEditPoints="1"/>
            </p:cNvSpPr>
            <p:nvPr/>
          </p:nvSpPr>
          <p:spPr bwMode="gray">
            <a:xfrm>
              <a:off x="11957050" y="3071813"/>
              <a:ext cx="311150" cy="749300"/>
            </a:xfrm>
            <a:custGeom>
              <a:avLst/>
              <a:gdLst>
                <a:gd name="T0" fmla="*/ 72 w 83"/>
                <a:gd name="T1" fmla="*/ 141 h 200"/>
                <a:gd name="T2" fmla="*/ 72 w 83"/>
                <a:gd name="T3" fmla="*/ 189 h 200"/>
                <a:gd name="T4" fmla="*/ 69 w 83"/>
                <a:gd name="T5" fmla="*/ 191 h 200"/>
                <a:gd name="T6" fmla="*/ 71 w 83"/>
                <a:gd name="T7" fmla="*/ 198 h 200"/>
                <a:gd name="T8" fmla="*/ 63 w 83"/>
                <a:gd name="T9" fmla="*/ 195 h 200"/>
                <a:gd name="T10" fmla="*/ 60 w 83"/>
                <a:gd name="T11" fmla="*/ 190 h 200"/>
                <a:gd name="T12" fmla="*/ 59 w 83"/>
                <a:gd name="T13" fmla="*/ 186 h 200"/>
                <a:gd name="T14" fmla="*/ 56 w 83"/>
                <a:gd name="T15" fmla="*/ 122 h 200"/>
                <a:gd name="T16" fmla="*/ 52 w 83"/>
                <a:gd name="T17" fmla="*/ 108 h 200"/>
                <a:gd name="T18" fmla="*/ 47 w 83"/>
                <a:gd name="T19" fmla="*/ 114 h 200"/>
                <a:gd name="T20" fmla="*/ 38 w 83"/>
                <a:gd name="T21" fmla="*/ 132 h 200"/>
                <a:gd name="T22" fmla="*/ 23 w 83"/>
                <a:gd name="T23" fmla="*/ 190 h 200"/>
                <a:gd name="T24" fmla="*/ 19 w 83"/>
                <a:gd name="T25" fmla="*/ 190 h 200"/>
                <a:gd name="T26" fmla="*/ 8 w 83"/>
                <a:gd name="T27" fmla="*/ 197 h 200"/>
                <a:gd name="T28" fmla="*/ 3 w 83"/>
                <a:gd name="T29" fmla="*/ 194 h 200"/>
                <a:gd name="T30" fmla="*/ 9 w 83"/>
                <a:gd name="T31" fmla="*/ 188 h 200"/>
                <a:gd name="T32" fmla="*/ 10 w 83"/>
                <a:gd name="T33" fmla="*/ 181 h 200"/>
                <a:gd name="T34" fmla="*/ 24 w 83"/>
                <a:gd name="T35" fmla="*/ 135 h 200"/>
                <a:gd name="T36" fmla="*/ 27 w 83"/>
                <a:gd name="T37" fmla="*/ 112 h 200"/>
                <a:gd name="T38" fmla="*/ 25 w 83"/>
                <a:gd name="T39" fmla="*/ 105 h 200"/>
                <a:gd name="T40" fmla="*/ 25 w 83"/>
                <a:gd name="T41" fmla="*/ 98 h 200"/>
                <a:gd name="T42" fmla="*/ 23 w 83"/>
                <a:gd name="T43" fmla="*/ 75 h 200"/>
                <a:gd name="T44" fmla="*/ 23 w 83"/>
                <a:gd name="T45" fmla="*/ 61 h 200"/>
                <a:gd name="T46" fmla="*/ 18 w 83"/>
                <a:gd name="T47" fmla="*/ 52 h 200"/>
                <a:gd name="T48" fmla="*/ 23 w 83"/>
                <a:gd name="T49" fmla="*/ 43 h 200"/>
                <a:gd name="T50" fmla="*/ 27 w 83"/>
                <a:gd name="T51" fmla="*/ 32 h 200"/>
                <a:gd name="T52" fmla="*/ 31 w 83"/>
                <a:gd name="T53" fmla="*/ 29 h 200"/>
                <a:gd name="T54" fmla="*/ 31 w 83"/>
                <a:gd name="T55" fmla="*/ 27 h 200"/>
                <a:gd name="T56" fmla="*/ 32 w 83"/>
                <a:gd name="T57" fmla="*/ 25 h 200"/>
                <a:gd name="T58" fmla="*/ 30 w 83"/>
                <a:gd name="T59" fmla="*/ 25 h 200"/>
                <a:gd name="T60" fmla="*/ 31 w 83"/>
                <a:gd name="T61" fmla="*/ 24 h 200"/>
                <a:gd name="T62" fmla="*/ 31 w 83"/>
                <a:gd name="T63" fmla="*/ 23 h 200"/>
                <a:gd name="T64" fmla="*/ 33 w 83"/>
                <a:gd name="T65" fmla="*/ 21 h 200"/>
                <a:gd name="T66" fmla="*/ 32 w 83"/>
                <a:gd name="T67" fmla="*/ 20 h 200"/>
                <a:gd name="T68" fmla="*/ 36 w 83"/>
                <a:gd name="T69" fmla="*/ 18 h 200"/>
                <a:gd name="T70" fmla="*/ 42 w 83"/>
                <a:gd name="T71" fmla="*/ 4 h 200"/>
                <a:gd name="T72" fmla="*/ 57 w 83"/>
                <a:gd name="T73" fmla="*/ 4 h 200"/>
                <a:gd name="T74" fmla="*/ 66 w 83"/>
                <a:gd name="T75" fmla="*/ 19 h 200"/>
                <a:gd name="T76" fmla="*/ 65 w 83"/>
                <a:gd name="T77" fmla="*/ 29 h 200"/>
                <a:gd name="T78" fmla="*/ 69 w 83"/>
                <a:gd name="T79" fmla="*/ 31 h 200"/>
                <a:gd name="T80" fmla="*/ 68 w 83"/>
                <a:gd name="T81" fmla="*/ 34 h 200"/>
                <a:gd name="T82" fmla="*/ 75 w 83"/>
                <a:gd name="T83" fmla="*/ 42 h 200"/>
                <a:gd name="T84" fmla="*/ 74 w 83"/>
                <a:gd name="T85" fmla="*/ 44 h 200"/>
                <a:gd name="T86" fmla="*/ 78 w 83"/>
                <a:gd name="T87" fmla="*/ 46 h 200"/>
                <a:gd name="T88" fmla="*/ 72 w 83"/>
                <a:gd name="T89" fmla="*/ 48 h 200"/>
                <a:gd name="T90" fmla="*/ 72 w 83"/>
                <a:gd name="T91" fmla="*/ 55 h 200"/>
                <a:gd name="T92" fmla="*/ 76 w 83"/>
                <a:gd name="T93" fmla="*/ 65 h 200"/>
                <a:gd name="T94" fmla="*/ 69 w 83"/>
                <a:gd name="T95" fmla="*/ 73 h 200"/>
                <a:gd name="T96" fmla="*/ 78 w 83"/>
                <a:gd name="T97" fmla="*/ 107 h 200"/>
                <a:gd name="T98" fmla="*/ 79 w 83"/>
                <a:gd name="T99" fmla="*/ 115 h 200"/>
                <a:gd name="T100" fmla="*/ 75 w 83"/>
                <a:gd name="T101" fmla="*/ 117 h 200"/>
                <a:gd name="T102" fmla="*/ 74 w 83"/>
                <a:gd name="T103" fmla="*/ 117 h 200"/>
                <a:gd name="T104" fmla="*/ 73 w 83"/>
                <a:gd name="T105" fmla="*/ 116 h 200"/>
                <a:gd name="T106" fmla="*/ 72 w 83"/>
                <a:gd name="T107" fmla="*/ 141 h 200"/>
                <a:gd name="T108" fmla="*/ 31 w 83"/>
                <a:gd name="T109" fmla="*/ 80 h 200"/>
                <a:gd name="T110" fmla="*/ 30 w 83"/>
                <a:gd name="T111" fmla="*/ 96 h 200"/>
                <a:gd name="T112" fmla="*/ 32 w 83"/>
                <a:gd name="T113" fmla="*/ 70 h 200"/>
                <a:gd name="T114" fmla="*/ 31 w 83"/>
                <a:gd name="T115" fmla="*/ 80 h 2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3"/>
                <a:gd name="T175" fmla="*/ 0 h 200"/>
                <a:gd name="T176" fmla="*/ 83 w 83"/>
                <a:gd name="T177" fmla="*/ 200 h 2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3" h="200">
                  <a:moveTo>
                    <a:pt x="72" y="141"/>
                  </a:moveTo>
                  <a:cubicBezTo>
                    <a:pt x="72" y="154"/>
                    <a:pt x="73" y="189"/>
                    <a:pt x="72" y="189"/>
                  </a:cubicBezTo>
                  <a:cubicBezTo>
                    <a:pt x="70" y="189"/>
                    <a:pt x="69" y="189"/>
                    <a:pt x="69" y="191"/>
                  </a:cubicBezTo>
                  <a:cubicBezTo>
                    <a:pt x="69" y="192"/>
                    <a:pt x="71" y="195"/>
                    <a:pt x="71" y="198"/>
                  </a:cubicBezTo>
                  <a:cubicBezTo>
                    <a:pt x="70" y="200"/>
                    <a:pt x="64" y="199"/>
                    <a:pt x="63" y="195"/>
                  </a:cubicBezTo>
                  <a:cubicBezTo>
                    <a:pt x="61" y="192"/>
                    <a:pt x="61" y="190"/>
                    <a:pt x="60" y="190"/>
                  </a:cubicBezTo>
                  <a:cubicBezTo>
                    <a:pt x="59" y="189"/>
                    <a:pt x="59" y="188"/>
                    <a:pt x="59" y="186"/>
                  </a:cubicBezTo>
                  <a:cubicBezTo>
                    <a:pt x="59" y="183"/>
                    <a:pt x="58" y="128"/>
                    <a:pt x="56" y="122"/>
                  </a:cubicBezTo>
                  <a:cubicBezTo>
                    <a:pt x="54" y="115"/>
                    <a:pt x="53" y="108"/>
                    <a:pt x="52" y="108"/>
                  </a:cubicBezTo>
                  <a:cubicBezTo>
                    <a:pt x="51" y="108"/>
                    <a:pt x="50" y="108"/>
                    <a:pt x="47" y="114"/>
                  </a:cubicBezTo>
                  <a:cubicBezTo>
                    <a:pt x="45" y="119"/>
                    <a:pt x="40" y="125"/>
                    <a:pt x="38" y="132"/>
                  </a:cubicBezTo>
                  <a:cubicBezTo>
                    <a:pt x="37" y="140"/>
                    <a:pt x="26" y="190"/>
                    <a:pt x="23" y="190"/>
                  </a:cubicBezTo>
                  <a:cubicBezTo>
                    <a:pt x="21" y="191"/>
                    <a:pt x="19" y="189"/>
                    <a:pt x="19" y="190"/>
                  </a:cubicBezTo>
                  <a:cubicBezTo>
                    <a:pt x="19" y="192"/>
                    <a:pt x="11" y="195"/>
                    <a:pt x="8" y="197"/>
                  </a:cubicBezTo>
                  <a:cubicBezTo>
                    <a:pt x="5" y="198"/>
                    <a:pt x="0" y="198"/>
                    <a:pt x="3" y="194"/>
                  </a:cubicBezTo>
                  <a:cubicBezTo>
                    <a:pt x="6" y="191"/>
                    <a:pt x="10" y="188"/>
                    <a:pt x="9" y="188"/>
                  </a:cubicBezTo>
                  <a:cubicBezTo>
                    <a:pt x="7" y="187"/>
                    <a:pt x="9" y="184"/>
                    <a:pt x="10" y="181"/>
                  </a:cubicBezTo>
                  <a:cubicBezTo>
                    <a:pt x="11" y="178"/>
                    <a:pt x="21" y="146"/>
                    <a:pt x="24" y="135"/>
                  </a:cubicBezTo>
                  <a:cubicBezTo>
                    <a:pt x="26" y="123"/>
                    <a:pt x="28" y="114"/>
                    <a:pt x="27" y="112"/>
                  </a:cubicBezTo>
                  <a:cubicBezTo>
                    <a:pt x="26" y="110"/>
                    <a:pt x="25" y="107"/>
                    <a:pt x="25" y="105"/>
                  </a:cubicBezTo>
                  <a:cubicBezTo>
                    <a:pt x="26" y="104"/>
                    <a:pt x="26" y="101"/>
                    <a:pt x="25" y="98"/>
                  </a:cubicBezTo>
                  <a:cubicBezTo>
                    <a:pt x="25" y="94"/>
                    <a:pt x="22" y="78"/>
                    <a:pt x="23" y="75"/>
                  </a:cubicBezTo>
                  <a:cubicBezTo>
                    <a:pt x="23" y="71"/>
                    <a:pt x="24" y="62"/>
                    <a:pt x="23" y="61"/>
                  </a:cubicBezTo>
                  <a:cubicBezTo>
                    <a:pt x="23" y="60"/>
                    <a:pt x="17" y="53"/>
                    <a:pt x="18" y="52"/>
                  </a:cubicBezTo>
                  <a:cubicBezTo>
                    <a:pt x="20" y="50"/>
                    <a:pt x="22" y="47"/>
                    <a:pt x="23" y="43"/>
                  </a:cubicBezTo>
                  <a:cubicBezTo>
                    <a:pt x="24" y="38"/>
                    <a:pt x="25" y="33"/>
                    <a:pt x="27" y="32"/>
                  </a:cubicBezTo>
                  <a:cubicBezTo>
                    <a:pt x="29" y="31"/>
                    <a:pt x="32" y="29"/>
                    <a:pt x="31" y="29"/>
                  </a:cubicBezTo>
                  <a:cubicBezTo>
                    <a:pt x="30" y="28"/>
                    <a:pt x="30" y="27"/>
                    <a:pt x="31" y="27"/>
                  </a:cubicBezTo>
                  <a:cubicBezTo>
                    <a:pt x="31" y="27"/>
                    <a:pt x="33" y="25"/>
                    <a:pt x="32" y="25"/>
                  </a:cubicBezTo>
                  <a:cubicBezTo>
                    <a:pt x="30" y="26"/>
                    <a:pt x="29" y="25"/>
                    <a:pt x="30" y="25"/>
                  </a:cubicBezTo>
                  <a:cubicBezTo>
                    <a:pt x="31" y="25"/>
                    <a:pt x="32" y="24"/>
                    <a:pt x="31" y="24"/>
                  </a:cubicBezTo>
                  <a:cubicBezTo>
                    <a:pt x="30" y="24"/>
                    <a:pt x="30" y="23"/>
                    <a:pt x="31" y="23"/>
                  </a:cubicBezTo>
                  <a:cubicBezTo>
                    <a:pt x="32" y="23"/>
                    <a:pt x="34" y="21"/>
                    <a:pt x="33" y="21"/>
                  </a:cubicBezTo>
                  <a:cubicBezTo>
                    <a:pt x="32" y="21"/>
                    <a:pt x="30" y="20"/>
                    <a:pt x="32" y="20"/>
                  </a:cubicBezTo>
                  <a:cubicBezTo>
                    <a:pt x="34" y="20"/>
                    <a:pt x="36" y="21"/>
                    <a:pt x="36" y="18"/>
                  </a:cubicBezTo>
                  <a:cubicBezTo>
                    <a:pt x="35" y="15"/>
                    <a:pt x="37" y="6"/>
                    <a:pt x="42" y="4"/>
                  </a:cubicBezTo>
                  <a:cubicBezTo>
                    <a:pt x="47" y="1"/>
                    <a:pt x="53" y="0"/>
                    <a:pt x="57" y="4"/>
                  </a:cubicBezTo>
                  <a:cubicBezTo>
                    <a:pt x="61" y="8"/>
                    <a:pt x="67" y="17"/>
                    <a:pt x="66" y="19"/>
                  </a:cubicBezTo>
                  <a:cubicBezTo>
                    <a:pt x="65" y="22"/>
                    <a:pt x="63" y="27"/>
                    <a:pt x="65" y="29"/>
                  </a:cubicBezTo>
                  <a:cubicBezTo>
                    <a:pt x="67" y="31"/>
                    <a:pt x="73" y="32"/>
                    <a:pt x="69" y="31"/>
                  </a:cubicBezTo>
                  <a:cubicBezTo>
                    <a:pt x="65" y="30"/>
                    <a:pt x="63" y="30"/>
                    <a:pt x="68" y="34"/>
                  </a:cubicBezTo>
                  <a:cubicBezTo>
                    <a:pt x="72" y="38"/>
                    <a:pt x="78" y="42"/>
                    <a:pt x="75" y="42"/>
                  </a:cubicBezTo>
                  <a:cubicBezTo>
                    <a:pt x="73" y="42"/>
                    <a:pt x="72" y="42"/>
                    <a:pt x="74" y="44"/>
                  </a:cubicBezTo>
                  <a:cubicBezTo>
                    <a:pt x="77" y="45"/>
                    <a:pt x="83" y="48"/>
                    <a:pt x="78" y="46"/>
                  </a:cubicBezTo>
                  <a:cubicBezTo>
                    <a:pt x="73" y="44"/>
                    <a:pt x="71" y="44"/>
                    <a:pt x="72" y="48"/>
                  </a:cubicBezTo>
                  <a:cubicBezTo>
                    <a:pt x="73" y="51"/>
                    <a:pt x="72" y="52"/>
                    <a:pt x="72" y="55"/>
                  </a:cubicBezTo>
                  <a:cubicBezTo>
                    <a:pt x="72" y="58"/>
                    <a:pt x="78" y="63"/>
                    <a:pt x="76" y="65"/>
                  </a:cubicBezTo>
                  <a:cubicBezTo>
                    <a:pt x="74" y="67"/>
                    <a:pt x="67" y="70"/>
                    <a:pt x="69" y="73"/>
                  </a:cubicBezTo>
                  <a:cubicBezTo>
                    <a:pt x="70" y="77"/>
                    <a:pt x="76" y="103"/>
                    <a:pt x="78" y="107"/>
                  </a:cubicBezTo>
                  <a:cubicBezTo>
                    <a:pt x="80" y="110"/>
                    <a:pt x="80" y="115"/>
                    <a:pt x="79" y="115"/>
                  </a:cubicBezTo>
                  <a:cubicBezTo>
                    <a:pt x="79" y="116"/>
                    <a:pt x="76" y="118"/>
                    <a:pt x="75" y="117"/>
                  </a:cubicBezTo>
                  <a:cubicBezTo>
                    <a:pt x="75" y="117"/>
                    <a:pt x="74" y="117"/>
                    <a:pt x="74" y="117"/>
                  </a:cubicBezTo>
                  <a:cubicBezTo>
                    <a:pt x="74" y="117"/>
                    <a:pt x="73" y="115"/>
                    <a:pt x="73" y="116"/>
                  </a:cubicBezTo>
                  <a:cubicBezTo>
                    <a:pt x="73" y="117"/>
                    <a:pt x="72" y="141"/>
                    <a:pt x="72" y="141"/>
                  </a:cubicBezTo>
                  <a:close/>
                  <a:moveTo>
                    <a:pt x="31" y="80"/>
                  </a:moveTo>
                  <a:cubicBezTo>
                    <a:pt x="30" y="83"/>
                    <a:pt x="29" y="100"/>
                    <a:pt x="30" y="96"/>
                  </a:cubicBezTo>
                  <a:cubicBezTo>
                    <a:pt x="32" y="92"/>
                    <a:pt x="33" y="68"/>
                    <a:pt x="32" y="70"/>
                  </a:cubicBezTo>
                  <a:cubicBezTo>
                    <a:pt x="31" y="73"/>
                    <a:pt x="31" y="80"/>
                    <a:pt x="31" y="8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2" name="Freeform 34"/>
            <p:cNvSpPr>
              <a:spLocks noChangeAspect="1"/>
            </p:cNvSpPr>
            <p:nvPr/>
          </p:nvSpPr>
          <p:spPr bwMode="gray">
            <a:xfrm>
              <a:off x="12130088" y="3240088"/>
              <a:ext cx="41275" cy="74613"/>
            </a:xfrm>
            <a:custGeom>
              <a:avLst/>
              <a:gdLst>
                <a:gd name="T0" fmla="*/ 4 w 11"/>
                <a:gd name="T1" fmla="*/ 20 h 20"/>
                <a:gd name="T2" fmla="*/ 9 w 11"/>
                <a:gd name="T3" fmla="*/ 0 h 20"/>
                <a:gd name="T4" fmla="*/ 2 w 11"/>
                <a:gd name="T5" fmla="*/ 1 h 20"/>
                <a:gd name="T6" fmla="*/ 4 w 11"/>
                <a:gd name="T7" fmla="*/ 20 h 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20"/>
                <a:gd name="T14" fmla="*/ 11 w 11"/>
                <a:gd name="T15" fmla="*/ 20 h 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20">
                  <a:moveTo>
                    <a:pt x="4" y="20"/>
                  </a:moveTo>
                  <a:cubicBezTo>
                    <a:pt x="4" y="20"/>
                    <a:pt x="11" y="0"/>
                    <a:pt x="9" y="0"/>
                  </a:cubicBezTo>
                  <a:cubicBezTo>
                    <a:pt x="7" y="1"/>
                    <a:pt x="4" y="2"/>
                    <a:pt x="2" y="1"/>
                  </a:cubicBezTo>
                  <a:cubicBezTo>
                    <a:pt x="0" y="0"/>
                    <a:pt x="4" y="20"/>
                    <a:pt x="4" y="20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3" name="Oval 35"/>
            <p:cNvSpPr>
              <a:spLocks noChangeAspect="1" noChangeArrowheads="1"/>
            </p:cNvSpPr>
            <p:nvPr/>
          </p:nvSpPr>
          <p:spPr bwMode="gray">
            <a:xfrm>
              <a:off x="12144375" y="3330575"/>
              <a:ext cx="7938" cy="3175"/>
            </a:xfrm>
            <a:prstGeom prst="ellipse">
              <a:avLst/>
            </a:pr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1800" dirty="0">
                <a:latin typeface="Arial" pitchFamily="34" charset="0"/>
              </a:endParaRPr>
            </a:p>
          </p:txBody>
        </p:sp>
        <p:sp>
          <p:nvSpPr>
            <p:cNvPr id="224" name="Freeform 36"/>
            <p:cNvSpPr>
              <a:spLocks noChangeAspect="1"/>
            </p:cNvSpPr>
            <p:nvPr/>
          </p:nvSpPr>
          <p:spPr bwMode="gray">
            <a:xfrm>
              <a:off x="12072938" y="3375025"/>
              <a:ext cx="153988" cy="68263"/>
            </a:xfrm>
            <a:custGeom>
              <a:avLst/>
              <a:gdLst>
                <a:gd name="T0" fmla="*/ 36 w 41"/>
                <a:gd name="T1" fmla="*/ 1 h 18"/>
                <a:gd name="T2" fmla="*/ 24 w 41"/>
                <a:gd name="T3" fmla="*/ 4 h 18"/>
                <a:gd name="T4" fmla="*/ 23 w 41"/>
                <a:gd name="T5" fmla="*/ 4 h 18"/>
                <a:gd name="T6" fmla="*/ 20 w 41"/>
                <a:gd name="T7" fmla="*/ 3 h 18"/>
                <a:gd name="T8" fmla="*/ 18 w 41"/>
                <a:gd name="T9" fmla="*/ 3 h 18"/>
                <a:gd name="T10" fmla="*/ 15 w 41"/>
                <a:gd name="T11" fmla="*/ 5 h 18"/>
                <a:gd name="T12" fmla="*/ 14 w 41"/>
                <a:gd name="T13" fmla="*/ 5 h 18"/>
                <a:gd name="T14" fmla="*/ 1 w 41"/>
                <a:gd name="T15" fmla="*/ 1 h 18"/>
                <a:gd name="T16" fmla="*/ 0 w 41"/>
                <a:gd name="T17" fmla="*/ 12 h 18"/>
                <a:gd name="T18" fmla="*/ 15 w 41"/>
                <a:gd name="T19" fmla="*/ 16 h 18"/>
                <a:gd name="T20" fmla="*/ 18 w 41"/>
                <a:gd name="T21" fmla="*/ 18 h 18"/>
                <a:gd name="T22" fmla="*/ 20 w 41"/>
                <a:gd name="T23" fmla="*/ 18 h 18"/>
                <a:gd name="T24" fmla="*/ 24 w 41"/>
                <a:gd name="T25" fmla="*/ 15 h 18"/>
                <a:gd name="T26" fmla="*/ 39 w 41"/>
                <a:gd name="T27" fmla="*/ 10 h 18"/>
                <a:gd name="T28" fmla="*/ 36 w 41"/>
                <a:gd name="T29" fmla="*/ 1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1"/>
                <a:gd name="T46" fmla="*/ 0 h 18"/>
                <a:gd name="T47" fmla="*/ 41 w 41"/>
                <a:gd name="T48" fmla="*/ 18 h 1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1" h="18">
                  <a:moveTo>
                    <a:pt x="36" y="1"/>
                  </a:moveTo>
                  <a:cubicBezTo>
                    <a:pt x="35" y="0"/>
                    <a:pt x="28" y="3"/>
                    <a:pt x="24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3"/>
                    <a:pt x="22" y="3"/>
                    <a:pt x="2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5" y="3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ubicBezTo>
                    <a:pt x="8" y="5"/>
                    <a:pt x="2" y="2"/>
                    <a:pt x="1" y="1"/>
                  </a:cubicBezTo>
                  <a:cubicBezTo>
                    <a:pt x="0" y="0"/>
                    <a:pt x="0" y="10"/>
                    <a:pt x="0" y="12"/>
                  </a:cubicBezTo>
                  <a:cubicBezTo>
                    <a:pt x="0" y="13"/>
                    <a:pt x="9" y="15"/>
                    <a:pt x="15" y="16"/>
                  </a:cubicBezTo>
                  <a:cubicBezTo>
                    <a:pt x="15" y="17"/>
                    <a:pt x="17" y="18"/>
                    <a:pt x="18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2" y="18"/>
                    <a:pt x="24" y="17"/>
                    <a:pt x="24" y="15"/>
                  </a:cubicBezTo>
                  <a:cubicBezTo>
                    <a:pt x="31" y="14"/>
                    <a:pt x="38" y="11"/>
                    <a:pt x="39" y="10"/>
                  </a:cubicBezTo>
                  <a:cubicBezTo>
                    <a:pt x="41" y="10"/>
                    <a:pt x="36" y="2"/>
                    <a:pt x="36" y="1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grpSp>
        <p:nvGrpSpPr>
          <p:cNvPr id="225" name="Gruppieren 32"/>
          <p:cNvGrpSpPr>
            <a:grpSpLocks noChangeAspect="1"/>
          </p:cNvGrpSpPr>
          <p:nvPr>
            <p:custDataLst>
              <p:tags r:id="rId36"/>
            </p:custDataLst>
          </p:nvPr>
        </p:nvGrpSpPr>
        <p:grpSpPr bwMode="gray">
          <a:xfrm>
            <a:off x="7915552" y="1664804"/>
            <a:ext cx="126380" cy="418817"/>
            <a:chOff x="11649075" y="3244850"/>
            <a:chExt cx="252413" cy="828675"/>
          </a:xfrm>
        </p:grpSpPr>
        <p:sp>
          <p:nvSpPr>
            <p:cNvPr id="226" name="Freeform 14"/>
            <p:cNvSpPr>
              <a:spLocks noChangeAspect="1" noEditPoints="1"/>
            </p:cNvSpPr>
            <p:nvPr/>
          </p:nvSpPr>
          <p:spPr bwMode="gray">
            <a:xfrm>
              <a:off x="11649075" y="3244850"/>
              <a:ext cx="252413" cy="828675"/>
            </a:xfrm>
            <a:custGeom>
              <a:avLst/>
              <a:gdLst>
                <a:gd name="T0" fmla="*/ 23 w 67"/>
                <a:gd name="T1" fmla="*/ 26 h 221"/>
                <a:gd name="T2" fmla="*/ 20 w 67"/>
                <a:gd name="T3" fmla="*/ 22 h 221"/>
                <a:gd name="T4" fmla="*/ 20 w 67"/>
                <a:gd name="T5" fmla="*/ 15 h 221"/>
                <a:gd name="T6" fmla="*/ 19 w 67"/>
                <a:gd name="T7" fmla="*/ 9 h 221"/>
                <a:gd name="T8" fmla="*/ 36 w 67"/>
                <a:gd name="T9" fmla="*/ 3 h 221"/>
                <a:gd name="T10" fmla="*/ 41 w 67"/>
                <a:gd name="T11" fmla="*/ 15 h 221"/>
                <a:gd name="T12" fmla="*/ 41 w 67"/>
                <a:gd name="T13" fmla="*/ 21 h 221"/>
                <a:gd name="T14" fmla="*/ 39 w 67"/>
                <a:gd name="T15" fmla="*/ 29 h 221"/>
                <a:gd name="T16" fmla="*/ 47 w 67"/>
                <a:gd name="T17" fmla="*/ 33 h 221"/>
                <a:gd name="T18" fmla="*/ 63 w 67"/>
                <a:gd name="T19" fmla="*/ 43 h 221"/>
                <a:gd name="T20" fmla="*/ 65 w 67"/>
                <a:gd name="T21" fmla="*/ 58 h 221"/>
                <a:gd name="T22" fmla="*/ 67 w 67"/>
                <a:gd name="T23" fmla="*/ 83 h 221"/>
                <a:gd name="T24" fmla="*/ 63 w 67"/>
                <a:gd name="T25" fmla="*/ 100 h 221"/>
                <a:gd name="T26" fmla="*/ 57 w 67"/>
                <a:gd name="T27" fmla="*/ 109 h 221"/>
                <a:gd name="T28" fmla="*/ 54 w 67"/>
                <a:gd name="T29" fmla="*/ 114 h 221"/>
                <a:gd name="T30" fmla="*/ 54 w 67"/>
                <a:gd name="T31" fmla="*/ 133 h 221"/>
                <a:gd name="T32" fmla="*/ 51 w 67"/>
                <a:gd name="T33" fmla="*/ 165 h 221"/>
                <a:gd name="T34" fmla="*/ 49 w 67"/>
                <a:gd name="T35" fmla="*/ 200 h 221"/>
                <a:gd name="T36" fmla="*/ 44 w 67"/>
                <a:gd name="T37" fmla="*/ 210 h 221"/>
                <a:gd name="T38" fmla="*/ 44 w 67"/>
                <a:gd name="T39" fmla="*/ 220 h 221"/>
                <a:gd name="T40" fmla="*/ 35 w 67"/>
                <a:gd name="T41" fmla="*/ 214 h 221"/>
                <a:gd name="T42" fmla="*/ 35 w 67"/>
                <a:gd name="T43" fmla="*/ 207 h 221"/>
                <a:gd name="T44" fmla="*/ 35 w 67"/>
                <a:gd name="T45" fmla="*/ 212 h 221"/>
                <a:gd name="T46" fmla="*/ 22 w 67"/>
                <a:gd name="T47" fmla="*/ 211 h 221"/>
                <a:gd name="T48" fmla="*/ 7 w 67"/>
                <a:gd name="T49" fmla="*/ 211 h 221"/>
                <a:gd name="T50" fmla="*/ 6 w 67"/>
                <a:gd name="T51" fmla="*/ 208 h 221"/>
                <a:gd name="T52" fmla="*/ 15 w 67"/>
                <a:gd name="T53" fmla="*/ 206 h 221"/>
                <a:gd name="T54" fmla="*/ 19 w 67"/>
                <a:gd name="T55" fmla="*/ 198 h 221"/>
                <a:gd name="T56" fmla="*/ 18 w 67"/>
                <a:gd name="T57" fmla="*/ 175 h 221"/>
                <a:gd name="T58" fmla="*/ 14 w 67"/>
                <a:gd name="T59" fmla="*/ 122 h 221"/>
                <a:gd name="T60" fmla="*/ 11 w 67"/>
                <a:gd name="T61" fmla="*/ 117 h 221"/>
                <a:gd name="T62" fmla="*/ 12 w 67"/>
                <a:gd name="T63" fmla="*/ 96 h 221"/>
                <a:gd name="T64" fmla="*/ 10 w 67"/>
                <a:gd name="T65" fmla="*/ 111 h 221"/>
                <a:gd name="T66" fmla="*/ 9 w 67"/>
                <a:gd name="T67" fmla="*/ 119 h 221"/>
                <a:gd name="T68" fmla="*/ 8 w 67"/>
                <a:gd name="T69" fmla="*/ 125 h 221"/>
                <a:gd name="T70" fmla="*/ 3 w 67"/>
                <a:gd name="T71" fmla="*/ 123 h 221"/>
                <a:gd name="T72" fmla="*/ 2 w 67"/>
                <a:gd name="T73" fmla="*/ 114 h 221"/>
                <a:gd name="T74" fmla="*/ 2 w 67"/>
                <a:gd name="T75" fmla="*/ 111 h 221"/>
                <a:gd name="T76" fmla="*/ 2 w 67"/>
                <a:gd name="T77" fmla="*/ 95 h 221"/>
                <a:gd name="T78" fmla="*/ 4 w 67"/>
                <a:gd name="T79" fmla="*/ 80 h 221"/>
                <a:gd name="T80" fmla="*/ 6 w 67"/>
                <a:gd name="T81" fmla="*/ 65 h 221"/>
                <a:gd name="T82" fmla="*/ 20 w 67"/>
                <a:gd name="T83" fmla="*/ 36 h 221"/>
                <a:gd name="T84" fmla="*/ 25 w 67"/>
                <a:gd name="T85" fmla="*/ 30 h 221"/>
                <a:gd name="T86" fmla="*/ 35 w 67"/>
                <a:gd name="T87" fmla="*/ 192 h 221"/>
                <a:gd name="T88" fmla="*/ 37 w 67"/>
                <a:gd name="T89" fmla="*/ 177 h 221"/>
                <a:gd name="T90" fmla="*/ 37 w 67"/>
                <a:gd name="T91" fmla="*/ 162 h 221"/>
                <a:gd name="T92" fmla="*/ 35 w 67"/>
                <a:gd name="T93" fmla="*/ 145 h 221"/>
                <a:gd name="T94" fmla="*/ 35 w 67"/>
                <a:gd name="T95" fmla="*/ 131 h 221"/>
                <a:gd name="T96" fmla="*/ 33 w 67"/>
                <a:gd name="T97" fmla="*/ 136 h 221"/>
                <a:gd name="T98" fmla="*/ 33 w 67"/>
                <a:gd name="T99" fmla="*/ 155 h 221"/>
                <a:gd name="T100" fmla="*/ 34 w 67"/>
                <a:gd name="T101" fmla="*/ 178 h 221"/>
                <a:gd name="T102" fmla="*/ 33 w 67"/>
                <a:gd name="T103" fmla="*/ 192 h 221"/>
                <a:gd name="T104" fmla="*/ 6 w 67"/>
                <a:gd name="T105" fmla="*/ 118 h 221"/>
                <a:gd name="T106" fmla="*/ 5 w 67"/>
                <a:gd name="T107" fmla="*/ 120 h 221"/>
                <a:gd name="T108" fmla="*/ 6 w 67"/>
                <a:gd name="T109" fmla="*/ 120 h 221"/>
                <a:gd name="T110" fmla="*/ 6 w 67"/>
                <a:gd name="T111" fmla="*/ 118 h 22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7"/>
                <a:gd name="T169" fmla="*/ 0 h 221"/>
                <a:gd name="T170" fmla="*/ 67 w 67"/>
                <a:gd name="T171" fmla="*/ 221 h 22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7" h="221">
                  <a:moveTo>
                    <a:pt x="25" y="30"/>
                  </a:moveTo>
                  <a:cubicBezTo>
                    <a:pt x="24" y="29"/>
                    <a:pt x="23" y="28"/>
                    <a:pt x="23" y="26"/>
                  </a:cubicBezTo>
                  <a:cubicBezTo>
                    <a:pt x="22" y="24"/>
                    <a:pt x="22" y="25"/>
                    <a:pt x="22" y="25"/>
                  </a:cubicBezTo>
                  <a:cubicBezTo>
                    <a:pt x="21" y="25"/>
                    <a:pt x="22" y="24"/>
                    <a:pt x="20" y="22"/>
                  </a:cubicBezTo>
                  <a:cubicBezTo>
                    <a:pt x="19" y="20"/>
                    <a:pt x="21" y="20"/>
                    <a:pt x="21" y="20"/>
                  </a:cubicBezTo>
                  <a:cubicBezTo>
                    <a:pt x="20" y="19"/>
                    <a:pt x="20" y="16"/>
                    <a:pt x="20" y="15"/>
                  </a:cubicBezTo>
                  <a:cubicBezTo>
                    <a:pt x="20" y="14"/>
                    <a:pt x="20" y="13"/>
                    <a:pt x="20" y="12"/>
                  </a:cubicBezTo>
                  <a:cubicBezTo>
                    <a:pt x="20" y="11"/>
                    <a:pt x="19" y="10"/>
                    <a:pt x="19" y="9"/>
                  </a:cubicBezTo>
                  <a:cubicBezTo>
                    <a:pt x="19" y="7"/>
                    <a:pt x="21" y="5"/>
                    <a:pt x="26" y="3"/>
                  </a:cubicBezTo>
                  <a:cubicBezTo>
                    <a:pt x="31" y="0"/>
                    <a:pt x="34" y="2"/>
                    <a:pt x="36" y="3"/>
                  </a:cubicBezTo>
                  <a:cubicBezTo>
                    <a:pt x="38" y="4"/>
                    <a:pt x="40" y="7"/>
                    <a:pt x="41" y="10"/>
                  </a:cubicBezTo>
                  <a:cubicBezTo>
                    <a:pt x="42" y="12"/>
                    <a:pt x="42" y="14"/>
                    <a:pt x="41" y="15"/>
                  </a:cubicBezTo>
                  <a:cubicBezTo>
                    <a:pt x="40" y="16"/>
                    <a:pt x="40" y="16"/>
                    <a:pt x="41" y="16"/>
                  </a:cubicBezTo>
                  <a:cubicBezTo>
                    <a:pt x="42" y="16"/>
                    <a:pt x="41" y="19"/>
                    <a:pt x="41" y="21"/>
                  </a:cubicBezTo>
                  <a:cubicBezTo>
                    <a:pt x="41" y="23"/>
                    <a:pt x="39" y="23"/>
                    <a:pt x="39" y="23"/>
                  </a:cubicBezTo>
                  <a:cubicBezTo>
                    <a:pt x="39" y="24"/>
                    <a:pt x="39" y="29"/>
                    <a:pt x="39" y="29"/>
                  </a:cubicBezTo>
                  <a:cubicBezTo>
                    <a:pt x="39" y="29"/>
                    <a:pt x="40" y="29"/>
                    <a:pt x="41" y="30"/>
                  </a:cubicBezTo>
                  <a:cubicBezTo>
                    <a:pt x="42" y="30"/>
                    <a:pt x="44" y="32"/>
                    <a:pt x="47" y="33"/>
                  </a:cubicBezTo>
                  <a:cubicBezTo>
                    <a:pt x="49" y="35"/>
                    <a:pt x="57" y="37"/>
                    <a:pt x="60" y="38"/>
                  </a:cubicBezTo>
                  <a:cubicBezTo>
                    <a:pt x="63" y="39"/>
                    <a:pt x="63" y="41"/>
                    <a:pt x="63" y="43"/>
                  </a:cubicBezTo>
                  <a:cubicBezTo>
                    <a:pt x="63" y="45"/>
                    <a:pt x="64" y="48"/>
                    <a:pt x="64" y="50"/>
                  </a:cubicBezTo>
                  <a:cubicBezTo>
                    <a:pt x="65" y="52"/>
                    <a:pt x="65" y="55"/>
                    <a:pt x="65" y="58"/>
                  </a:cubicBezTo>
                  <a:cubicBezTo>
                    <a:pt x="65" y="60"/>
                    <a:pt x="66" y="68"/>
                    <a:pt x="66" y="71"/>
                  </a:cubicBezTo>
                  <a:cubicBezTo>
                    <a:pt x="67" y="74"/>
                    <a:pt x="67" y="79"/>
                    <a:pt x="67" y="83"/>
                  </a:cubicBezTo>
                  <a:cubicBezTo>
                    <a:pt x="67" y="87"/>
                    <a:pt x="65" y="91"/>
                    <a:pt x="64" y="93"/>
                  </a:cubicBezTo>
                  <a:cubicBezTo>
                    <a:pt x="64" y="94"/>
                    <a:pt x="62" y="97"/>
                    <a:pt x="63" y="100"/>
                  </a:cubicBezTo>
                  <a:cubicBezTo>
                    <a:pt x="63" y="103"/>
                    <a:pt x="61" y="106"/>
                    <a:pt x="59" y="108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6" y="109"/>
                    <a:pt x="55" y="109"/>
                    <a:pt x="55" y="110"/>
                  </a:cubicBezTo>
                  <a:cubicBezTo>
                    <a:pt x="55" y="112"/>
                    <a:pt x="55" y="113"/>
                    <a:pt x="54" y="114"/>
                  </a:cubicBezTo>
                  <a:cubicBezTo>
                    <a:pt x="54" y="115"/>
                    <a:pt x="54" y="122"/>
                    <a:pt x="54" y="125"/>
                  </a:cubicBezTo>
                  <a:cubicBezTo>
                    <a:pt x="54" y="128"/>
                    <a:pt x="54" y="130"/>
                    <a:pt x="54" y="133"/>
                  </a:cubicBezTo>
                  <a:cubicBezTo>
                    <a:pt x="54" y="136"/>
                    <a:pt x="52" y="141"/>
                    <a:pt x="52" y="146"/>
                  </a:cubicBezTo>
                  <a:cubicBezTo>
                    <a:pt x="52" y="152"/>
                    <a:pt x="51" y="156"/>
                    <a:pt x="51" y="165"/>
                  </a:cubicBezTo>
                  <a:cubicBezTo>
                    <a:pt x="52" y="173"/>
                    <a:pt x="51" y="192"/>
                    <a:pt x="51" y="194"/>
                  </a:cubicBezTo>
                  <a:cubicBezTo>
                    <a:pt x="51" y="196"/>
                    <a:pt x="50" y="199"/>
                    <a:pt x="49" y="200"/>
                  </a:cubicBezTo>
                  <a:cubicBezTo>
                    <a:pt x="47" y="202"/>
                    <a:pt x="47" y="204"/>
                    <a:pt x="47" y="206"/>
                  </a:cubicBezTo>
                  <a:cubicBezTo>
                    <a:pt x="47" y="209"/>
                    <a:pt x="45" y="209"/>
                    <a:pt x="44" y="210"/>
                  </a:cubicBezTo>
                  <a:cubicBezTo>
                    <a:pt x="44" y="210"/>
                    <a:pt x="46" y="214"/>
                    <a:pt x="47" y="216"/>
                  </a:cubicBezTo>
                  <a:cubicBezTo>
                    <a:pt x="47" y="218"/>
                    <a:pt x="47" y="220"/>
                    <a:pt x="44" y="220"/>
                  </a:cubicBezTo>
                  <a:cubicBezTo>
                    <a:pt x="41" y="221"/>
                    <a:pt x="37" y="220"/>
                    <a:pt x="35" y="219"/>
                  </a:cubicBezTo>
                  <a:cubicBezTo>
                    <a:pt x="33" y="217"/>
                    <a:pt x="35" y="216"/>
                    <a:pt x="35" y="214"/>
                  </a:cubicBezTo>
                  <a:cubicBezTo>
                    <a:pt x="36" y="213"/>
                    <a:pt x="36" y="213"/>
                    <a:pt x="36" y="211"/>
                  </a:cubicBezTo>
                  <a:cubicBezTo>
                    <a:pt x="36" y="210"/>
                    <a:pt x="35" y="209"/>
                    <a:pt x="35" y="207"/>
                  </a:cubicBezTo>
                  <a:cubicBezTo>
                    <a:pt x="35" y="206"/>
                    <a:pt x="35" y="207"/>
                    <a:pt x="35" y="207"/>
                  </a:cubicBezTo>
                  <a:cubicBezTo>
                    <a:pt x="34" y="207"/>
                    <a:pt x="35" y="209"/>
                    <a:pt x="35" y="212"/>
                  </a:cubicBezTo>
                  <a:cubicBezTo>
                    <a:pt x="35" y="214"/>
                    <a:pt x="29" y="213"/>
                    <a:pt x="29" y="213"/>
                  </a:cubicBezTo>
                  <a:cubicBezTo>
                    <a:pt x="27" y="213"/>
                    <a:pt x="26" y="211"/>
                    <a:pt x="22" y="211"/>
                  </a:cubicBezTo>
                  <a:cubicBezTo>
                    <a:pt x="21" y="211"/>
                    <a:pt x="19" y="213"/>
                    <a:pt x="16" y="213"/>
                  </a:cubicBezTo>
                  <a:cubicBezTo>
                    <a:pt x="14" y="213"/>
                    <a:pt x="8" y="212"/>
                    <a:pt x="7" y="211"/>
                  </a:cubicBezTo>
                  <a:cubicBezTo>
                    <a:pt x="5" y="211"/>
                    <a:pt x="5" y="210"/>
                    <a:pt x="5" y="210"/>
                  </a:cubicBezTo>
                  <a:cubicBezTo>
                    <a:pt x="6" y="210"/>
                    <a:pt x="6" y="210"/>
                    <a:pt x="6" y="208"/>
                  </a:cubicBezTo>
                  <a:cubicBezTo>
                    <a:pt x="6" y="206"/>
                    <a:pt x="9" y="207"/>
                    <a:pt x="11" y="207"/>
                  </a:cubicBezTo>
                  <a:cubicBezTo>
                    <a:pt x="13" y="207"/>
                    <a:pt x="14" y="206"/>
                    <a:pt x="15" y="206"/>
                  </a:cubicBezTo>
                  <a:cubicBezTo>
                    <a:pt x="15" y="205"/>
                    <a:pt x="19" y="202"/>
                    <a:pt x="20" y="201"/>
                  </a:cubicBezTo>
                  <a:cubicBezTo>
                    <a:pt x="21" y="200"/>
                    <a:pt x="20" y="199"/>
                    <a:pt x="19" y="198"/>
                  </a:cubicBezTo>
                  <a:cubicBezTo>
                    <a:pt x="18" y="198"/>
                    <a:pt x="19" y="193"/>
                    <a:pt x="19" y="191"/>
                  </a:cubicBezTo>
                  <a:cubicBezTo>
                    <a:pt x="19" y="188"/>
                    <a:pt x="19" y="184"/>
                    <a:pt x="18" y="175"/>
                  </a:cubicBezTo>
                  <a:cubicBezTo>
                    <a:pt x="18" y="167"/>
                    <a:pt x="17" y="154"/>
                    <a:pt x="16" y="145"/>
                  </a:cubicBezTo>
                  <a:cubicBezTo>
                    <a:pt x="15" y="136"/>
                    <a:pt x="14" y="123"/>
                    <a:pt x="14" y="122"/>
                  </a:cubicBezTo>
                  <a:cubicBezTo>
                    <a:pt x="14" y="121"/>
                    <a:pt x="12" y="122"/>
                    <a:pt x="11" y="122"/>
                  </a:cubicBezTo>
                  <a:cubicBezTo>
                    <a:pt x="10" y="122"/>
                    <a:pt x="11" y="120"/>
                    <a:pt x="11" y="117"/>
                  </a:cubicBezTo>
                  <a:cubicBezTo>
                    <a:pt x="11" y="114"/>
                    <a:pt x="12" y="103"/>
                    <a:pt x="13" y="99"/>
                  </a:cubicBezTo>
                  <a:cubicBezTo>
                    <a:pt x="13" y="94"/>
                    <a:pt x="12" y="95"/>
                    <a:pt x="12" y="96"/>
                  </a:cubicBezTo>
                  <a:cubicBezTo>
                    <a:pt x="12" y="98"/>
                    <a:pt x="11" y="104"/>
                    <a:pt x="10" y="105"/>
                  </a:cubicBezTo>
                  <a:cubicBezTo>
                    <a:pt x="10" y="106"/>
                    <a:pt x="10" y="111"/>
                    <a:pt x="10" y="111"/>
                  </a:cubicBezTo>
                  <a:cubicBezTo>
                    <a:pt x="9" y="111"/>
                    <a:pt x="9" y="112"/>
                    <a:pt x="9" y="114"/>
                  </a:cubicBezTo>
                  <a:cubicBezTo>
                    <a:pt x="10" y="116"/>
                    <a:pt x="9" y="116"/>
                    <a:pt x="9" y="119"/>
                  </a:cubicBezTo>
                  <a:cubicBezTo>
                    <a:pt x="9" y="121"/>
                    <a:pt x="9" y="123"/>
                    <a:pt x="9" y="124"/>
                  </a:cubicBezTo>
                  <a:cubicBezTo>
                    <a:pt x="9" y="125"/>
                    <a:pt x="8" y="124"/>
                    <a:pt x="8" y="125"/>
                  </a:cubicBezTo>
                  <a:cubicBezTo>
                    <a:pt x="8" y="125"/>
                    <a:pt x="6" y="125"/>
                    <a:pt x="5" y="125"/>
                  </a:cubicBezTo>
                  <a:cubicBezTo>
                    <a:pt x="4" y="125"/>
                    <a:pt x="3" y="124"/>
                    <a:pt x="3" y="123"/>
                  </a:cubicBezTo>
                  <a:cubicBezTo>
                    <a:pt x="2" y="121"/>
                    <a:pt x="2" y="120"/>
                    <a:pt x="1" y="119"/>
                  </a:cubicBezTo>
                  <a:cubicBezTo>
                    <a:pt x="0" y="118"/>
                    <a:pt x="2" y="115"/>
                    <a:pt x="2" y="114"/>
                  </a:cubicBezTo>
                  <a:cubicBezTo>
                    <a:pt x="3" y="113"/>
                    <a:pt x="3" y="111"/>
                    <a:pt x="2" y="112"/>
                  </a:cubicBezTo>
                  <a:cubicBezTo>
                    <a:pt x="2" y="113"/>
                    <a:pt x="2" y="112"/>
                    <a:pt x="2" y="111"/>
                  </a:cubicBezTo>
                  <a:cubicBezTo>
                    <a:pt x="2" y="110"/>
                    <a:pt x="2" y="106"/>
                    <a:pt x="2" y="105"/>
                  </a:cubicBezTo>
                  <a:cubicBezTo>
                    <a:pt x="2" y="103"/>
                    <a:pt x="2" y="97"/>
                    <a:pt x="2" y="95"/>
                  </a:cubicBezTo>
                  <a:cubicBezTo>
                    <a:pt x="2" y="94"/>
                    <a:pt x="3" y="92"/>
                    <a:pt x="3" y="89"/>
                  </a:cubicBezTo>
                  <a:cubicBezTo>
                    <a:pt x="4" y="87"/>
                    <a:pt x="4" y="82"/>
                    <a:pt x="4" y="80"/>
                  </a:cubicBezTo>
                  <a:cubicBezTo>
                    <a:pt x="4" y="77"/>
                    <a:pt x="4" y="78"/>
                    <a:pt x="5" y="76"/>
                  </a:cubicBezTo>
                  <a:cubicBezTo>
                    <a:pt x="6" y="75"/>
                    <a:pt x="6" y="70"/>
                    <a:pt x="6" y="65"/>
                  </a:cubicBezTo>
                  <a:cubicBezTo>
                    <a:pt x="7" y="61"/>
                    <a:pt x="7" y="50"/>
                    <a:pt x="9" y="44"/>
                  </a:cubicBezTo>
                  <a:cubicBezTo>
                    <a:pt x="10" y="39"/>
                    <a:pt x="17" y="38"/>
                    <a:pt x="20" y="36"/>
                  </a:cubicBezTo>
                  <a:cubicBezTo>
                    <a:pt x="24" y="35"/>
                    <a:pt x="25" y="33"/>
                    <a:pt x="25" y="33"/>
                  </a:cubicBezTo>
                  <a:cubicBezTo>
                    <a:pt x="26" y="31"/>
                    <a:pt x="26" y="31"/>
                    <a:pt x="25" y="30"/>
                  </a:cubicBezTo>
                  <a:close/>
                  <a:moveTo>
                    <a:pt x="34" y="196"/>
                  </a:moveTo>
                  <a:cubicBezTo>
                    <a:pt x="34" y="196"/>
                    <a:pt x="35" y="195"/>
                    <a:pt x="35" y="192"/>
                  </a:cubicBezTo>
                  <a:cubicBezTo>
                    <a:pt x="36" y="189"/>
                    <a:pt x="35" y="188"/>
                    <a:pt x="36" y="185"/>
                  </a:cubicBezTo>
                  <a:cubicBezTo>
                    <a:pt x="37" y="182"/>
                    <a:pt x="37" y="180"/>
                    <a:pt x="37" y="177"/>
                  </a:cubicBezTo>
                  <a:cubicBezTo>
                    <a:pt x="37" y="175"/>
                    <a:pt x="37" y="169"/>
                    <a:pt x="37" y="167"/>
                  </a:cubicBezTo>
                  <a:cubicBezTo>
                    <a:pt x="38" y="166"/>
                    <a:pt x="38" y="165"/>
                    <a:pt x="37" y="162"/>
                  </a:cubicBezTo>
                  <a:cubicBezTo>
                    <a:pt x="37" y="160"/>
                    <a:pt x="36" y="157"/>
                    <a:pt x="36" y="155"/>
                  </a:cubicBezTo>
                  <a:cubicBezTo>
                    <a:pt x="36" y="154"/>
                    <a:pt x="35" y="147"/>
                    <a:pt x="35" y="145"/>
                  </a:cubicBezTo>
                  <a:cubicBezTo>
                    <a:pt x="35" y="143"/>
                    <a:pt x="35" y="138"/>
                    <a:pt x="35" y="136"/>
                  </a:cubicBezTo>
                  <a:cubicBezTo>
                    <a:pt x="35" y="135"/>
                    <a:pt x="35" y="133"/>
                    <a:pt x="35" y="131"/>
                  </a:cubicBezTo>
                  <a:cubicBezTo>
                    <a:pt x="35" y="129"/>
                    <a:pt x="34" y="127"/>
                    <a:pt x="34" y="127"/>
                  </a:cubicBezTo>
                  <a:cubicBezTo>
                    <a:pt x="34" y="127"/>
                    <a:pt x="34" y="135"/>
                    <a:pt x="33" y="136"/>
                  </a:cubicBezTo>
                  <a:cubicBezTo>
                    <a:pt x="33" y="138"/>
                    <a:pt x="33" y="144"/>
                    <a:pt x="33" y="146"/>
                  </a:cubicBezTo>
                  <a:cubicBezTo>
                    <a:pt x="33" y="148"/>
                    <a:pt x="33" y="153"/>
                    <a:pt x="33" y="155"/>
                  </a:cubicBezTo>
                  <a:cubicBezTo>
                    <a:pt x="33" y="157"/>
                    <a:pt x="34" y="160"/>
                    <a:pt x="34" y="162"/>
                  </a:cubicBezTo>
                  <a:cubicBezTo>
                    <a:pt x="33" y="165"/>
                    <a:pt x="34" y="175"/>
                    <a:pt x="34" y="178"/>
                  </a:cubicBezTo>
                  <a:cubicBezTo>
                    <a:pt x="34" y="180"/>
                    <a:pt x="34" y="183"/>
                    <a:pt x="34" y="185"/>
                  </a:cubicBezTo>
                  <a:cubicBezTo>
                    <a:pt x="33" y="187"/>
                    <a:pt x="33" y="190"/>
                    <a:pt x="33" y="192"/>
                  </a:cubicBezTo>
                  <a:cubicBezTo>
                    <a:pt x="33" y="193"/>
                    <a:pt x="33" y="195"/>
                    <a:pt x="34" y="196"/>
                  </a:cubicBezTo>
                  <a:close/>
                  <a:moveTo>
                    <a:pt x="6" y="118"/>
                  </a:moveTo>
                  <a:cubicBezTo>
                    <a:pt x="6" y="118"/>
                    <a:pt x="6" y="118"/>
                    <a:pt x="5" y="118"/>
                  </a:cubicBezTo>
                  <a:cubicBezTo>
                    <a:pt x="5" y="118"/>
                    <a:pt x="5" y="118"/>
                    <a:pt x="5" y="120"/>
                  </a:cubicBezTo>
                  <a:cubicBezTo>
                    <a:pt x="5" y="121"/>
                    <a:pt x="5" y="122"/>
                    <a:pt x="6" y="122"/>
                  </a:cubicBezTo>
                  <a:cubicBezTo>
                    <a:pt x="6" y="123"/>
                    <a:pt x="6" y="122"/>
                    <a:pt x="6" y="120"/>
                  </a:cubicBezTo>
                  <a:cubicBezTo>
                    <a:pt x="6" y="118"/>
                    <a:pt x="7" y="118"/>
                    <a:pt x="6" y="117"/>
                  </a:cubicBezTo>
                  <a:cubicBezTo>
                    <a:pt x="6" y="117"/>
                    <a:pt x="6" y="117"/>
                    <a:pt x="6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7" name="Freeform 15"/>
            <p:cNvSpPr>
              <a:spLocks noChangeAspect="1"/>
            </p:cNvSpPr>
            <p:nvPr/>
          </p:nvSpPr>
          <p:spPr bwMode="gray">
            <a:xfrm>
              <a:off x="11739563" y="3352800"/>
              <a:ext cx="55563" cy="150813"/>
            </a:xfrm>
            <a:custGeom>
              <a:avLst/>
              <a:gdLst>
                <a:gd name="T0" fmla="*/ 8 w 15"/>
                <a:gd name="T1" fmla="*/ 40 h 40"/>
                <a:gd name="T2" fmla="*/ 15 w 15"/>
                <a:gd name="T3" fmla="*/ 0 h 40"/>
                <a:gd name="T4" fmla="*/ 1 w 15"/>
                <a:gd name="T5" fmla="*/ 4 h 40"/>
                <a:gd name="T6" fmla="*/ 8 w 15"/>
                <a:gd name="T7" fmla="*/ 40 h 4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"/>
                <a:gd name="T13" fmla="*/ 0 h 40"/>
                <a:gd name="T14" fmla="*/ 15 w 15"/>
                <a:gd name="T15" fmla="*/ 40 h 4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" h="40">
                  <a:moveTo>
                    <a:pt x="8" y="40"/>
                  </a:moveTo>
                  <a:cubicBezTo>
                    <a:pt x="8" y="40"/>
                    <a:pt x="15" y="1"/>
                    <a:pt x="15" y="0"/>
                  </a:cubicBezTo>
                  <a:cubicBezTo>
                    <a:pt x="12" y="7"/>
                    <a:pt x="7" y="9"/>
                    <a:pt x="1" y="4"/>
                  </a:cubicBezTo>
                  <a:cubicBezTo>
                    <a:pt x="0" y="2"/>
                    <a:pt x="8" y="40"/>
                    <a:pt x="8" y="40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8" name="Freeform 16"/>
            <p:cNvSpPr>
              <a:spLocks noChangeAspect="1"/>
            </p:cNvSpPr>
            <p:nvPr/>
          </p:nvSpPr>
          <p:spPr bwMode="gray">
            <a:xfrm>
              <a:off x="11758613" y="3379788"/>
              <a:ext cx="19050" cy="123825"/>
            </a:xfrm>
            <a:custGeom>
              <a:avLst/>
              <a:gdLst>
                <a:gd name="T0" fmla="*/ 4 w 5"/>
                <a:gd name="T1" fmla="*/ 3 h 33"/>
                <a:gd name="T2" fmla="*/ 4 w 5"/>
                <a:gd name="T3" fmla="*/ 2 h 33"/>
                <a:gd name="T4" fmla="*/ 3 w 5"/>
                <a:gd name="T5" fmla="*/ 0 h 33"/>
                <a:gd name="T6" fmla="*/ 1 w 5"/>
                <a:gd name="T7" fmla="*/ 1 h 33"/>
                <a:gd name="T8" fmla="*/ 2 w 5"/>
                <a:gd name="T9" fmla="*/ 3 h 33"/>
                <a:gd name="T10" fmla="*/ 0 w 5"/>
                <a:gd name="T11" fmla="*/ 17 h 33"/>
                <a:gd name="T12" fmla="*/ 3 w 5"/>
                <a:gd name="T13" fmla="*/ 33 h 33"/>
                <a:gd name="T14" fmla="*/ 5 w 5"/>
                <a:gd name="T15" fmla="*/ 17 h 33"/>
                <a:gd name="T16" fmla="*/ 4 w 5"/>
                <a:gd name="T17" fmla="*/ 3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3"/>
                <a:gd name="T29" fmla="*/ 5 w 5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3">
                  <a:moveTo>
                    <a:pt x="4" y="3"/>
                  </a:move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1" y="5"/>
                    <a:pt x="0" y="10"/>
                    <a:pt x="0" y="17"/>
                  </a:cubicBezTo>
                  <a:cubicBezTo>
                    <a:pt x="1" y="26"/>
                    <a:pt x="2" y="33"/>
                    <a:pt x="3" y="33"/>
                  </a:cubicBezTo>
                  <a:cubicBezTo>
                    <a:pt x="3" y="33"/>
                    <a:pt x="4" y="25"/>
                    <a:pt x="5" y="17"/>
                  </a:cubicBezTo>
                  <a:cubicBezTo>
                    <a:pt x="5" y="10"/>
                    <a:pt x="5" y="5"/>
                    <a:pt x="4" y="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29" name="Freeform 17"/>
            <p:cNvSpPr>
              <a:spLocks noChangeAspect="1"/>
            </p:cNvSpPr>
            <p:nvPr/>
          </p:nvSpPr>
          <p:spPr bwMode="gray">
            <a:xfrm>
              <a:off x="11758613" y="3379788"/>
              <a:ext cx="11113" cy="14288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0 h 4"/>
                <a:gd name="T4" fmla="*/ 3 w 3"/>
                <a:gd name="T5" fmla="*/ 0 h 4"/>
                <a:gd name="T6" fmla="*/ 3 w 3"/>
                <a:gd name="T7" fmla="*/ 0 h 4"/>
                <a:gd name="T8" fmla="*/ 0 w 3"/>
                <a:gd name="T9" fmla="*/ 4 h 4"/>
                <a:gd name="T10" fmla="*/ 0 w 3"/>
                <a:gd name="T11" fmla="*/ 4 h 4"/>
                <a:gd name="T12" fmla="*/ 0 w 3"/>
                <a:gd name="T13" fmla="*/ 4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4"/>
                <a:gd name="T23" fmla="*/ 3 w 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4">
                  <a:moveTo>
                    <a:pt x="0" y="4"/>
                  </a:move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0" name="Freeform 18"/>
            <p:cNvSpPr>
              <a:spLocks noChangeAspect="1"/>
            </p:cNvSpPr>
            <p:nvPr/>
          </p:nvSpPr>
          <p:spPr bwMode="gray">
            <a:xfrm>
              <a:off x="11769725" y="3379788"/>
              <a:ext cx="11113" cy="14288"/>
            </a:xfrm>
            <a:custGeom>
              <a:avLst/>
              <a:gdLst>
                <a:gd name="T0" fmla="*/ 3 w 3"/>
                <a:gd name="T1" fmla="*/ 4 h 4"/>
                <a:gd name="T2" fmla="*/ 0 w 3"/>
                <a:gd name="T3" fmla="*/ 0 h 4"/>
                <a:gd name="T4" fmla="*/ 0 w 3"/>
                <a:gd name="T5" fmla="*/ 0 h 4"/>
                <a:gd name="T6" fmla="*/ 0 w 3"/>
                <a:gd name="T7" fmla="*/ 0 h 4"/>
                <a:gd name="T8" fmla="*/ 3 w 3"/>
                <a:gd name="T9" fmla="*/ 4 h 4"/>
                <a:gd name="T10" fmla="*/ 3 w 3"/>
                <a:gd name="T11" fmla="*/ 4 h 4"/>
                <a:gd name="T12" fmla="*/ 3 w 3"/>
                <a:gd name="T13" fmla="*/ 4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4"/>
                <a:gd name="T23" fmla="*/ 3 w 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4">
                  <a:moveTo>
                    <a:pt x="3" y="4"/>
                  </a:moveTo>
                  <a:cubicBezTo>
                    <a:pt x="3" y="2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2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1" name="Freeform 19"/>
            <p:cNvSpPr>
              <a:spLocks noChangeAspect="1"/>
            </p:cNvSpPr>
            <p:nvPr/>
          </p:nvSpPr>
          <p:spPr bwMode="gray">
            <a:xfrm>
              <a:off x="11747500" y="3379788"/>
              <a:ext cx="11113" cy="14288"/>
            </a:xfrm>
            <a:custGeom>
              <a:avLst/>
              <a:gdLst>
                <a:gd name="T0" fmla="*/ 0 w 7"/>
                <a:gd name="T1" fmla="*/ 2 h 9"/>
                <a:gd name="T2" fmla="*/ 0 w 7"/>
                <a:gd name="T3" fmla="*/ 0 h 9"/>
                <a:gd name="T4" fmla="*/ 7 w 7"/>
                <a:gd name="T5" fmla="*/ 9 h 9"/>
                <a:gd name="T6" fmla="*/ 7 w 7"/>
                <a:gd name="T7" fmla="*/ 9 h 9"/>
                <a:gd name="T8" fmla="*/ 0 w 7"/>
                <a:gd name="T9" fmla="*/ 2 h 9"/>
                <a:gd name="T10" fmla="*/ 0 w 7"/>
                <a:gd name="T11" fmla="*/ 2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0" y="2"/>
                  </a:moveTo>
                  <a:lnTo>
                    <a:pt x="0" y="0"/>
                  </a:lnTo>
                  <a:lnTo>
                    <a:pt x="7" y="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2" name="Freeform 20"/>
            <p:cNvSpPr>
              <a:spLocks noChangeAspect="1"/>
            </p:cNvSpPr>
            <p:nvPr/>
          </p:nvSpPr>
          <p:spPr bwMode="gray">
            <a:xfrm>
              <a:off x="11780838" y="3375025"/>
              <a:ext cx="11113" cy="19050"/>
            </a:xfrm>
            <a:custGeom>
              <a:avLst/>
              <a:gdLst>
                <a:gd name="T0" fmla="*/ 0 w 7"/>
                <a:gd name="T1" fmla="*/ 12 h 12"/>
                <a:gd name="T2" fmla="*/ 7 w 7"/>
                <a:gd name="T3" fmla="*/ 0 h 12"/>
                <a:gd name="T4" fmla="*/ 7 w 7"/>
                <a:gd name="T5" fmla="*/ 3 h 12"/>
                <a:gd name="T6" fmla="*/ 0 w 7"/>
                <a:gd name="T7" fmla="*/ 12 h 12"/>
                <a:gd name="T8" fmla="*/ 0 w 7"/>
                <a:gd name="T9" fmla="*/ 12 h 12"/>
                <a:gd name="T10" fmla="*/ 0 w 7"/>
                <a:gd name="T11" fmla="*/ 12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2"/>
                <a:gd name="T20" fmla="*/ 7 w 7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2">
                  <a:moveTo>
                    <a:pt x="0" y="12"/>
                  </a:moveTo>
                  <a:lnTo>
                    <a:pt x="7" y="0"/>
                  </a:lnTo>
                  <a:lnTo>
                    <a:pt x="7" y="3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33" name="Freeform 77"/>
          <p:cNvSpPr>
            <a:spLocks noEditPoints="1"/>
          </p:cNvSpPr>
          <p:nvPr>
            <p:custDataLst>
              <p:tags r:id="rId37"/>
            </p:custDataLst>
          </p:nvPr>
        </p:nvSpPr>
        <p:spPr bwMode="gray">
          <a:xfrm flipH="1">
            <a:off x="7679281" y="1696971"/>
            <a:ext cx="107346" cy="454942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234" name="Gruppieren 60"/>
          <p:cNvGrpSpPr>
            <a:grpSpLocks noChangeAspect="1"/>
          </p:cNvGrpSpPr>
          <p:nvPr>
            <p:custDataLst>
              <p:tags r:id="rId38"/>
            </p:custDataLst>
          </p:nvPr>
        </p:nvGrpSpPr>
        <p:grpSpPr bwMode="gray">
          <a:xfrm flipH="1">
            <a:off x="8084702" y="1729410"/>
            <a:ext cx="201326" cy="549605"/>
            <a:chOff x="9969500" y="2562225"/>
            <a:chExt cx="277813" cy="625475"/>
          </a:xfrm>
        </p:grpSpPr>
        <p:sp>
          <p:nvSpPr>
            <p:cNvPr id="235" name="Freeform 37"/>
            <p:cNvSpPr>
              <a:spLocks noChangeAspect="1" noEditPoints="1"/>
            </p:cNvSpPr>
            <p:nvPr/>
          </p:nvSpPr>
          <p:spPr bwMode="gray">
            <a:xfrm>
              <a:off x="9969500" y="2562225"/>
              <a:ext cx="277813" cy="625475"/>
            </a:xfrm>
            <a:custGeom>
              <a:avLst/>
              <a:gdLst>
                <a:gd name="T0" fmla="*/ 23 w 74"/>
                <a:gd name="T1" fmla="*/ 88 h 167"/>
                <a:gd name="T2" fmla="*/ 21 w 74"/>
                <a:gd name="T3" fmla="*/ 84 h 167"/>
                <a:gd name="T4" fmla="*/ 12 w 74"/>
                <a:gd name="T5" fmla="*/ 85 h 167"/>
                <a:gd name="T6" fmla="*/ 14 w 74"/>
                <a:gd name="T7" fmla="*/ 71 h 167"/>
                <a:gd name="T8" fmla="*/ 4 w 74"/>
                <a:gd name="T9" fmla="*/ 45 h 167"/>
                <a:gd name="T10" fmla="*/ 12 w 74"/>
                <a:gd name="T11" fmla="*/ 35 h 167"/>
                <a:gd name="T12" fmla="*/ 16 w 74"/>
                <a:gd name="T13" fmla="*/ 27 h 167"/>
                <a:gd name="T14" fmla="*/ 32 w 74"/>
                <a:gd name="T15" fmla="*/ 23 h 167"/>
                <a:gd name="T16" fmla="*/ 30 w 74"/>
                <a:gd name="T17" fmla="*/ 14 h 167"/>
                <a:gd name="T18" fmla="*/ 39 w 74"/>
                <a:gd name="T19" fmla="*/ 1 h 167"/>
                <a:gd name="T20" fmla="*/ 48 w 74"/>
                <a:gd name="T21" fmla="*/ 13 h 167"/>
                <a:gd name="T22" fmla="*/ 46 w 74"/>
                <a:gd name="T23" fmla="*/ 19 h 167"/>
                <a:gd name="T24" fmla="*/ 45 w 74"/>
                <a:gd name="T25" fmla="*/ 25 h 167"/>
                <a:gd name="T26" fmla="*/ 60 w 74"/>
                <a:gd name="T27" fmla="*/ 31 h 167"/>
                <a:gd name="T28" fmla="*/ 67 w 74"/>
                <a:gd name="T29" fmla="*/ 38 h 167"/>
                <a:gd name="T30" fmla="*/ 72 w 74"/>
                <a:gd name="T31" fmla="*/ 50 h 167"/>
                <a:gd name="T32" fmla="*/ 60 w 74"/>
                <a:gd name="T33" fmla="*/ 67 h 167"/>
                <a:gd name="T34" fmla="*/ 55 w 74"/>
                <a:gd name="T35" fmla="*/ 88 h 167"/>
                <a:gd name="T36" fmla="*/ 53 w 74"/>
                <a:gd name="T37" fmla="*/ 122 h 167"/>
                <a:gd name="T38" fmla="*/ 50 w 74"/>
                <a:gd name="T39" fmla="*/ 138 h 167"/>
                <a:gd name="T40" fmla="*/ 48 w 74"/>
                <a:gd name="T41" fmla="*/ 144 h 167"/>
                <a:gd name="T42" fmla="*/ 56 w 74"/>
                <a:gd name="T43" fmla="*/ 155 h 167"/>
                <a:gd name="T44" fmla="*/ 44 w 74"/>
                <a:gd name="T45" fmla="*/ 151 h 167"/>
                <a:gd name="T46" fmla="*/ 39 w 74"/>
                <a:gd name="T47" fmla="*/ 148 h 167"/>
                <a:gd name="T48" fmla="*/ 39 w 74"/>
                <a:gd name="T49" fmla="*/ 139 h 167"/>
                <a:gd name="T50" fmla="*/ 40 w 74"/>
                <a:gd name="T51" fmla="*/ 125 h 167"/>
                <a:gd name="T52" fmla="*/ 40 w 74"/>
                <a:gd name="T53" fmla="*/ 120 h 167"/>
                <a:gd name="T54" fmla="*/ 40 w 74"/>
                <a:gd name="T55" fmla="*/ 116 h 167"/>
                <a:gd name="T56" fmla="*/ 40 w 74"/>
                <a:gd name="T57" fmla="*/ 105 h 167"/>
                <a:gd name="T58" fmla="*/ 39 w 74"/>
                <a:gd name="T59" fmla="*/ 97 h 167"/>
                <a:gd name="T60" fmla="*/ 36 w 74"/>
                <a:gd name="T61" fmla="*/ 104 h 167"/>
                <a:gd name="T62" fmla="*/ 33 w 74"/>
                <a:gd name="T63" fmla="*/ 117 h 167"/>
                <a:gd name="T64" fmla="*/ 27 w 74"/>
                <a:gd name="T65" fmla="*/ 146 h 167"/>
                <a:gd name="T66" fmla="*/ 26 w 74"/>
                <a:gd name="T67" fmla="*/ 152 h 167"/>
                <a:gd name="T68" fmla="*/ 22 w 74"/>
                <a:gd name="T69" fmla="*/ 167 h 167"/>
                <a:gd name="T70" fmla="*/ 17 w 74"/>
                <a:gd name="T71" fmla="*/ 154 h 167"/>
                <a:gd name="T72" fmla="*/ 18 w 74"/>
                <a:gd name="T73" fmla="*/ 141 h 167"/>
                <a:gd name="T74" fmla="*/ 20 w 74"/>
                <a:gd name="T75" fmla="*/ 122 h 167"/>
                <a:gd name="T76" fmla="*/ 23 w 74"/>
                <a:gd name="T77" fmla="*/ 113 h 167"/>
                <a:gd name="T78" fmla="*/ 23 w 74"/>
                <a:gd name="T79" fmla="*/ 106 h 167"/>
                <a:gd name="T80" fmla="*/ 18 w 74"/>
                <a:gd name="T81" fmla="*/ 42 h 167"/>
                <a:gd name="T82" fmla="*/ 13 w 74"/>
                <a:gd name="T83" fmla="*/ 53 h 167"/>
                <a:gd name="T84" fmla="*/ 16 w 74"/>
                <a:gd name="T85" fmla="*/ 59 h 167"/>
                <a:gd name="T86" fmla="*/ 18 w 74"/>
                <a:gd name="T87" fmla="*/ 42 h 167"/>
                <a:gd name="T88" fmla="*/ 59 w 74"/>
                <a:gd name="T89" fmla="*/ 53 h 167"/>
                <a:gd name="T90" fmla="*/ 63 w 74"/>
                <a:gd name="T91" fmla="*/ 48 h 167"/>
                <a:gd name="T92" fmla="*/ 59 w 74"/>
                <a:gd name="T93" fmla="*/ 45 h 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"/>
                <a:gd name="T142" fmla="*/ 0 h 167"/>
                <a:gd name="T143" fmla="*/ 74 w 74"/>
                <a:gd name="T144" fmla="*/ 167 h 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" h="167">
                  <a:moveTo>
                    <a:pt x="23" y="96"/>
                  </a:moveTo>
                  <a:cubicBezTo>
                    <a:pt x="23" y="95"/>
                    <a:pt x="23" y="94"/>
                    <a:pt x="23" y="93"/>
                  </a:cubicBezTo>
                  <a:cubicBezTo>
                    <a:pt x="23" y="92"/>
                    <a:pt x="23" y="89"/>
                    <a:pt x="23" y="88"/>
                  </a:cubicBezTo>
                  <a:cubicBezTo>
                    <a:pt x="24" y="88"/>
                    <a:pt x="23" y="88"/>
                    <a:pt x="23" y="88"/>
                  </a:cubicBezTo>
                  <a:cubicBezTo>
                    <a:pt x="23" y="87"/>
                    <a:pt x="23" y="86"/>
                    <a:pt x="23" y="85"/>
                  </a:cubicBezTo>
                  <a:cubicBezTo>
                    <a:pt x="23" y="85"/>
                    <a:pt x="22" y="84"/>
                    <a:pt x="21" y="84"/>
                  </a:cubicBezTo>
                  <a:cubicBezTo>
                    <a:pt x="21" y="84"/>
                    <a:pt x="21" y="86"/>
                    <a:pt x="19" y="87"/>
                  </a:cubicBezTo>
                  <a:cubicBezTo>
                    <a:pt x="17" y="88"/>
                    <a:pt x="15" y="86"/>
                    <a:pt x="13" y="86"/>
                  </a:cubicBezTo>
                  <a:cubicBezTo>
                    <a:pt x="12" y="85"/>
                    <a:pt x="13" y="85"/>
                    <a:pt x="12" y="85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1" y="84"/>
                    <a:pt x="12" y="82"/>
                    <a:pt x="13" y="80"/>
                  </a:cubicBezTo>
                  <a:cubicBezTo>
                    <a:pt x="13" y="79"/>
                    <a:pt x="14" y="72"/>
                    <a:pt x="14" y="71"/>
                  </a:cubicBezTo>
                  <a:cubicBezTo>
                    <a:pt x="14" y="71"/>
                    <a:pt x="11" y="67"/>
                    <a:pt x="10" y="65"/>
                  </a:cubicBezTo>
                  <a:cubicBezTo>
                    <a:pt x="8" y="64"/>
                    <a:pt x="3" y="56"/>
                    <a:pt x="1" y="53"/>
                  </a:cubicBezTo>
                  <a:cubicBezTo>
                    <a:pt x="0" y="51"/>
                    <a:pt x="2" y="48"/>
                    <a:pt x="4" y="45"/>
                  </a:cubicBezTo>
                  <a:cubicBezTo>
                    <a:pt x="6" y="42"/>
                    <a:pt x="8" y="40"/>
                    <a:pt x="9" y="40"/>
                  </a:cubicBezTo>
                  <a:cubicBezTo>
                    <a:pt x="10" y="39"/>
                    <a:pt x="11" y="37"/>
                    <a:pt x="11" y="37"/>
                  </a:cubicBezTo>
                  <a:cubicBezTo>
                    <a:pt x="11" y="36"/>
                    <a:pt x="12" y="36"/>
                    <a:pt x="12" y="35"/>
                  </a:cubicBezTo>
                  <a:cubicBezTo>
                    <a:pt x="13" y="35"/>
                    <a:pt x="13" y="34"/>
                    <a:pt x="14" y="33"/>
                  </a:cubicBezTo>
                  <a:cubicBezTo>
                    <a:pt x="14" y="33"/>
                    <a:pt x="14" y="32"/>
                    <a:pt x="15" y="31"/>
                  </a:cubicBezTo>
                  <a:cubicBezTo>
                    <a:pt x="15" y="31"/>
                    <a:pt x="15" y="29"/>
                    <a:pt x="16" y="27"/>
                  </a:cubicBezTo>
                  <a:cubicBezTo>
                    <a:pt x="16" y="26"/>
                    <a:pt x="20" y="25"/>
                    <a:pt x="22" y="25"/>
                  </a:cubicBezTo>
                  <a:cubicBezTo>
                    <a:pt x="24" y="25"/>
                    <a:pt x="27" y="24"/>
                    <a:pt x="29" y="25"/>
                  </a:cubicBezTo>
                  <a:cubicBezTo>
                    <a:pt x="30" y="25"/>
                    <a:pt x="30" y="24"/>
                    <a:pt x="32" y="23"/>
                  </a:cubicBezTo>
                  <a:cubicBezTo>
                    <a:pt x="34" y="21"/>
                    <a:pt x="33" y="19"/>
                    <a:pt x="33" y="18"/>
                  </a:cubicBezTo>
                  <a:cubicBezTo>
                    <a:pt x="33" y="18"/>
                    <a:pt x="33" y="18"/>
                    <a:pt x="32" y="18"/>
                  </a:cubicBezTo>
                  <a:cubicBezTo>
                    <a:pt x="31" y="17"/>
                    <a:pt x="31" y="15"/>
                    <a:pt x="30" y="14"/>
                  </a:cubicBezTo>
                  <a:cubicBezTo>
                    <a:pt x="30" y="13"/>
                    <a:pt x="30" y="12"/>
                    <a:pt x="31" y="12"/>
                  </a:cubicBezTo>
                  <a:cubicBezTo>
                    <a:pt x="31" y="12"/>
                    <a:pt x="30" y="8"/>
                    <a:pt x="31" y="5"/>
                  </a:cubicBezTo>
                  <a:cubicBezTo>
                    <a:pt x="32" y="2"/>
                    <a:pt x="37" y="1"/>
                    <a:pt x="39" y="1"/>
                  </a:cubicBezTo>
                  <a:cubicBezTo>
                    <a:pt x="42" y="0"/>
                    <a:pt x="45" y="3"/>
                    <a:pt x="47" y="5"/>
                  </a:cubicBezTo>
                  <a:cubicBezTo>
                    <a:pt x="48" y="7"/>
                    <a:pt x="48" y="11"/>
                    <a:pt x="47" y="12"/>
                  </a:cubicBezTo>
                  <a:cubicBezTo>
                    <a:pt x="47" y="13"/>
                    <a:pt x="47" y="13"/>
                    <a:pt x="48" y="13"/>
                  </a:cubicBezTo>
                  <a:cubicBezTo>
                    <a:pt x="48" y="13"/>
                    <a:pt x="48" y="14"/>
                    <a:pt x="47" y="16"/>
                  </a:cubicBezTo>
                  <a:cubicBezTo>
                    <a:pt x="47" y="18"/>
                    <a:pt x="47" y="18"/>
                    <a:pt x="46" y="18"/>
                  </a:cubicBezTo>
                  <a:cubicBezTo>
                    <a:pt x="46" y="18"/>
                    <a:pt x="46" y="18"/>
                    <a:pt x="46" y="19"/>
                  </a:cubicBezTo>
                  <a:cubicBezTo>
                    <a:pt x="46" y="20"/>
                    <a:pt x="45" y="22"/>
                    <a:pt x="44" y="23"/>
                  </a:cubicBezTo>
                  <a:cubicBezTo>
                    <a:pt x="44" y="23"/>
                    <a:pt x="44" y="24"/>
                    <a:pt x="44" y="24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6" y="24"/>
                    <a:pt x="52" y="24"/>
                    <a:pt x="55" y="24"/>
                  </a:cubicBezTo>
                  <a:cubicBezTo>
                    <a:pt x="57" y="24"/>
                    <a:pt x="57" y="26"/>
                    <a:pt x="58" y="27"/>
                  </a:cubicBezTo>
                  <a:cubicBezTo>
                    <a:pt x="59" y="28"/>
                    <a:pt x="60" y="30"/>
                    <a:pt x="60" y="31"/>
                  </a:cubicBezTo>
                  <a:cubicBezTo>
                    <a:pt x="61" y="31"/>
                    <a:pt x="61" y="32"/>
                    <a:pt x="62" y="33"/>
                  </a:cubicBezTo>
                  <a:cubicBezTo>
                    <a:pt x="62" y="33"/>
                    <a:pt x="64" y="35"/>
                    <a:pt x="64" y="36"/>
                  </a:cubicBezTo>
                  <a:cubicBezTo>
                    <a:pt x="65" y="36"/>
                    <a:pt x="66" y="38"/>
                    <a:pt x="67" y="38"/>
                  </a:cubicBezTo>
                  <a:cubicBezTo>
                    <a:pt x="67" y="38"/>
                    <a:pt x="68" y="40"/>
                    <a:pt x="69" y="41"/>
                  </a:cubicBezTo>
                  <a:cubicBezTo>
                    <a:pt x="70" y="41"/>
                    <a:pt x="72" y="43"/>
                    <a:pt x="73" y="45"/>
                  </a:cubicBezTo>
                  <a:cubicBezTo>
                    <a:pt x="74" y="47"/>
                    <a:pt x="73" y="49"/>
                    <a:pt x="72" y="50"/>
                  </a:cubicBezTo>
                  <a:cubicBezTo>
                    <a:pt x="71" y="51"/>
                    <a:pt x="69" y="55"/>
                    <a:pt x="68" y="57"/>
                  </a:cubicBezTo>
                  <a:cubicBezTo>
                    <a:pt x="67" y="58"/>
                    <a:pt x="63" y="62"/>
                    <a:pt x="63" y="63"/>
                  </a:cubicBezTo>
                  <a:cubicBezTo>
                    <a:pt x="62" y="63"/>
                    <a:pt x="60" y="67"/>
                    <a:pt x="60" y="67"/>
                  </a:cubicBezTo>
                  <a:cubicBezTo>
                    <a:pt x="59" y="67"/>
                    <a:pt x="61" y="77"/>
                    <a:pt x="62" y="79"/>
                  </a:cubicBezTo>
                  <a:cubicBezTo>
                    <a:pt x="62" y="82"/>
                    <a:pt x="56" y="82"/>
                    <a:pt x="56" y="81"/>
                  </a:cubicBezTo>
                  <a:cubicBezTo>
                    <a:pt x="55" y="81"/>
                    <a:pt x="55" y="86"/>
                    <a:pt x="55" y="88"/>
                  </a:cubicBezTo>
                  <a:cubicBezTo>
                    <a:pt x="55" y="90"/>
                    <a:pt x="55" y="93"/>
                    <a:pt x="55" y="94"/>
                  </a:cubicBezTo>
                  <a:cubicBezTo>
                    <a:pt x="54" y="96"/>
                    <a:pt x="53" y="113"/>
                    <a:pt x="53" y="115"/>
                  </a:cubicBezTo>
                  <a:cubicBezTo>
                    <a:pt x="53" y="118"/>
                    <a:pt x="53" y="120"/>
                    <a:pt x="53" y="122"/>
                  </a:cubicBezTo>
                  <a:cubicBezTo>
                    <a:pt x="53" y="123"/>
                    <a:pt x="53" y="124"/>
                    <a:pt x="53" y="125"/>
                  </a:cubicBezTo>
                  <a:cubicBezTo>
                    <a:pt x="52" y="126"/>
                    <a:pt x="50" y="130"/>
                    <a:pt x="50" y="133"/>
                  </a:cubicBezTo>
                  <a:cubicBezTo>
                    <a:pt x="49" y="135"/>
                    <a:pt x="50" y="136"/>
                    <a:pt x="50" y="138"/>
                  </a:cubicBezTo>
                  <a:cubicBezTo>
                    <a:pt x="50" y="139"/>
                    <a:pt x="49" y="140"/>
                    <a:pt x="49" y="140"/>
                  </a:cubicBezTo>
                  <a:cubicBezTo>
                    <a:pt x="49" y="141"/>
                    <a:pt x="49" y="141"/>
                    <a:pt x="48" y="142"/>
                  </a:cubicBezTo>
                  <a:cubicBezTo>
                    <a:pt x="47" y="143"/>
                    <a:pt x="48" y="143"/>
                    <a:pt x="48" y="144"/>
                  </a:cubicBezTo>
                  <a:cubicBezTo>
                    <a:pt x="49" y="144"/>
                    <a:pt x="49" y="145"/>
                    <a:pt x="48" y="146"/>
                  </a:cubicBezTo>
                  <a:cubicBezTo>
                    <a:pt x="48" y="146"/>
                    <a:pt x="54" y="152"/>
                    <a:pt x="55" y="153"/>
                  </a:cubicBezTo>
                  <a:cubicBezTo>
                    <a:pt x="57" y="153"/>
                    <a:pt x="57" y="154"/>
                    <a:pt x="56" y="155"/>
                  </a:cubicBezTo>
                  <a:cubicBezTo>
                    <a:pt x="56" y="155"/>
                    <a:pt x="53" y="156"/>
                    <a:pt x="51" y="156"/>
                  </a:cubicBezTo>
                  <a:cubicBezTo>
                    <a:pt x="49" y="156"/>
                    <a:pt x="45" y="154"/>
                    <a:pt x="45" y="153"/>
                  </a:cubicBezTo>
                  <a:cubicBezTo>
                    <a:pt x="45" y="153"/>
                    <a:pt x="44" y="152"/>
                    <a:pt x="44" y="151"/>
                  </a:cubicBezTo>
                  <a:cubicBezTo>
                    <a:pt x="43" y="150"/>
                    <a:pt x="43" y="151"/>
                    <a:pt x="42" y="151"/>
                  </a:cubicBezTo>
                  <a:cubicBezTo>
                    <a:pt x="42" y="151"/>
                    <a:pt x="39" y="150"/>
                    <a:pt x="39" y="150"/>
                  </a:cubicBezTo>
                  <a:cubicBezTo>
                    <a:pt x="38" y="149"/>
                    <a:pt x="39" y="149"/>
                    <a:pt x="39" y="148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38" y="145"/>
                    <a:pt x="38" y="144"/>
                  </a:cubicBezTo>
                  <a:cubicBezTo>
                    <a:pt x="37" y="143"/>
                    <a:pt x="38" y="140"/>
                    <a:pt x="39" y="139"/>
                  </a:cubicBezTo>
                  <a:cubicBezTo>
                    <a:pt x="40" y="138"/>
                    <a:pt x="40" y="137"/>
                    <a:pt x="40" y="136"/>
                  </a:cubicBezTo>
                  <a:cubicBezTo>
                    <a:pt x="40" y="135"/>
                    <a:pt x="40" y="130"/>
                    <a:pt x="40" y="129"/>
                  </a:cubicBezTo>
                  <a:cubicBezTo>
                    <a:pt x="40" y="127"/>
                    <a:pt x="40" y="126"/>
                    <a:pt x="40" y="125"/>
                  </a:cubicBezTo>
                  <a:cubicBezTo>
                    <a:pt x="40" y="125"/>
                    <a:pt x="40" y="125"/>
                    <a:pt x="40" y="124"/>
                  </a:cubicBezTo>
                  <a:cubicBezTo>
                    <a:pt x="40" y="124"/>
                    <a:pt x="40" y="123"/>
                    <a:pt x="40" y="122"/>
                  </a:cubicBezTo>
                  <a:cubicBezTo>
                    <a:pt x="39" y="121"/>
                    <a:pt x="40" y="121"/>
                    <a:pt x="40" y="120"/>
                  </a:cubicBezTo>
                  <a:cubicBezTo>
                    <a:pt x="40" y="120"/>
                    <a:pt x="40" y="120"/>
                    <a:pt x="40" y="119"/>
                  </a:cubicBezTo>
                  <a:cubicBezTo>
                    <a:pt x="40" y="119"/>
                    <a:pt x="40" y="119"/>
                    <a:pt x="40" y="118"/>
                  </a:cubicBezTo>
                  <a:cubicBezTo>
                    <a:pt x="41" y="117"/>
                    <a:pt x="41" y="117"/>
                    <a:pt x="40" y="116"/>
                  </a:cubicBezTo>
                  <a:cubicBezTo>
                    <a:pt x="40" y="116"/>
                    <a:pt x="40" y="115"/>
                    <a:pt x="41" y="114"/>
                  </a:cubicBezTo>
                  <a:cubicBezTo>
                    <a:pt x="41" y="113"/>
                    <a:pt x="40" y="110"/>
                    <a:pt x="40" y="108"/>
                  </a:cubicBezTo>
                  <a:cubicBezTo>
                    <a:pt x="40" y="107"/>
                    <a:pt x="40" y="105"/>
                    <a:pt x="40" y="105"/>
                  </a:cubicBezTo>
                  <a:cubicBezTo>
                    <a:pt x="40" y="104"/>
                    <a:pt x="40" y="104"/>
                    <a:pt x="39" y="104"/>
                  </a:cubicBezTo>
                  <a:cubicBezTo>
                    <a:pt x="39" y="103"/>
                    <a:pt x="39" y="97"/>
                    <a:pt x="39" y="96"/>
                  </a:cubicBezTo>
                  <a:cubicBezTo>
                    <a:pt x="39" y="96"/>
                    <a:pt x="39" y="96"/>
                    <a:pt x="39" y="97"/>
                  </a:cubicBezTo>
                  <a:cubicBezTo>
                    <a:pt x="39" y="98"/>
                    <a:pt x="37" y="100"/>
                    <a:pt x="38" y="101"/>
                  </a:cubicBezTo>
                  <a:cubicBezTo>
                    <a:pt x="38" y="101"/>
                    <a:pt x="38" y="101"/>
                    <a:pt x="37" y="102"/>
                  </a:cubicBezTo>
                  <a:cubicBezTo>
                    <a:pt x="37" y="102"/>
                    <a:pt x="37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6" y="106"/>
                    <a:pt x="35" y="107"/>
                    <a:pt x="35" y="108"/>
                  </a:cubicBezTo>
                  <a:cubicBezTo>
                    <a:pt x="35" y="108"/>
                    <a:pt x="33" y="116"/>
                    <a:pt x="33" y="117"/>
                  </a:cubicBezTo>
                  <a:cubicBezTo>
                    <a:pt x="33" y="119"/>
                    <a:pt x="33" y="119"/>
                    <a:pt x="33" y="120"/>
                  </a:cubicBezTo>
                  <a:cubicBezTo>
                    <a:pt x="33" y="121"/>
                    <a:pt x="30" y="134"/>
                    <a:pt x="29" y="136"/>
                  </a:cubicBezTo>
                  <a:cubicBezTo>
                    <a:pt x="29" y="139"/>
                    <a:pt x="28" y="145"/>
                    <a:pt x="27" y="146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48"/>
                    <a:pt x="28" y="148"/>
                    <a:pt x="27" y="149"/>
                  </a:cubicBezTo>
                  <a:cubicBezTo>
                    <a:pt x="27" y="151"/>
                    <a:pt x="26" y="151"/>
                    <a:pt x="26" y="152"/>
                  </a:cubicBezTo>
                  <a:cubicBezTo>
                    <a:pt x="26" y="153"/>
                    <a:pt x="26" y="155"/>
                    <a:pt x="25" y="155"/>
                  </a:cubicBezTo>
                  <a:cubicBezTo>
                    <a:pt x="24" y="156"/>
                    <a:pt x="26" y="158"/>
                    <a:pt x="27" y="162"/>
                  </a:cubicBezTo>
                  <a:cubicBezTo>
                    <a:pt x="28" y="166"/>
                    <a:pt x="25" y="167"/>
                    <a:pt x="22" y="167"/>
                  </a:cubicBezTo>
                  <a:cubicBezTo>
                    <a:pt x="19" y="167"/>
                    <a:pt x="17" y="163"/>
                    <a:pt x="17" y="161"/>
                  </a:cubicBezTo>
                  <a:cubicBezTo>
                    <a:pt x="17" y="160"/>
                    <a:pt x="17" y="158"/>
                    <a:pt x="17" y="156"/>
                  </a:cubicBezTo>
                  <a:cubicBezTo>
                    <a:pt x="16" y="155"/>
                    <a:pt x="17" y="155"/>
                    <a:pt x="17" y="154"/>
                  </a:cubicBezTo>
                  <a:cubicBezTo>
                    <a:pt x="16" y="154"/>
                    <a:pt x="16" y="151"/>
                    <a:pt x="15" y="150"/>
                  </a:cubicBezTo>
                  <a:cubicBezTo>
                    <a:pt x="15" y="148"/>
                    <a:pt x="18" y="146"/>
                    <a:pt x="18" y="146"/>
                  </a:cubicBezTo>
                  <a:cubicBezTo>
                    <a:pt x="19" y="145"/>
                    <a:pt x="19" y="143"/>
                    <a:pt x="18" y="141"/>
                  </a:cubicBezTo>
                  <a:cubicBezTo>
                    <a:pt x="17" y="140"/>
                    <a:pt x="18" y="131"/>
                    <a:pt x="18" y="129"/>
                  </a:cubicBezTo>
                  <a:cubicBezTo>
                    <a:pt x="19" y="127"/>
                    <a:pt x="19" y="126"/>
                    <a:pt x="19" y="125"/>
                  </a:cubicBezTo>
                  <a:cubicBezTo>
                    <a:pt x="19" y="124"/>
                    <a:pt x="19" y="124"/>
                    <a:pt x="20" y="122"/>
                  </a:cubicBezTo>
                  <a:cubicBezTo>
                    <a:pt x="20" y="121"/>
                    <a:pt x="21" y="119"/>
                    <a:pt x="21" y="118"/>
                  </a:cubicBezTo>
                  <a:cubicBezTo>
                    <a:pt x="22" y="117"/>
                    <a:pt x="22" y="117"/>
                    <a:pt x="22" y="115"/>
                  </a:cubicBezTo>
                  <a:cubicBezTo>
                    <a:pt x="22" y="114"/>
                    <a:pt x="22" y="114"/>
                    <a:pt x="23" y="113"/>
                  </a:cubicBezTo>
                  <a:cubicBezTo>
                    <a:pt x="23" y="112"/>
                    <a:pt x="23" y="112"/>
                    <a:pt x="23" y="111"/>
                  </a:cubicBezTo>
                  <a:cubicBezTo>
                    <a:pt x="23" y="110"/>
                    <a:pt x="23" y="109"/>
                    <a:pt x="23" y="108"/>
                  </a:cubicBezTo>
                  <a:cubicBezTo>
                    <a:pt x="23" y="107"/>
                    <a:pt x="23" y="107"/>
                    <a:pt x="23" y="106"/>
                  </a:cubicBezTo>
                  <a:cubicBezTo>
                    <a:pt x="23" y="105"/>
                    <a:pt x="23" y="100"/>
                    <a:pt x="23" y="99"/>
                  </a:cubicBezTo>
                  <a:cubicBezTo>
                    <a:pt x="23" y="99"/>
                    <a:pt x="23" y="97"/>
                    <a:pt x="23" y="96"/>
                  </a:cubicBezTo>
                  <a:close/>
                  <a:moveTo>
                    <a:pt x="18" y="42"/>
                  </a:moveTo>
                  <a:cubicBezTo>
                    <a:pt x="18" y="41"/>
                    <a:pt x="16" y="46"/>
                    <a:pt x="15" y="47"/>
                  </a:cubicBezTo>
                  <a:cubicBezTo>
                    <a:pt x="15" y="48"/>
                    <a:pt x="14" y="50"/>
                    <a:pt x="13" y="51"/>
                  </a:cubicBezTo>
                  <a:cubicBezTo>
                    <a:pt x="13" y="52"/>
                    <a:pt x="13" y="52"/>
                    <a:pt x="13" y="53"/>
                  </a:cubicBezTo>
                  <a:cubicBezTo>
                    <a:pt x="14" y="53"/>
                    <a:pt x="14" y="54"/>
                    <a:pt x="14" y="55"/>
                  </a:cubicBezTo>
                  <a:cubicBezTo>
                    <a:pt x="14" y="56"/>
                    <a:pt x="14" y="56"/>
                    <a:pt x="15" y="56"/>
                  </a:cubicBezTo>
                  <a:cubicBezTo>
                    <a:pt x="16" y="57"/>
                    <a:pt x="16" y="58"/>
                    <a:pt x="16" y="59"/>
                  </a:cubicBezTo>
                  <a:cubicBezTo>
                    <a:pt x="16" y="60"/>
                    <a:pt x="17" y="58"/>
                    <a:pt x="18" y="57"/>
                  </a:cubicBezTo>
                  <a:cubicBezTo>
                    <a:pt x="18" y="56"/>
                    <a:pt x="18" y="53"/>
                    <a:pt x="18" y="52"/>
                  </a:cubicBezTo>
                  <a:cubicBezTo>
                    <a:pt x="18" y="52"/>
                    <a:pt x="18" y="43"/>
                    <a:pt x="18" y="42"/>
                  </a:cubicBezTo>
                  <a:close/>
                  <a:moveTo>
                    <a:pt x="59" y="49"/>
                  </a:moveTo>
                  <a:cubicBezTo>
                    <a:pt x="59" y="50"/>
                    <a:pt x="58" y="56"/>
                    <a:pt x="58" y="55"/>
                  </a:cubicBezTo>
                  <a:cubicBezTo>
                    <a:pt x="59" y="55"/>
                    <a:pt x="58" y="53"/>
                    <a:pt x="59" y="53"/>
                  </a:cubicBezTo>
                  <a:cubicBezTo>
                    <a:pt x="60" y="53"/>
                    <a:pt x="61" y="52"/>
                    <a:pt x="61" y="51"/>
                  </a:cubicBezTo>
                  <a:cubicBezTo>
                    <a:pt x="61" y="50"/>
                    <a:pt x="62" y="50"/>
                    <a:pt x="62" y="50"/>
                  </a:cubicBezTo>
                  <a:cubicBezTo>
                    <a:pt x="63" y="49"/>
                    <a:pt x="63" y="49"/>
                    <a:pt x="63" y="48"/>
                  </a:cubicBezTo>
                  <a:cubicBezTo>
                    <a:pt x="63" y="48"/>
                    <a:pt x="62" y="47"/>
                    <a:pt x="62" y="47"/>
                  </a:cubicBezTo>
                  <a:cubicBezTo>
                    <a:pt x="62" y="47"/>
                    <a:pt x="61" y="47"/>
                    <a:pt x="61" y="46"/>
                  </a:cubicBezTo>
                  <a:cubicBezTo>
                    <a:pt x="61" y="46"/>
                    <a:pt x="59" y="44"/>
                    <a:pt x="59" y="45"/>
                  </a:cubicBezTo>
                  <a:cubicBezTo>
                    <a:pt x="59" y="46"/>
                    <a:pt x="59" y="49"/>
                    <a:pt x="59" y="4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6" name="Freeform 38"/>
            <p:cNvSpPr>
              <a:spLocks noChangeAspect="1"/>
            </p:cNvSpPr>
            <p:nvPr/>
          </p:nvSpPr>
          <p:spPr bwMode="gray">
            <a:xfrm>
              <a:off x="10063163" y="2636838"/>
              <a:ext cx="104775" cy="201613"/>
            </a:xfrm>
            <a:custGeom>
              <a:avLst/>
              <a:gdLst>
                <a:gd name="T0" fmla="*/ 7 w 28"/>
                <a:gd name="T1" fmla="*/ 25 h 54"/>
                <a:gd name="T2" fmla="*/ 4 w 28"/>
                <a:gd name="T3" fmla="*/ 36 h 54"/>
                <a:gd name="T4" fmla="*/ 1 w 28"/>
                <a:gd name="T5" fmla="*/ 45 h 54"/>
                <a:gd name="T6" fmla="*/ 2 w 28"/>
                <a:gd name="T7" fmla="*/ 46 h 54"/>
                <a:gd name="T8" fmla="*/ 5 w 28"/>
                <a:gd name="T9" fmla="*/ 48 h 54"/>
                <a:gd name="T10" fmla="*/ 10 w 28"/>
                <a:gd name="T11" fmla="*/ 51 h 54"/>
                <a:gd name="T12" fmla="*/ 9 w 28"/>
                <a:gd name="T13" fmla="*/ 52 h 54"/>
                <a:gd name="T14" fmla="*/ 4 w 28"/>
                <a:gd name="T15" fmla="*/ 50 h 54"/>
                <a:gd name="T16" fmla="*/ 5 w 28"/>
                <a:gd name="T17" fmla="*/ 50 h 54"/>
                <a:gd name="T18" fmla="*/ 8 w 28"/>
                <a:gd name="T19" fmla="*/ 53 h 54"/>
                <a:gd name="T20" fmla="*/ 9 w 28"/>
                <a:gd name="T21" fmla="*/ 54 h 54"/>
                <a:gd name="T22" fmla="*/ 17 w 28"/>
                <a:gd name="T23" fmla="*/ 54 h 54"/>
                <a:gd name="T24" fmla="*/ 19 w 28"/>
                <a:gd name="T25" fmla="*/ 54 h 54"/>
                <a:gd name="T26" fmla="*/ 25 w 28"/>
                <a:gd name="T27" fmla="*/ 51 h 54"/>
                <a:gd name="T28" fmla="*/ 25 w 28"/>
                <a:gd name="T29" fmla="*/ 44 h 54"/>
                <a:gd name="T30" fmla="*/ 26 w 28"/>
                <a:gd name="T31" fmla="*/ 42 h 54"/>
                <a:gd name="T32" fmla="*/ 27 w 28"/>
                <a:gd name="T33" fmla="*/ 39 h 54"/>
                <a:gd name="T34" fmla="*/ 27 w 28"/>
                <a:gd name="T35" fmla="*/ 35 h 54"/>
                <a:gd name="T36" fmla="*/ 25 w 28"/>
                <a:gd name="T37" fmla="*/ 23 h 54"/>
                <a:gd name="T38" fmla="*/ 21 w 28"/>
                <a:gd name="T39" fmla="*/ 14 h 54"/>
                <a:gd name="T40" fmla="*/ 20 w 28"/>
                <a:gd name="T41" fmla="*/ 6 h 54"/>
                <a:gd name="T42" fmla="*/ 19 w 28"/>
                <a:gd name="T43" fmla="*/ 3 h 54"/>
                <a:gd name="T44" fmla="*/ 15 w 28"/>
                <a:gd name="T45" fmla="*/ 6 h 54"/>
                <a:gd name="T46" fmla="*/ 9 w 28"/>
                <a:gd name="T47" fmla="*/ 2 h 54"/>
                <a:gd name="T48" fmla="*/ 8 w 28"/>
                <a:gd name="T49" fmla="*/ 1 h 54"/>
                <a:gd name="T50" fmla="*/ 7 w 28"/>
                <a:gd name="T51" fmla="*/ 2 h 54"/>
                <a:gd name="T52" fmla="*/ 7 w 28"/>
                <a:gd name="T53" fmla="*/ 3 h 54"/>
                <a:gd name="T54" fmla="*/ 8 w 28"/>
                <a:gd name="T55" fmla="*/ 14 h 54"/>
                <a:gd name="T56" fmla="*/ 7 w 28"/>
                <a:gd name="T57" fmla="*/ 25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8"/>
                <a:gd name="T88" fmla="*/ 0 h 54"/>
                <a:gd name="T89" fmla="*/ 28 w 28"/>
                <a:gd name="T90" fmla="*/ 54 h 5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8" h="54">
                  <a:moveTo>
                    <a:pt x="7" y="25"/>
                  </a:moveTo>
                  <a:cubicBezTo>
                    <a:pt x="6" y="27"/>
                    <a:pt x="5" y="33"/>
                    <a:pt x="4" y="36"/>
                  </a:cubicBezTo>
                  <a:cubicBezTo>
                    <a:pt x="2" y="40"/>
                    <a:pt x="0" y="44"/>
                    <a:pt x="1" y="45"/>
                  </a:cubicBezTo>
                  <a:cubicBezTo>
                    <a:pt x="1" y="45"/>
                    <a:pt x="1" y="46"/>
                    <a:pt x="2" y="46"/>
                  </a:cubicBezTo>
                  <a:cubicBezTo>
                    <a:pt x="2" y="47"/>
                    <a:pt x="3" y="47"/>
                    <a:pt x="5" y="48"/>
                  </a:cubicBezTo>
                  <a:cubicBezTo>
                    <a:pt x="7" y="49"/>
                    <a:pt x="10" y="50"/>
                    <a:pt x="10" y="51"/>
                  </a:cubicBezTo>
                  <a:cubicBezTo>
                    <a:pt x="10" y="52"/>
                    <a:pt x="9" y="52"/>
                    <a:pt x="9" y="52"/>
                  </a:cubicBezTo>
                  <a:cubicBezTo>
                    <a:pt x="8" y="51"/>
                    <a:pt x="5" y="49"/>
                    <a:pt x="4" y="50"/>
                  </a:cubicBezTo>
                  <a:cubicBezTo>
                    <a:pt x="4" y="50"/>
                    <a:pt x="4" y="50"/>
                    <a:pt x="5" y="50"/>
                  </a:cubicBezTo>
                  <a:cubicBezTo>
                    <a:pt x="5" y="51"/>
                    <a:pt x="7" y="53"/>
                    <a:pt x="8" y="53"/>
                  </a:cubicBezTo>
                  <a:cubicBezTo>
                    <a:pt x="8" y="54"/>
                    <a:pt x="8" y="54"/>
                    <a:pt x="9" y="54"/>
                  </a:cubicBezTo>
                  <a:cubicBezTo>
                    <a:pt x="10" y="54"/>
                    <a:pt x="16" y="54"/>
                    <a:pt x="17" y="54"/>
                  </a:cubicBezTo>
                  <a:cubicBezTo>
                    <a:pt x="18" y="54"/>
                    <a:pt x="18" y="54"/>
                    <a:pt x="19" y="54"/>
                  </a:cubicBezTo>
                  <a:cubicBezTo>
                    <a:pt x="20" y="54"/>
                    <a:pt x="25" y="52"/>
                    <a:pt x="25" y="51"/>
                  </a:cubicBezTo>
                  <a:cubicBezTo>
                    <a:pt x="25" y="51"/>
                    <a:pt x="25" y="45"/>
                    <a:pt x="25" y="44"/>
                  </a:cubicBezTo>
                  <a:cubicBezTo>
                    <a:pt x="26" y="43"/>
                    <a:pt x="26" y="42"/>
                    <a:pt x="26" y="42"/>
                  </a:cubicBezTo>
                  <a:cubicBezTo>
                    <a:pt x="26" y="41"/>
                    <a:pt x="26" y="40"/>
                    <a:pt x="27" y="39"/>
                  </a:cubicBezTo>
                  <a:cubicBezTo>
                    <a:pt x="27" y="38"/>
                    <a:pt x="28" y="37"/>
                    <a:pt x="27" y="35"/>
                  </a:cubicBezTo>
                  <a:cubicBezTo>
                    <a:pt x="27" y="34"/>
                    <a:pt x="26" y="25"/>
                    <a:pt x="25" y="23"/>
                  </a:cubicBezTo>
                  <a:cubicBezTo>
                    <a:pt x="25" y="21"/>
                    <a:pt x="22" y="17"/>
                    <a:pt x="21" y="14"/>
                  </a:cubicBezTo>
                  <a:cubicBezTo>
                    <a:pt x="21" y="10"/>
                    <a:pt x="20" y="7"/>
                    <a:pt x="20" y="6"/>
                  </a:cubicBezTo>
                  <a:cubicBezTo>
                    <a:pt x="20" y="4"/>
                    <a:pt x="20" y="2"/>
                    <a:pt x="19" y="3"/>
                  </a:cubicBezTo>
                  <a:cubicBezTo>
                    <a:pt x="18" y="4"/>
                    <a:pt x="15" y="7"/>
                    <a:pt x="15" y="6"/>
                  </a:cubicBezTo>
                  <a:cubicBezTo>
                    <a:pt x="14" y="5"/>
                    <a:pt x="10" y="3"/>
                    <a:pt x="9" y="2"/>
                  </a:cubicBezTo>
                  <a:cubicBezTo>
                    <a:pt x="8" y="1"/>
                    <a:pt x="8" y="0"/>
                    <a:pt x="8" y="1"/>
                  </a:cubicBezTo>
                  <a:cubicBezTo>
                    <a:pt x="8" y="1"/>
                    <a:pt x="8" y="2"/>
                    <a:pt x="7" y="2"/>
                  </a:cubicBezTo>
                  <a:cubicBezTo>
                    <a:pt x="7" y="3"/>
                    <a:pt x="7" y="2"/>
                    <a:pt x="7" y="3"/>
                  </a:cubicBezTo>
                  <a:cubicBezTo>
                    <a:pt x="7" y="3"/>
                    <a:pt x="8" y="9"/>
                    <a:pt x="8" y="14"/>
                  </a:cubicBezTo>
                  <a:cubicBezTo>
                    <a:pt x="7" y="18"/>
                    <a:pt x="7" y="25"/>
                    <a:pt x="7" y="25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7" name="Freeform 39"/>
            <p:cNvSpPr>
              <a:spLocks noChangeAspect="1"/>
            </p:cNvSpPr>
            <p:nvPr/>
          </p:nvSpPr>
          <p:spPr bwMode="gray">
            <a:xfrm>
              <a:off x="10107613" y="2659063"/>
              <a:ext cx="57150" cy="184150"/>
            </a:xfrm>
            <a:custGeom>
              <a:avLst/>
              <a:gdLst>
                <a:gd name="T0" fmla="*/ 1 w 15"/>
                <a:gd name="T1" fmla="*/ 2 h 49"/>
                <a:gd name="T2" fmla="*/ 2 w 15"/>
                <a:gd name="T3" fmla="*/ 3 h 49"/>
                <a:gd name="T4" fmla="*/ 2 w 15"/>
                <a:gd name="T5" fmla="*/ 5 h 49"/>
                <a:gd name="T6" fmla="*/ 2 w 15"/>
                <a:gd name="T7" fmla="*/ 10 h 49"/>
                <a:gd name="T8" fmla="*/ 4 w 15"/>
                <a:gd name="T9" fmla="*/ 29 h 49"/>
                <a:gd name="T10" fmla="*/ 6 w 15"/>
                <a:gd name="T11" fmla="*/ 45 h 49"/>
                <a:gd name="T12" fmla="*/ 10 w 15"/>
                <a:gd name="T13" fmla="*/ 48 h 49"/>
                <a:gd name="T14" fmla="*/ 14 w 15"/>
                <a:gd name="T15" fmla="*/ 42 h 49"/>
                <a:gd name="T16" fmla="*/ 11 w 15"/>
                <a:gd name="T17" fmla="*/ 24 h 49"/>
                <a:gd name="T18" fmla="*/ 8 w 15"/>
                <a:gd name="T19" fmla="*/ 9 h 49"/>
                <a:gd name="T20" fmla="*/ 6 w 15"/>
                <a:gd name="T21" fmla="*/ 5 h 49"/>
                <a:gd name="T22" fmla="*/ 5 w 15"/>
                <a:gd name="T23" fmla="*/ 3 h 49"/>
                <a:gd name="T24" fmla="*/ 6 w 15"/>
                <a:gd name="T25" fmla="*/ 1 h 49"/>
                <a:gd name="T26" fmla="*/ 2 w 15"/>
                <a:gd name="T27" fmla="*/ 0 h 49"/>
                <a:gd name="T28" fmla="*/ 0 w 15"/>
                <a:gd name="T29" fmla="*/ 1 h 49"/>
                <a:gd name="T30" fmla="*/ 1 w 15"/>
                <a:gd name="T31" fmla="*/ 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49"/>
                <a:gd name="T50" fmla="*/ 15 w 15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49">
                  <a:moveTo>
                    <a:pt x="1" y="2"/>
                  </a:moveTo>
                  <a:cubicBezTo>
                    <a:pt x="1" y="2"/>
                    <a:pt x="2" y="3"/>
                    <a:pt x="2" y="3"/>
                  </a:cubicBezTo>
                  <a:cubicBezTo>
                    <a:pt x="3" y="3"/>
                    <a:pt x="3" y="4"/>
                    <a:pt x="2" y="5"/>
                  </a:cubicBezTo>
                  <a:cubicBezTo>
                    <a:pt x="2" y="6"/>
                    <a:pt x="1" y="7"/>
                    <a:pt x="2" y="10"/>
                  </a:cubicBezTo>
                  <a:cubicBezTo>
                    <a:pt x="2" y="14"/>
                    <a:pt x="4" y="27"/>
                    <a:pt x="4" y="29"/>
                  </a:cubicBezTo>
                  <a:cubicBezTo>
                    <a:pt x="4" y="31"/>
                    <a:pt x="4" y="43"/>
                    <a:pt x="6" y="45"/>
                  </a:cubicBezTo>
                  <a:cubicBezTo>
                    <a:pt x="7" y="46"/>
                    <a:pt x="10" y="49"/>
                    <a:pt x="10" y="48"/>
                  </a:cubicBezTo>
                  <a:cubicBezTo>
                    <a:pt x="11" y="47"/>
                    <a:pt x="15" y="45"/>
                    <a:pt x="14" y="42"/>
                  </a:cubicBezTo>
                  <a:cubicBezTo>
                    <a:pt x="14" y="39"/>
                    <a:pt x="12" y="26"/>
                    <a:pt x="11" y="24"/>
                  </a:cubicBezTo>
                  <a:cubicBezTo>
                    <a:pt x="10" y="21"/>
                    <a:pt x="8" y="10"/>
                    <a:pt x="8" y="9"/>
                  </a:cubicBezTo>
                  <a:cubicBezTo>
                    <a:pt x="8" y="8"/>
                    <a:pt x="6" y="5"/>
                    <a:pt x="6" y="5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2"/>
                    <a:pt x="7" y="1"/>
                    <a:pt x="6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8" name="Freeform 40"/>
            <p:cNvSpPr>
              <a:spLocks noChangeAspect="1"/>
            </p:cNvSpPr>
            <p:nvPr/>
          </p:nvSpPr>
          <p:spPr bwMode="gray">
            <a:xfrm>
              <a:off x="10088563" y="2647950"/>
              <a:ext cx="19050" cy="14288"/>
            </a:xfrm>
            <a:custGeom>
              <a:avLst/>
              <a:gdLst>
                <a:gd name="T0" fmla="*/ 12 w 12"/>
                <a:gd name="T1" fmla="*/ 9 h 9"/>
                <a:gd name="T2" fmla="*/ 0 w 12"/>
                <a:gd name="T3" fmla="*/ 0 h 9"/>
                <a:gd name="T4" fmla="*/ 0 w 12"/>
                <a:gd name="T5" fmla="*/ 0 h 9"/>
                <a:gd name="T6" fmla="*/ 12 w 12"/>
                <a:gd name="T7" fmla="*/ 9 h 9"/>
                <a:gd name="T8" fmla="*/ 12 w 12"/>
                <a:gd name="T9" fmla="*/ 9 h 9"/>
                <a:gd name="T10" fmla="*/ 12 w 12"/>
                <a:gd name="T11" fmla="*/ 9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12" y="9"/>
                  </a:moveTo>
                  <a:lnTo>
                    <a:pt x="0" y="0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39" name="Freeform 41"/>
            <p:cNvSpPr>
              <a:spLocks noChangeAspect="1"/>
            </p:cNvSpPr>
            <p:nvPr/>
          </p:nvSpPr>
          <p:spPr bwMode="gray">
            <a:xfrm>
              <a:off x="10129838" y="2655888"/>
              <a:ext cx="7938" cy="6350"/>
            </a:xfrm>
            <a:custGeom>
              <a:avLst/>
              <a:gdLst>
                <a:gd name="T0" fmla="*/ 5 w 5"/>
                <a:gd name="T1" fmla="*/ 0 h 4"/>
                <a:gd name="T2" fmla="*/ 5 w 5"/>
                <a:gd name="T3" fmla="*/ 0 h 4"/>
                <a:gd name="T4" fmla="*/ 0 w 5"/>
                <a:gd name="T5" fmla="*/ 4 h 4"/>
                <a:gd name="T6" fmla="*/ 0 w 5"/>
                <a:gd name="T7" fmla="*/ 4 h 4"/>
                <a:gd name="T8" fmla="*/ 5 w 5"/>
                <a:gd name="T9" fmla="*/ 0 h 4"/>
                <a:gd name="T10" fmla="*/ 5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5" y="0"/>
                  </a:moveTo>
                  <a:lnTo>
                    <a:pt x="5" y="0"/>
                  </a:lnTo>
                  <a:lnTo>
                    <a:pt x="0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0" name="Freeform 42"/>
            <p:cNvSpPr>
              <a:spLocks noChangeAspect="1"/>
            </p:cNvSpPr>
            <p:nvPr/>
          </p:nvSpPr>
          <p:spPr bwMode="gray">
            <a:xfrm>
              <a:off x="10074275" y="2832100"/>
              <a:ext cx="11113" cy="6350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2 h 2"/>
                <a:gd name="T4" fmla="*/ 2 w 3"/>
                <a:gd name="T5" fmla="*/ 2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cubicBezTo>
                    <a:pt x="0" y="0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1" name="Freeform 43"/>
            <p:cNvSpPr>
              <a:spLocks noChangeAspect="1"/>
            </p:cNvSpPr>
            <p:nvPr/>
          </p:nvSpPr>
          <p:spPr bwMode="gray">
            <a:xfrm>
              <a:off x="10069513" y="2835275"/>
              <a:ext cx="4763" cy="31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42" name="Freeform 75"/>
          <p:cNvSpPr>
            <a:spLocks noEditPoints="1"/>
          </p:cNvSpPr>
          <p:nvPr>
            <p:custDataLst>
              <p:tags r:id="rId39"/>
            </p:custDataLst>
          </p:nvPr>
        </p:nvSpPr>
        <p:spPr bwMode="gray">
          <a:xfrm>
            <a:off x="8206482" y="2045589"/>
            <a:ext cx="146050" cy="620712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43" name="Freeform 88"/>
          <p:cNvSpPr>
            <a:spLocks noChangeAspect="1"/>
          </p:cNvSpPr>
          <p:nvPr>
            <p:custDataLst>
              <p:tags r:id="rId40"/>
            </p:custDataLst>
          </p:nvPr>
        </p:nvSpPr>
        <p:spPr bwMode="gray">
          <a:xfrm flipH="1">
            <a:off x="7939945" y="1979858"/>
            <a:ext cx="211137" cy="581025"/>
          </a:xfrm>
          <a:custGeom>
            <a:avLst/>
            <a:gdLst>
              <a:gd name="T0" fmla="*/ 699 w 741"/>
              <a:gd name="T1" fmla="*/ 1191 h 2046"/>
              <a:gd name="T2" fmla="*/ 642 w 741"/>
              <a:gd name="T3" fmla="*/ 1149 h 2046"/>
              <a:gd name="T4" fmla="*/ 652 w 741"/>
              <a:gd name="T5" fmla="*/ 1033 h 2046"/>
              <a:gd name="T6" fmla="*/ 623 w 741"/>
              <a:gd name="T7" fmla="*/ 553 h 2046"/>
              <a:gd name="T8" fmla="*/ 581 w 741"/>
              <a:gd name="T9" fmla="*/ 374 h 2046"/>
              <a:gd name="T10" fmla="*/ 408 w 741"/>
              <a:gd name="T11" fmla="*/ 298 h 2046"/>
              <a:gd name="T12" fmla="*/ 321 w 741"/>
              <a:gd name="T13" fmla="*/ 504 h 2046"/>
              <a:gd name="T14" fmla="*/ 307 w 741"/>
              <a:gd name="T15" fmla="*/ 350 h 2046"/>
              <a:gd name="T16" fmla="*/ 340 w 741"/>
              <a:gd name="T17" fmla="*/ 305 h 2046"/>
              <a:gd name="T18" fmla="*/ 392 w 741"/>
              <a:gd name="T19" fmla="*/ 260 h 2046"/>
              <a:gd name="T20" fmla="*/ 420 w 741"/>
              <a:gd name="T21" fmla="*/ 175 h 2046"/>
              <a:gd name="T22" fmla="*/ 432 w 741"/>
              <a:gd name="T23" fmla="*/ 71 h 2046"/>
              <a:gd name="T24" fmla="*/ 359 w 741"/>
              <a:gd name="T25" fmla="*/ 3 h 2046"/>
              <a:gd name="T26" fmla="*/ 224 w 741"/>
              <a:gd name="T27" fmla="*/ 52 h 2046"/>
              <a:gd name="T28" fmla="*/ 198 w 741"/>
              <a:gd name="T29" fmla="*/ 126 h 2046"/>
              <a:gd name="T30" fmla="*/ 186 w 741"/>
              <a:gd name="T31" fmla="*/ 189 h 2046"/>
              <a:gd name="T32" fmla="*/ 196 w 741"/>
              <a:gd name="T33" fmla="*/ 230 h 2046"/>
              <a:gd name="T34" fmla="*/ 205 w 741"/>
              <a:gd name="T35" fmla="*/ 277 h 2046"/>
              <a:gd name="T36" fmla="*/ 257 w 741"/>
              <a:gd name="T37" fmla="*/ 308 h 2046"/>
              <a:gd name="T38" fmla="*/ 283 w 741"/>
              <a:gd name="T39" fmla="*/ 329 h 2046"/>
              <a:gd name="T40" fmla="*/ 278 w 741"/>
              <a:gd name="T41" fmla="*/ 367 h 2046"/>
              <a:gd name="T42" fmla="*/ 245 w 741"/>
              <a:gd name="T43" fmla="*/ 317 h 2046"/>
              <a:gd name="T44" fmla="*/ 78 w 741"/>
              <a:gd name="T45" fmla="*/ 390 h 2046"/>
              <a:gd name="T46" fmla="*/ 52 w 741"/>
              <a:gd name="T47" fmla="*/ 489 h 2046"/>
              <a:gd name="T48" fmla="*/ 0 w 741"/>
              <a:gd name="T49" fmla="*/ 1073 h 2046"/>
              <a:gd name="T50" fmla="*/ 16 w 741"/>
              <a:gd name="T51" fmla="*/ 1123 h 2046"/>
              <a:gd name="T52" fmla="*/ 30 w 741"/>
              <a:gd name="T53" fmla="*/ 1229 h 2046"/>
              <a:gd name="T54" fmla="*/ 54 w 741"/>
              <a:gd name="T55" fmla="*/ 1227 h 2046"/>
              <a:gd name="T56" fmla="*/ 94 w 741"/>
              <a:gd name="T57" fmla="*/ 1238 h 2046"/>
              <a:gd name="T58" fmla="*/ 82 w 741"/>
              <a:gd name="T59" fmla="*/ 1208 h 2046"/>
              <a:gd name="T60" fmla="*/ 68 w 741"/>
              <a:gd name="T61" fmla="*/ 1153 h 2046"/>
              <a:gd name="T62" fmla="*/ 85 w 741"/>
              <a:gd name="T63" fmla="*/ 1196 h 2046"/>
              <a:gd name="T64" fmla="*/ 99 w 741"/>
              <a:gd name="T65" fmla="*/ 1094 h 2046"/>
              <a:gd name="T66" fmla="*/ 96 w 741"/>
              <a:gd name="T67" fmla="*/ 1021 h 2046"/>
              <a:gd name="T68" fmla="*/ 125 w 741"/>
              <a:gd name="T69" fmla="*/ 1255 h 2046"/>
              <a:gd name="T70" fmla="*/ 148 w 741"/>
              <a:gd name="T71" fmla="*/ 1817 h 2046"/>
              <a:gd name="T72" fmla="*/ 139 w 741"/>
              <a:gd name="T73" fmla="*/ 1923 h 2046"/>
              <a:gd name="T74" fmla="*/ 120 w 741"/>
              <a:gd name="T75" fmla="*/ 1990 h 2046"/>
              <a:gd name="T76" fmla="*/ 132 w 741"/>
              <a:gd name="T77" fmla="*/ 2030 h 2046"/>
              <a:gd name="T78" fmla="*/ 224 w 741"/>
              <a:gd name="T79" fmla="*/ 2030 h 2046"/>
              <a:gd name="T80" fmla="*/ 259 w 741"/>
              <a:gd name="T81" fmla="*/ 1973 h 2046"/>
              <a:gd name="T82" fmla="*/ 269 w 741"/>
              <a:gd name="T83" fmla="*/ 1897 h 2046"/>
              <a:gd name="T84" fmla="*/ 257 w 741"/>
              <a:gd name="T85" fmla="*/ 1775 h 2046"/>
              <a:gd name="T86" fmla="*/ 293 w 741"/>
              <a:gd name="T87" fmla="*/ 1373 h 2046"/>
              <a:gd name="T88" fmla="*/ 316 w 741"/>
              <a:gd name="T89" fmla="*/ 1224 h 2046"/>
              <a:gd name="T90" fmla="*/ 352 w 741"/>
              <a:gd name="T91" fmla="*/ 1458 h 2046"/>
              <a:gd name="T92" fmla="*/ 382 w 741"/>
              <a:gd name="T93" fmla="*/ 1697 h 2046"/>
              <a:gd name="T94" fmla="*/ 363 w 741"/>
              <a:gd name="T95" fmla="*/ 1810 h 2046"/>
              <a:gd name="T96" fmla="*/ 349 w 741"/>
              <a:gd name="T97" fmla="*/ 1921 h 2046"/>
              <a:gd name="T98" fmla="*/ 368 w 741"/>
              <a:gd name="T99" fmla="*/ 1966 h 2046"/>
              <a:gd name="T100" fmla="*/ 352 w 741"/>
              <a:gd name="T101" fmla="*/ 2030 h 2046"/>
              <a:gd name="T102" fmla="*/ 427 w 741"/>
              <a:gd name="T103" fmla="*/ 2044 h 2046"/>
              <a:gd name="T104" fmla="*/ 474 w 741"/>
              <a:gd name="T105" fmla="*/ 1997 h 2046"/>
              <a:gd name="T106" fmla="*/ 491 w 741"/>
              <a:gd name="T107" fmla="*/ 1919 h 2046"/>
              <a:gd name="T108" fmla="*/ 503 w 741"/>
              <a:gd name="T109" fmla="*/ 1824 h 2046"/>
              <a:gd name="T110" fmla="*/ 635 w 741"/>
              <a:gd name="T111" fmla="*/ 1597 h 2046"/>
              <a:gd name="T112" fmla="*/ 741 w 741"/>
              <a:gd name="T113" fmla="*/ 1491 h 2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41" h="2046">
                <a:moveTo>
                  <a:pt x="739" y="1375"/>
                </a:moveTo>
                <a:lnTo>
                  <a:pt x="732" y="1205"/>
                </a:lnTo>
                <a:lnTo>
                  <a:pt x="730" y="1203"/>
                </a:lnTo>
                <a:lnTo>
                  <a:pt x="725" y="1198"/>
                </a:lnTo>
                <a:lnTo>
                  <a:pt x="713" y="1193"/>
                </a:lnTo>
                <a:lnTo>
                  <a:pt x="699" y="1191"/>
                </a:lnTo>
                <a:lnTo>
                  <a:pt x="687" y="1191"/>
                </a:lnTo>
                <a:lnTo>
                  <a:pt x="635" y="1193"/>
                </a:lnTo>
                <a:lnTo>
                  <a:pt x="633" y="1179"/>
                </a:lnTo>
                <a:lnTo>
                  <a:pt x="628" y="1165"/>
                </a:lnTo>
                <a:lnTo>
                  <a:pt x="640" y="1156"/>
                </a:lnTo>
                <a:lnTo>
                  <a:pt x="642" y="1149"/>
                </a:lnTo>
                <a:lnTo>
                  <a:pt x="645" y="1139"/>
                </a:lnTo>
                <a:lnTo>
                  <a:pt x="647" y="1113"/>
                </a:lnTo>
                <a:lnTo>
                  <a:pt x="647" y="1080"/>
                </a:lnTo>
                <a:lnTo>
                  <a:pt x="649" y="1066"/>
                </a:lnTo>
                <a:lnTo>
                  <a:pt x="652" y="1052"/>
                </a:lnTo>
                <a:lnTo>
                  <a:pt x="652" y="1033"/>
                </a:lnTo>
                <a:lnTo>
                  <a:pt x="652" y="957"/>
                </a:lnTo>
                <a:lnTo>
                  <a:pt x="649" y="846"/>
                </a:lnTo>
                <a:lnTo>
                  <a:pt x="642" y="730"/>
                </a:lnTo>
                <a:lnTo>
                  <a:pt x="637" y="676"/>
                </a:lnTo>
                <a:lnTo>
                  <a:pt x="633" y="629"/>
                </a:lnTo>
                <a:lnTo>
                  <a:pt x="623" y="553"/>
                </a:lnTo>
                <a:lnTo>
                  <a:pt x="619" y="494"/>
                </a:lnTo>
                <a:lnTo>
                  <a:pt x="614" y="423"/>
                </a:lnTo>
                <a:lnTo>
                  <a:pt x="611" y="409"/>
                </a:lnTo>
                <a:lnTo>
                  <a:pt x="604" y="395"/>
                </a:lnTo>
                <a:lnTo>
                  <a:pt x="595" y="386"/>
                </a:lnTo>
                <a:lnTo>
                  <a:pt x="581" y="374"/>
                </a:lnTo>
                <a:lnTo>
                  <a:pt x="567" y="367"/>
                </a:lnTo>
                <a:lnTo>
                  <a:pt x="550" y="357"/>
                </a:lnTo>
                <a:lnTo>
                  <a:pt x="512" y="345"/>
                </a:lnTo>
                <a:lnTo>
                  <a:pt x="477" y="334"/>
                </a:lnTo>
                <a:lnTo>
                  <a:pt x="444" y="317"/>
                </a:lnTo>
                <a:lnTo>
                  <a:pt x="408" y="298"/>
                </a:lnTo>
                <a:lnTo>
                  <a:pt x="399" y="310"/>
                </a:lnTo>
                <a:lnTo>
                  <a:pt x="389" y="326"/>
                </a:lnTo>
                <a:lnTo>
                  <a:pt x="373" y="360"/>
                </a:lnTo>
                <a:lnTo>
                  <a:pt x="356" y="400"/>
                </a:lnTo>
                <a:lnTo>
                  <a:pt x="340" y="445"/>
                </a:lnTo>
                <a:lnTo>
                  <a:pt x="321" y="504"/>
                </a:lnTo>
                <a:lnTo>
                  <a:pt x="300" y="369"/>
                </a:lnTo>
                <a:lnTo>
                  <a:pt x="300" y="367"/>
                </a:lnTo>
                <a:lnTo>
                  <a:pt x="304" y="364"/>
                </a:lnTo>
                <a:lnTo>
                  <a:pt x="309" y="360"/>
                </a:lnTo>
                <a:lnTo>
                  <a:pt x="309" y="355"/>
                </a:lnTo>
                <a:lnTo>
                  <a:pt x="307" y="350"/>
                </a:lnTo>
                <a:lnTo>
                  <a:pt x="304" y="341"/>
                </a:lnTo>
                <a:lnTo>
                  <a:pt x="302" y="334"/>
                </a:lnTo>
                <a:lnTo>
                  <a:pt x="297" y="326"/>
                </a:lnTo>
                <a:lnTo>
                  <a:pt x="309" y="322"/>
                </a:lnTo>
                <a:lnTo>
                  <a:pt x="326" y="315"/>
                </a:lnTo>
                <a:lnTo>
                  <a:pt x="340" y="305"/>
                </a:lnTo>
                <a:lnTo>
                  <a:pt x="356" y="293"/>
                </a:lnTo>
                <a:lnTo>
                  <a:pt x="361" y="289"/>
                </a:lnTo>
                <a:lnTo>
                  <a:pt x="370" y="284"/>
                </a:lnTo>
                <a:lnTo>
                  <a:pt x="385" y="277"/>
                </a:lnTo>
                <a:lnTo>
                  <a:pt x="389" y="270"/>
                </a:lnTo>
                <a:lnTo>
                  <a:pt x="392" y="260"/>
                </a:lnTo>
                <a:lnTo>
                  <a:pt x="392" y="234"/>
                </a:lnTo>
                <a:lnTo>
                  <a:pt x="394" y="223"/>
                </a:lnTo>
                <a:lnTo>
                  <a:pt x="396" y="213"/>
                </a:lnTo>
                <a:lnTo>
                  <a:pt x="401" y="201"/>
                </a:lnTo>
                <a:lnTo>
                  <a:pt x="411" y="189"/>
                </a:lnTo>
                <a:lnTo>
                  <a:pt x="420" y="175"/>
                </a:lnTo>
                <a:lnTo>
                  <a:pt x="430" y="159"/>
                </a:lnTo>
                <a:lnTo>
                  <a:pt x="434" y="135"/>
                </a:lnTo>
                <a:lnTo>
                  <a:pt x="439" y="111"/>
                </a:lnTo>
                <a:lnTo>
                  <a:pt x="439" y="97"/>
                </a:lnTo>
                <a:lnTo>
                  <a:pt x="437" y="85"/>
                </a:lnTo>
                <a:lnTo>
                  <a:pt x="432" y="71"/>
                </a:lnTo>
                <a:lnTo>
                  <a:pt x="425" y="57"/>
                </a:lnTo>
                <a:lnTo>
                  <a:pt x="420" y="48"/>
                </a:lnTo>
                <a:lnTo>
                  <a:pt x="401" y="29"/>
                </a:lnTo>
                <a:lnTo>
                  <a:pt x="389" y="19"/>
                </a:lnTo>
                <a:lnTo>
                  <a:pt x="375" y="10"/>
                </a:lnTo>
                <a:lnTo>
                  <a:pt x="359" y="3"/>
                </a:lnTo>
                <a:lnTo>
                  <a:pt x="342" y="0"/>
                </a:lnTo>
                <a:lnTo>
                  <a:pt x="255" y="15"/>
                </a:lnTo>
                <a:lnTo>
                  <a:pt x="233" y="26"/>
                </a:lnTo>
                <a:lnTo>
                  <a:pt x="224" y="34"/>
                </a:lnTo>
                <a:lnTo>
                  <a:pt x="222" y="41"/>
                </a:lnTo>
                <a:lnTo>
                  <a:pt x="224" y="52"/>
                </a:lnTo>
                <a:lnTo>
                  <a:pt x="226" y="60"/>
                </a:lnTo>
                <a:lnTo>
                  <a:pt x="226" y="64"/>
                </a:lnTo>
                <a:lnTo>
                  <a:pt x="224" y="69"/>
                </a:lnTo>
                <a:lnTo>
                  <a:pt x="205" y="107"/>
                </a:lnTo>
                <a:lnTo>
                  <a:pt x="200" y="116"/>
                </a:lnTo>
                <a:lnTo>
                  <a:pt x="198" y="126"/>
                </a:lnTo>
                <a:lnTo>
                  <a:pt x="198" y="133"/>
                </a:lnTo>
                <a:lnTo>
                  <a:pt x="198" y="142"/>
                </a:lnTo>
                <a:lnTo>
                  <a:pt x="184" y="173"/>
                </a:lnTo>
                <a:lnTo>
                  <a:pt x="181" y="182"/>
                </a:lnTo>
                <a:lnTo>
                  <a:pt x="181" y="187"/>
                </a:lnTo>
                <a:lnTo>
                  <a:pt x="186" y="189"/>
                </a:lnTo>
                <a:lnTo>
                  <a:pt x="193" y="192"/>
                </a:lnTo>
                <a:lnTo>
                  <a:pt x="196" y="194"/>
                </a:lnTo>
                <a:lnTo>
                  <a:pt x="198" y="199"/>
                </a:lnTo>
                <a:lnTo>
                  <a:pt x="196" y="215"/>
                </a:lnTo>
                <a:lnTo>
                  <a:pt x="196" y="227"/>
                </a:lnTo>
                <a:lnTo>
                  <a:pt x="196" y="230"/>
                </a:lnTo>
                <a:lnTo>
                  <a:pt x="198" y="239"/>
                </a:lnTo>
                <a:lnTo>
                  <a:pt x="198" y="248"/>
                </a:lnTo>
                <a:lnTo>
                  <a:pt x="196" y="256"/>
                </a:lnTo>
                <a:lnTo>
                  <a:pt x="198" y="265"/>
                </a:lnTo>
                <a:lnTo>
                  <a:pt x="198" y="267"/>
                </a:lnTo>
                <a:lnTo>
                  <a:pt x="205" y="277"/>
                </a:lnTo>
                <a:lnTo>
                  <a:pt x="210" y="279"/>
                </a:lnTo>
                <a:lnTo>
                  <a:pt x="219" y="284"/>
                </a:lnTo>
                <a:lnTo>
                  <a:pt x="238" y="286"/>
                </a:lnTo>
                <a:lnTo>
                  <a:pt x="248" y="286"/>
                </a:lnTo>
                <a:lnTo>
                  <a:pt x="262" y="286"/>
                </a:lnTo>
                <a:lnTo>
                  <a:pt x="257" y="308"/>
                </a:lnTo>
                <a:lnTo>
                  <a:pt x="257" y="312"/>
                </a:lnTo>
                <a:lnTo>
                  <a:pt x="259" y="317"/>
                </a:lnTo>
                <a:lnTo>
                  <a:pt x="271" y="329"/>
                </a:lnTo>
                <a:lnTo>
                  <a:pt x="276" y="331"/>
                </a:lnTo>
                <a:lnTo>
                  <a:pt x="281" y="329"/>
                </a:lnTo>
                <a:lnTo>
                  <a:pt x="283" y="329"/>
                </a:lnTo>
                <a:lnTo>
                  <a:pt x="278" y="331"/>
                </a:lnTo>
                <a:lnTo>
                  <a:pt x="274" y="341"/>
                </a:lnTo>
                <a:lnTo>
                  <a:pt x="271" y="345"/>
                </a:lnTo>
                <a:lnTo>
                  <a:pt x="269" y="350"/>
                </a:lnTo>
                <a:lnTo>
                  <a:pt x="274" y="360"/>
                </a:lnTo>
                <a:lnTo>
                  <a:pt x="278" y="367"/>
                </a:lnTo>
                <a:lnTo>
                  <a:pt x="250" y="456"/>
                </a:lnTo>
                <a:lnTo>
                  <a:pt x="245" y="471"/>
                </a:lnTo>
                <a:lnTo>
                  <a:pt x="245" y="456"/>
                </a:lnTo>
                <a:lnTo>
                  <a:pt x="243" y="362"/>
                </a:lnTo>
                <a:lnTo>
                  <a:pt x="243" y="331"/>
                </a:lnTo>
                <a:lnTo>
                  <a:pt x="245" y="317"/>
                </a:lnTo>
                <a:lnTo>
                  <a:pt x="248" y="315"/>
                </a:lnTo>
                <a:lnTo>
                  <a:pt x="229" y="322"/>
                </a:lnTo>
                <a:lnTo>
                  <a:pt x="172" y="345"/>
                </a:lnTo>
                <a:lnTo>
                  <a:pt x="115" y="369"/>
                </a:lnTo>
                <a:lnTo>
                  <a:pt x="92" y="381"/>
                </a:lnTo>
                <a:lnTo>
                  <a:pt x="78" y="390"/>
                </a:lnTo>
                <a:lnTo>
                  <a:pt x="70" y="397"/>
                </a:lnTo>
                <a:lnTo>
                  <a:pt x="66" y="407"/>
                </a:lnTo>
                <a:lnTo>
                  <a:pt x="61" y="419"/>
                </a:lnTo>
                <a:lnTo>
                  <a:pt x="59" y="430"/>
                </a:lnTo>
                <a:lnTo>
                  <a:pt x="56" y="459"/>
                </a:lnTo>
                <a:lnTo>
                  <a:pt x="52" y="489"/>
                </a:lnTo>
                <a:lnTo>
                  <a:pt x="37" y="650"/>
                </a:lnTo>
                <a:lnTo>
                  <a:pt x="28" y="726"/>
                </a:lnTo>
                <a:lnTo>
                  <a:pt x="21" y="785"/>
                </a:lnTo>
                <a:lnTo>
                  <a:pt x="16" y="851"/>
                </a:lnTo>
                <a:lnTo>
                  <a:pt x="7" y="990"/>
                </a:lnTo>
                <a:lnTo>
                  <a:pt x="0" y="1073"/>
                </a:lnTo>
                <a:lnTo>
                  <a:pt x="2" y="1078"/>
                </a:lnTo>
                <a:lnTo>
                  <a:pt x="2" y="1082"/>
                </a:lnTo>
                <a:lnTo>
                  <a:pt x="9" y="1089"/>
                </a:lnTo>
                <a:lnTo>
                  <a:pt x="16" y="1094"/>
                </a:lnTo>
                <a:lnTo>
                  <a:pt x="18" y="1097"/>
                </a:lnTo>
                <a:lnTo>
                  <a:pt x="16" y="1123"/>
                </a:lnTo>
                <a:lnTo>
                  <a:pt x="14" y="1158"/>
                </a:lnTo>
                <a:lnTo>
                  <a:pt x="16" y="1193"/>
                </a:lnTo>
                <a:lnTo>
                  <a:pt x="18" y="1210"/>
                </a:lnTo>
                <a:lnTo>
                  <a:pt x="21" y="1217"/>
                </a:lnTo>
                <a:lnTo>
                  <a:pt x="23" y="1222"/>
                </a:lnTo>
                <a:lnTo>
                  <a:pt x="30" y="1229"/>
                </a:lnTo>
                <a:lnTo>
                  <a:pt x="33" y="1234"/>
                </a:lnTo>
                <a:lnTo>
                  <a:pt x="35" y="1231"/>
                </a:lnTo>
                <a:lnTo>
                  <a:pt x="37" y="1229"/>
                </a:lnTo>
                <a:lnTo>
                  <a:pt x="35" y="1205"/>
                </a:lnTo>
                <a:lnTo>
                  <a:pt x="40" y="1215"/>
                </a:lnTo>
                <a:lnTo>
                  <a:pt x="54" y="1227"/>
                </a:lnTo>
                <a:lnTo>
                  <a:pt x="68" y="1241"/>
                </a:lnTo>
                <a:lnTo>
                  <a:pt x="78" y="1248"/>
                </a:lnTo>
                <a:lnTo>
                  <a:pt x="85" y="1248"/>
                </a:lnTo>
                <a:lnTo>
                  <a:pt x="87" y="1243"/>
                </a:lnTo>
                <a:lnTo>
                  <a:pt x="87" y="1238"/>
                </a:lnTo>
                <a:lnTo>
                  <a:pt x="94" y="1238"/>
                </a:lnTo>
                <a:lnTo>
                  <a:pt x="101" y="1238"/>
                </a:lnTo>
                <a:lnTo>
                  <a:pt x="104" y="1236"/>
                </a:lnTo>
                <a:lnTo>
                  <a:pt x="106" y="1234"/>
                </a:lnTo>
                <a:lnTo>
                  <a:pt x="104" y="1229"/>
                </a:lnTo>
                <a:lnTo>
                  <a:pt x="92" y="1217"/>
                </a:lnTo>
                <a:lnTo>
                  <a:pt x="82" y="1208"/>
                </a:lnTo>
                <a:lnTo>
                  <a:pt x="73" y="1196"/>
                </a:lnTo>
                <a:lnTo>
                  <a:pt x="66" y="1184"/>
                </a:lnTo>
                <a:lnTo>
                  <a:pt x="63" y="1172"/>
                </a:lnTo>
                <a:lnTo>
                  <a:pt x="63" y="1163"/>
                </a:lnTo>
                <a:lnTo>
                  <a:pt x="66" y="1156"/>
                </a:lnTo>
                <a:lnTo>
                  <a:pt x="68" y="1153"/>
                </a:lnTo>
                <a:lnTo>
                  <a:pt x="73" y="1153"/>
                </a:lnTo>
                <a:lnTo>
                  <a:pt x="78" y="1156"/>
                </a:lnTo>
                <a:lnTo>
                  <a:pt x="80" y="1165"/>
                </a:lnTo>
                <a:lnTo>
                  <a:pt x="82" y="1186"/>
                </a:lnTo>
                <a:lnTo>
                  <a:pt x="82" y="1191"/>
                </a:lnTo>
                <a:lnTo>
                  <a:pt x="85" y="1196"/>
                </a:lnTo>
                <a:lnTo>
                  <a:pt x="92" y="1201"/>
                </a:lnTo>
                <a:lnTo>
                  <a:pt x="99" y="1201"/>
                </a:lnTo>
                <a:lnTo>
                  <a:pt x="104" y="1201"/>
                </a:lnTo>
                <a:lnTo>
                  <a:pt x="101" y="1137"/>
                </a:lnTo>
                <a:lnTo>
                  <a:pt x="99" y="1108"/>
                </a:lnTo>
                <a:lnTo>
                  <a:pt x="99" y="1094"/>
                </a:lnTo>
                <a:lnTo>
                  <a:pt x="99" y="1087"/>
                </a:lnTo>
                <a:lnTo>
                  <a:pt x="96" y="1075"/>
                </a:lnTo>
                <a:lnTo>
                  <a:pt x="94" y="1064"/>
                </a:lnTo>
                <a:lnTo>
                  <a:pt x="92" y="1054"/>
                </a:lnTo>
                <a:lnTo>
                  <a:pt x="94" y="1030"/>
                </a:lnTo>
                <a:lnTo>
                  <a:pt x="96" y="1021"/>
                </a:lnTo>
                <a:lnTo>
                  <a:pt x="96" y="1026"/>
                </a:lnTo>
                <a:lnTo>
                  <a:pt x="99" y="1052"/>
                </a:lnTo>
                <a:lnTo>
                  <a:pt x="99" y="1087"/>
                </a:lnTo>
                <a:lnTo>
                  <a:pt x="106" y="1120"/>
                </a:lnTo>
                <a:lnTo>
                  <a:pt x="113" y="1167"/>
                </a:lnTo>
                <a:lnTo>
                  <a:pt x="125" y="1255"/>
                </a:lnTo>
                <a:lnTo>
                  <a:pt x="132" y="1349"/>
                </a:lnTo>
                <a:lnTo>
                  <a:pt x="137" y="1420"/>
                </a:lnTo>
                <a:lnTo>
                  <a:pt x="139" y="1503"/>
                </a:lnTo>
                <a:lnTo>
                  <a:pt x="144" y="1623"/>
                </a:lnTo>
                <a:lnTo>
                  <a:pt x="151" y="1803"/>
                </a:lnTo>
                <a:lnTo>
                  <a:pt x="148" y="1817"/>
                </a:lnTo>
                <a:lnTo>
                  <a:pt x="146" y="1831"/>
                </a:lnTo>
                <a:lnTo>
                  <a:pt x="139" y="1867"/>
                </a:lnTo>
                <a:lnTo>
                  <a:pt x="137" y="1883"/>
                </a:lnTo>
                <a:lnTo>
                  <a:pt x="134" y="1900"/>
                </a:lnTo>
                <a:lnTo>
                  <a:pt x="134" y="1914"/>
                </a:lnTo>
                <a:lnTo>
                  <a:pt x="139" y="1923"/>
                </a:lnTo>
                <a:lnTo>
                  <a:pt x="146" y="1940"/>
                </a:lnTo>
                <a:lnTo>
                  <a:pt x="151" y="1949"/>
                </a:lnTo>
                <a:lnTo>
                  <a:pt x="148" y="1959"/>
                </a:lnTo>
                <a:lnTo>
                  <a:pt x="141" y="1966"/>
                </a:lnTo>
                <a:lnTo>
                  <a:pt x="127" y="1978"/>
                </a:lnTo>
                <a:lnTo>
                  <a:pt x="120" y="1990"/>
                </a:lnTo>
                <a:lnTo>
                  <a:pt x="118" y="1999"/>
                </a:lnTo>
                <a:lnTo>
                  <a:pt x="115" y="2011"/>
                </a:lnTo>
                <a:lnTo>
                  <a:pt x="118" y="2016"/>
                </a:lnTo>
                <a:lnTo>
                  <a:pt x="120" y="2023"/>
                </a:lnTo>
                <a:lnTo>
                  <a:pt x="125" y="2027"/>
                </a:lnTo>
                <a:lnTo>
                  <a:pt x="132" y="2030"/>
                </a:lnTo>
                <a:lnTo>
                  <a:pt x="141" y="2034"/>
                </a:lnTo>
                <a:lnTo>
                  <a:pt x="153" y="2037"/>
                </a:lnTo>
                <a:lnTo>
                  <a:pt x="174" y="2039"/>
                </a:lnTo>
                <a:lnTo>
                  <a:pt x="193" y="2037"/>
                </a:lnTo>
                <a:lnTo>
                  <a:pt x="210" y="2034"/>
                </a:lnTo>
                <a:lnTo>
                  <a:pt x="224" y="2030"/>
                </a:lnTo>
                <a:lnTo>
                  <a:pt x="233" y="2023"/>
                </a:lnTo>
                <a:lnTo>
                  <a:pt x="243" y="2016"/>
                </a:lnTo>
                <a:lnTo>
                  <a:pt x="255" y="2001"/>
                </a:lnTo>
                <a:lnTo>
                  <a:pt x="259" y="1997"/>
                </a:lnTo>
                <a:lnTo>
                  <a:pt x="259" y="1990"/>
                </a:lnTo>
                <a:lnTo>
                  <a:pt x="259" y="1973"/>
                </a:lnTo>
                <a:lnTo>
                  <a:pt x="257" y="1956"/>
                </a:lnTo>
                <a:lnTo>
                  <a:pt x="259" y="1945"/>
                </a:lnTo>
                <a:lnTo>
                  <a:pt x="264" y="1931"/>
                </a:lnTo>
                <a:lnTo>
                  <a:pt x="269" y="1919"/>
                </a:lnTo>
                <a:lnTo>
                  <a:pt x="271" y="1907"/>
                </a:lnTo>
                <a:lnTo>
                  <a:pt x="269" y="1897"/>
                </a:lnTo>
                <a:lnTo>
                  <a:pt x="269" y="1886"/>
                </a:lnTo>
                <a:lnTo>
                  <a:pt x="262" y="1867"/>
                </a:lnTo>
                <a:lnTo>
                  <a:pt x="252" y="1850"/>
                </a:lnTo>
                <a:lnTo>
                  <a:pt x="250" y="1838"/>
                </a:lnTo>
                <a:lnTo>
                  <a:pt x="250" y="1819"/>
                </a:lnTo>
                <a:lnTo>
                  <a:pt x="257" y="1775"/>
                </a:lnTo>
                <a:lnTo>
                  <a:pt x="264" y="1720"/>
                </a:lnTo>
                <a:lnTo>
                  <a:pt x="269" y="1668"/>
                </a:lnTo>
                <a:lnTo>
                  <a:pt x="274" y="1614"/>
                </a:lnTo>
                <a:lnTo>
                  <a:pt x="278" y="1548"/>
                </a:lnTo>
                <a:lnTo>
                  <a:pt x="285" y="1470"/>
                </a:lnTo>
                <a:lnTo>
                  <a:pt x="293" y="1373"/>
                </a:lnTo>
                <a:lnTo>
                  <a:pt x="295" y="1328"/>
                </a:lnTo>
                <a:lnTo>
                  <a:pt x="297" y="1293"/>
                </a:lnTo>
                <a:lnTo>
                  <a:pt x="302" y="1264"/>
                </a:lnTo>
                <a:lnTo>
                  <a:pt x="307" y="1245"/>
                </a:lnTo>
                <a:lnTo>
                  <a:pt x="311" y="1231"/>
                </a:lnTo>
                <a:lnTo>
                  <a:pt x="316" y="1224"/>
                </a:lnTo>
                <a:lnTo>
                  <a:pt x="318" y="1219"/>
                </a:lnTo>
                <a:lnTo>
                  <a:pt x="321" y="1243"/>
                </a:lnTo>
                <a:lnTo>
                  <a:pt x="323" y="1271"/>
                </a:lnTo>
                <a:lnTo>
                  <a:pt x="335" y="1340"/>
                </a:lnTo>
                <a:lnTo>
                  <a:pt x="344" y="1406"/>
                </a:lnTo>
                <a:lnTo>
                  <a:pt x="352" y="1458"/>
                </a:lnTo>
                <a:lnTo>
                  <a:pt x="356" y="1498"/>
                </a:lnTo>
                <a:lnTo>
                  <a:pt x="363" y="1534"/>
                </a:lnTo>
                <a:lnTo>
                  <a:pt x="370" y="1571"/>
                </a:lnTo>
                <a:lnTo>
                  <a:pt x="375" y="1609"/>
                </a:lnTo>
                <a:lnTo>
                  <a:pt x="380" y="1652"/>
                </a:lnTo>
                <a:lnTo>
                  <a:pt x="382" y="1697"/>
                </a:lnTo>
                <a:lnTo>
                  <a:pt x="382" y="1718"/>
                </a:lnTo>
                <a:lnTo>
                  <a:pt x="380" y="1737"/>
                </a:lnTo>
                <a:lnTo>
                  <a:pt x="378" y="1756"/>
                </a:lnTo>
                <a:lnTo>
                  <a:pt x="370" y="1772"/>
                </a:lnTo>
                <a:lnTo>
                  <a:pt x="363" y="1793"/>
                </a:lnTo>
                <a:lnTo>
                  <a:pt x="363" y="1810"/>
                </a:lnTo>
                <a:lnTo>
                  <a:pt x="366" y="1824"/>
                </a:lnTo>
                <a:lnTo>
                  <a:pt x="368" y="1843"/>
                </a:lnTo>
                <a:lnTo>
                  <a:pt x="363" y="1864"/>
                </a:lnTo>
                <a:lnTo>
                  <a:pt x="359" y="1886"/>
                </a:lnTo>
                <a:lnTo>
                  <a:pt x="352" y="1905"/>
                </a:lnTo>
                <a:lnTo>
                  <a:pt x="349" y="1921"/>
                </a:lnTo>
                <a:lnTo>
                  <a:pt x="349" y="1926"/>
                </a:lnTo>
                <a:lnTo>
                  <a:pt x="352" y="1933"/>
                </a:lnTo>
                <a:lnTo>
                  <a:pt x="361" y="1945"/>
                </a:lnTo>
                <a:lnTo>
                  <a:pt x="370" y="1956"/>
                </a:lnTo>
                <a:lnTo>
                  <a:pt x="370" y="1961"/>
                </a:lnTo>
                <a:lnTo>
                  <a:pt x="368" y="1966"/>
                </a:lnTo>
                <a:lnTo>
                  <a:pt x="359" y="1973"/>
                </a:lnTo>
                <a:lnTo>
                  <a:pt x="354" y="1985"/>
                </a:lnTo>
                <a:lnTo>
                  <a:pt x="349" y="1997"/>
                </a:lnTo>
                <a:lnTo>
                  <a:pt x="349" y="2011"/>
                </a:lnTo>
                <a:lnTo>
                  <a:pt x="349" y="2025"/>
                </a:lnTo>
                <a:lnTo>
                  <a:pt x="352" y="2030"/>
                </a:lnTo>
                <a:lnTo>
                  <a:pt x="356" y="2034"/>
                </a:lnTo>
                <a:lnTo>
                  <a:pt x="363" y="2039"/>
                </a:lnTo>
                <a:lnTo>
                  <a:pt x="375" y="2044"/>
                </a:lnTo>
                <a:lnTo>
                  <a:pt x="389" y="2044"/>
                </a:lnTo>
                <a:lnTo>
                  <a:pt x="408" y="2046"/>
                </a:lnTo>
                <a:lnTo>
                  <a:pt x="427" y="2044"/>
                </a:lnTo>
                <a:lnTo>
                  <a:pt x="444" y="2039"/>
                </a:lnTo>
                <a:lnTo>
                  <a:pt x="453" y="2034"/>
                </a:lnTo>
                <a:lnTo>
                  <a:pt x="463" y="2027"/>
                </a:lnTo>
                <a:lnTo>
                  <a:pt x="470" y="2020"/>
                </a:lnTo>
                <a:lnTo>
                  <a:pt x="472" y="2011"/>
                </a:lnTo>
                <a:lnTo>
                  <a:pt x="474" y="1997"/>
                </a:lnTo>
                <a:lnTo>
                  <a:pt x="472" y="1973"/>
                </a:lnTo>
                <a:lnTo>
                  <a:pt x="472" y="1964"/>
                </a:lnTo>
                <a:lnTo>
                  <a:pt x="474" y="1956"/>
                </a:lnTo>
                <a:lnTo>
                  <a:pt x="479" y="1949"/>
                </a:lnTo>
                <a:lnTo>
                  <a:pt x="486" y="1935"/>
                </a:lnTo>
                <a:lnTo>
                  <a:pt x="491" y="1919"/>
                </a:lnTo>
                <a:lnTo>
                  <a:pt x="491" y="1900"/>
                </a:lnTo>
                <a:lnTo>
                  <a:pt x="491" y="1879"/>
                </a:lnTo>
                <a:lnTo>
                  <a:pt x="491" y="1869"/>
                </a:lnTo>
                <a:lnTo>
                  <a:pt x="493" y="1862"/>
                </a:lnTo>
                <a:lnTo>
                  <a:pt x="498" y="1848"/>
                </a:lnTo>
                <a:lnTo>
                  <a:pt x="503" y="1824"/>
                </a:lnTo>
                <a:lnTo>
                  <a:pt x="507" y="1803"/>
                </a:lnTo>
                <a:lnTo>
                  <a:pt x="510" y="1777"/>
                </a:lnTo>
                <a:lnTo>
                  <a:pt x="510" y="1704"/>
                </a:lnTo>
                <a:lnTo>
                  <a:pt x="507" y="1628"/>
                </a:lnTo>
                <a:lnTo>
                  <a:pt x="564" y="1616"/>
                </a:lnTo>
                <a:lnTo>
                  <a:pt x="635" y="1597"/>
                </a:lnTo>
                <a:lnTo>
                  <a:pt x="725" y="1571"/>
                </a:lnTo>
                <a:lnTo>
                  <a:pt x="730" y="1569"/>
                </a:lnTo>
                <a:lnTo>
                  <a:pt x="734" y="1567"/>
                </a:lnTo>
                <a:lnTo>
                  <a:pt x="739" y="1560"/>
                </a:lnTo>
                <a:lnTo>
                  <a:pt x="741" y="1550"/>
                </a:lnTo>
                <a:lnTo>
                  <a:pt x="741" y="1491"/>
                </a:lnTo>
                <a:lnTo>
                  <a:pt x="739" y="137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44" name="Freeform 79"/>
          <p:cNvSpPr>
            <a:spLocks noEditPoints="1"/>
          </p:cNvSpPr>
          <p:nvPr>
            <p:custDataLst>
              <p:tags r:id="rId41"/>
            </p:custDataLst>
          </p:nvPr>
        </p:nvSpPr>
        <p:spPr bwMode="gray">
          <a:xfrm>
            <a:off x="7363496" y="1976431"/>
            <a:ext cx="176212" cy="584200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45" name="Freeform 96"/>
          <p:cNvSpPr>
            <a:spLocks noChangeAspect="1" noEditPoints="1"/>
          </p:cNvSpPr>
          <p:nvPr>
            <p:custDataLst>
              <p:tags r:id="rId42"/>
            </p:custDataLst>
          </p:nvPr>
        </p:nvSpPr>
        <p:spPr bwMode="gray">
          <a:xfrm flipH="1">
            <a:off x="7790720" y="1874213"/>
            <a:ext cx="149225" cy="465137"/>
          </a:xfrm>
          <a:custGeom>
            <a:avLst/>
            <a:gdLst>
              <a:gd name="T0" fmla="*/ 270 w 306"/>
              <a:gd name="T1" fmla="*/ 314 h 957"/>
              <a:gd name="T2" fmla="*/ 250 w 306"/>
              <a:gd name="T3" fmla="*/ 172 h 957"/>
              <a:gd name="T4" fmla="*/ 224 w 306"/>
              <a:gd name="T5" fmla="*/ 147 h 957"/>
              <a:gd name="T6" fmla="*/ 226 w 306"/>
              <a:gd name="T7" fmla="*/ 102 h 957"/>
              <a:gd name="T8" fmla="*/ 209 w 306"/>
              <a:gd name="T9" fmla="*/ 49 h 957"/>
              <a:gd name="T10" fmla="*/ 191 w 306"/>
              <a:gd name="T11" fmla="*/ 6 h 957"/>
              <a:gd name="T12" fmla="*/ 138 w 306"/>
              <a:gd name="T13" fmla="*/ 8 h 957"/>
              <a:gd name="T14" fmla="*/ 116 w 306"/>
              <a:gd name="T15" fmla="*/ 41 h 957"/>
              <a:gd name="T16" fmla="*/ 101 w 306"/>
              <a:gd name="T17" fmla="*/ 79 h 957"/>
              <a:gd name="T18" fmla="*/ 93 w 306"/>
              <a:gd name="T19" fmla="*/ 113 h 957"/>
              <a:gd name="T20" fmla="*/ 95 w 306"/>
              <a:gd name="T21" fmla="*/ 118 h 957"/>
              <a:gd name="T22" fmla="*/ 97 w 306"/>
              <a:gd name="T23" fmla="*/ 124 h 957"/>
              <a:gd name="T24" fmla="*/ 87 w 306"/>
              <a:gd name="T25" fmla="*/ 154 h 957"/>
              <a:gd name="T26" fmla="*/ 55 w 306"/>
              <a:gd name="T27" fmla="*/ 189 h 957"/>
              <a:gd name="T28" fmla="*/ 53 w 306"/>
              <a:gd name="T29" fmla="*/ 427 h 957"/>
              <a:gd name="T30" fmla="*/ 53 w 306"/>
              <a:gd name="T31" fmla="*/ 488 h 957"/>
              <a:gd name="T32" fmla="*/ 5 w 306"/>
              <a:gd name="T33" fmla="*/ 501 h 957"/>
              <a:gd name="T34" fmla="*/ 8 w 306"/>
              <a:gd name="T35" fmla="*/ 684 h 957"/>
              <a:gd name="T36" fmla="*/ 87 w 306"/>
              <a:gd name="T37" fmla="*/ 838 h 957"/>
              <a:gd name="T38" fmla="*/ 76 w 306"/>
              <a:gd name="T39" fmla="*/ 939 h 957"/>
              <a:gd name="T40" fmla="*/ 94 w 306"/>
              <a:gd name="T41" fmla="*/ 956 h 957"/>
              <a:gd name="T42" fmla="*/ 102 w 306"/>
              <a:gd name="T43" fmla="*/ 870 h 957"/>
              <a:gd name="T44" fmla="*/ 130 w 306"/>
              <a:gd name="T45" fmla="*/ 707 h 957"/>
              <a:gd name="T46" fmla="*/ 183 w 306"/>
              <a:gd name="T47" fmla="*/ 639 h 957"/>
              <a:gd name="T48" fmla="*/ 192 w 306"/>
              <a:gd name="T49" fmla="*/ 741 h 957"/>
              <a:gd name="T50" fmla="*/ 202 w 306"/>
              <a:gd name="T51" fmla="*/ 885 h 957"/>
              <a:gd name="T52" fmla="*/ 211 w 306"/>
              <a:gd name="T53" fmla="*/ 910 h 957"/>
              <a:gd name="T54" fmla="*/ 222 w 306"/>
              <a:gd name="T55" fmla="*/ 941 h 957"/>
              <a:gd name="T56" fmla="*/ 258 w 306"/>
              <a:gd name="T57" fmla="*/ 947 h 957"/>
              <a:gd name="T58" fmla="*/ 227 w 306"/>
              <a:gd name="T59" fmla="*/ 873 h 957"/>
              <a:gd name="T60" fmla="*/ 227 w 306"/>
              <a:gd name="T61" fmla="*/ 657 h 957"/>
              <a:gd name="T62" fmla="*/ 245 w 306"/>
              <a:gd name="T63" fmla="*/ 630 h 957"/>
              <a:gd name="T64" fmla="*/ 258 w 306"/>
              <a:gd name="T65" fmla="*/ 441 h 957"/>
              <a:gd name="T66" fmla="*/ 281 w 306"/>
              <a:gd name="T67" fmla="*/ 481 h 957"/>
              <a:gd name="T68" fmla="*/ 286 w 306"/>
              <a:gd name="T69" fmla="*/ 492 h 957"/>
              <a:gd name="T70" fmla="*/ 295 w 306"/>
              <a:gd name="T71" fmla="*/ 495 h 957"/>
              <a:gd name="T72" fmla="*/ 305 w 306"/>
              <a:gd name="T73" fmla="*/ 497 h 957"/>
              <a:gd name="T74" fmla="*/ 63 w 306"/>
              <a:gd name="T75" fmla="*/ 500 h 957"/>
              <a:gd name="T76" fmla="*/ 74 w 306"/>
              <a:gd name="T77" fmla="*/ 495 h 957"/>
              <a:gd name="T78" fmla="*/ 81 w 306"/>
              <a:gd name="T79" fmla="*/ 479 h 957"/>
              <a:gd name="T80" fmla="*/ 79 w 306"/>
              <a:gd name="T81" fmla="*/ 455 h 957"/>
              <a:gd name="T82" fmla="*/ 87 w 306"/>
              <a:gd name="T83" fmla="*/ 442 h 957"/>
              <a:gd name="T84" fmla="*/ 99 w 306"/>
              <a:gd name="T85" fmla="*/ 126 h 957"/>
              <a:gd name="T86" fmla="*/ 213 w 306"/>
              <a:gd name="T87" fmla="*/ 188 h 957"/>
              <a:gd name="T88" fmla="*/ 187 w 306"/>
              <a:gd name="T89" fmla="*/ 251 h 957"/>
              <a:gd name="T90" fmla="*/ 189 w 306"/>
              <a:gd name="T91" fmla="*/ 382 h 957"/>
              <a:gd name="T92" fmla="*/ 172 w 306"/>
              <a:gd name="T93" fmla="*/ 391 h 957"/>
              <a:gd name="T94" fmla="*/ 146 w 306"/>
              <a:gd name="T95" fmla="*/ 374 h 957"/>
              <a:gd name="T96" fmla="*/ 151 w 306"/>
              <a:gd name="T97" fmla="*/ 232 h 957"/>
              <a:gd name="T98" fmla="*/ 133 w 306"/>
              <a:gd name="T99" fmla="*/ 184 h 957"/>
              <a:gd name="T100" fmla="*/ 122 w 306"/>
              <a:gd name="T101" fmla="*/ 159 h 957"/>
              <a:gd name="T102" fmla="*/ 131 w 306"/>
              <a:gd name="T103" fmla="*/ 151 h 957"/>
              <a:gd name="T104" fmla="*/ 167 w 306"/>
              <a:gd name="T105" fmla="*/ 195 h 957"/>
              <a:gd name="T106" fmla="*/ 190 w 306"/>
              <a:gd name="T107" fmla="*/ 158 h 957"/>
              <a:gd name="T108" fmla="*/ 218 w 306"/>
              <a:gd name="T109" fmla="*/ 87 h 957"/>
              <a:gd name="T110" fmla="*/ 225 w 306"/>
              <a:gd name="T111" fmla="*/ 104 h 957"/>
              <a:gd name="T112" fmla="*/ 226 w 306"/>
              <a:gd name="T113" fmla="*/ 119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6" h="957">
                <a:moveTo>
                  <a:pt x="304" y="482"/>
                </a:moveTo>
                <a:cubicBezTo>
                  <a:pt x="302" y="477"/>
                  <a:pt x="302" y="477"/>
                  <a:pt x="302" y="477"/>
                </a:cubicBezTo>
                <a:cubicBezTo>
                  <a:pt x="293" y="461"/>
                  <a:pt x="293" y="461"/>
                  <a:pt x="293" y="461"/>
                </a:cubicBezTo>
                <a:cubicBezTo>
                  <a:pt x="288" y="453"/>
                  <a:pt x="288" y="453"/>
                  <a:pt x="288" y="453"/>
                </a:cubicBezTo>
                <a:cubicBezTo>
                  <a:pt x="286" y="446"/>
                  <a:pt x="286" y="446"/>
                  <a:pt x="286" y="446"/>
                </a:cubicBezTo>
                <a:cubicBezTo>
                  <a:pt x="275" y="355"/>
                  <a:pt x="275" y="355"/>
                  <a:pt x="275" y="355"/>
                </a:cubicBezTo>
                <a:cubicBezTo>
                  <a:pt x="270" y="314"/>
                  <a:pt x="270" y="314"/>
                  <a:pt x="270" y="314"/>
                </a:cubicBezTo>
                <a:cubicBezTo>
                  <a:pt x="266" y="271"/>
                  <a:pt x="266" y="271"/>
                  <a:pt x="266" y="271"/>
                </a:cubicBezTo>
                <a:cubicBezTo>
                  <a:pt x="262" y="232"/>
                  <a:pt x="262" y="232"/>
                  <a:pt x="262" y="232"/>
                </a:cubicBezTo>
                <a:cubicBezTo>
                  <a:pt x="258" y="204"/>
                  <a:pt x="258" y="204"/>
                  <a:pt x="258" y="204"/>
                </a:cubicBezTo>
                <a:cubicBezTo>
                  <a:pt x="255" y="189"/>
                  <a:pt x="255" y="189"/>
                  <a:pt x="255" y="189"/>
                </a:cubicBezTo>
                <a:cubicBezTo>
                  <a:pt x="254" y="183"/>
                  <a:pt x="254" y="183"/>
                  <a:pt x="254" y="183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0" y="172"/>
                  <a:pt x="250" y="172"/>
                  <a:pt x="250" y="172"/>
                </a:cubicBezTo>
                <a:cubicBezTo>
                  <a:pt x="247" y="167"/>
                  <a:pt x="247" y="167"/>
                  <a:pt x="247" y="167"/>
                </a:cubicBezTo>
                <a:cubicBezTo>
                  <a:pt x="241" y="163"/>
                  <a:pt x="241" y="163"/>
                  <a:pt x="241" y="163"/>
                </a:cubicBezTo>
                <a:cubicBezTo>
                  <a:pt x="233" y="158"/>
                  <a:pt x="233" y="158"/>
                  <a:pt x="233" y="158"/>
                </a:cubicBezTo>
                <a:cubicBezTo>
                  <a:pt x="228" y="156"/>
                  <a:pt x="228" y="156"/>
                  <a:pt x="228" y="156"/>
                </a:cubicBezTo>
                <a:cubicBezTo>
                  <a:pt x="227" y="155"/>
                  <a:pt x="227" y="155"/>
                  <a:pt x="227" y="155"/>
                </a:cubicBezTo>
                <a:cubicBezTo>
                  <a:pt x="225" y="151"/>
                  <a:pt x="225" y="151"/>
                  <a:pt x="225" y="151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224" y="142"/>
                  <a:pt x="224" y="142"/>
                  <a:pt x="224" y="142"/>
                </a:cubicBezTo>
                <a:cubicBezTo>
                  <a:pt x="225" y="135"/>
                  <a:pt x="225" y="135"/>
                  <a:pt x="225" y="135"/>
                </a:cubicBezTo>
                <a:cubicBezTo>
                  <a:pt x="227" y="131"/>
                  <a:pt x="227" y="131"/>
                  <a:pt x="227" y="131"/>
                </a:cubicBezTo>
                <a:cubicBezTo>
                  <a:pt x="229" y="127"/>
                  <a:pt x="229" y="127"/>
                  <a:pt x="229" y="127"/>
                </a:cubicBezTo>
                <a:cubicBezTo>
                  <a:pt x="230" y="118"/>
                  <a:pt x="230" y="118"/>
                  <a:pt x="230" y="118"/>
                </a:cubicBezTo>
                <a:cubicBezTo>
                  <a:pt x="229" y="110"/>
                  <a:pt x="229" y="110"/>
                  <a:pt x="229" y="110"/>
                </a:cubicBezTo>
                <a:cubicBezTo>
                  <a:pt x="226" y="102"/>
                  <a:pt x="226" y="102"/>
                  <a:pt x="226" y="102"/>
                </a:cubicBezTo>
                <a:cubicBezTo>
                  <a:pt x="226" y="97"/>
                  <a:pt x="226" y="97"/>
                  <a:pt x="226" y="97"/>
                </a:cubicBezTo>
                <a:cubicBezTo>
                  <a:pt x="225" y="91"/>
                  <a:pt x="225" y="91"/>
                  <a:pt x="225" y="91"/>
                </a:cubicBezTo>
                <a:cubicBezTo>
                  <a:pt x="222" y="84"/>
                  <a:pt x="222" y="84"/>
                  <a:pt x="222" y="84"/>
                </a:cubicBezTo>
                <a:cubicBezTo>
                  <a:pt x="217" y="75"/>
                  <a:pt x="217" y="75"/>
                  <a:pt x="217" y="75"/>
                </a:cubicBezTo>
                <a:cubicBezTo>
                  <a:pt x="214" y="69"/>
                  <a:pt x="214" y="69"/>
                  <a:pt x="214" y="69"/>
                </a:cubicBezTo>
                <a:cubicBezTo>
                  <a:pt x="212" y="63"/>
                  <a:pt x="212" y="63"/>
                  <a:pt x="212" y="63"/>
                </a:cubicBezTo>
                <a:cubicBezTo>
                  <a:pt x="209" y="49"/>
                  <a:pt x="209" y="49"/>
                  <a:pt x="209" y="49"/>
                </a:cubicBezTo>
                <a:cubicBezTo>
                  <a:pt x="208" y="34"/>
                  <a:pt x="208" y="34"/>
                  <a:pt x="208" y="34"/>
                </a:cubicBezTo>
                <a:cubicBezTo>
                  <a:pt x="207" y="29"/>
                  <a:pt x="207" y="29"/>
                  <a:pt x="207" y="29"/>
                </a:cubicBezTo>
                <a:cubicBezTo>
                  <a:pt x="206" y="25"/>
                  <a:pt x="206" y="25"/>
                  <a:pt x="206" y="25"/>
                </a:cubicBezTo>
                <a:cubicBezTo>
                  <a:pt x="202" y="18"/>
                  <a:pt x="202" y="18"/>
                  <a:pt x="202" y="18"/>
                </a:cubicBezTo>
                <a:cubicBezTo>
                  <a:pt x="199" y="13"/>
                  <a:pt x="199" y="13"/>
                  <a:pt x="199" y="13"/>
                </a:cubicBezTo>
                <a:cubicBezTo>
                  <a:pt x="195" y="9"/>
                  <a:pt x="195" y="9"/>
                  <a:pt x="195" y="9"/>
                </a:cubicBezTo>
                <a:cubicBezTo>
                  <a:pt x="191" y="6"/>
                  <a:pt x="191" y="6"/>
                  <a:pt x="191" y="6"/>
                </a:cubicBezTo>
                <a:cubicBezTo>
                  <a:pt x="185" y="3"/>
                  <a:pt x="185" y="3"/>
                  <a:pt x="185" y="3"/>
                </a:cubicBezTo>
                <a:cubicBezTo>
                  <a:pt x="179" y="1"/>
                  <a:pt x="179" y="1"/>
                  <a:pt x="179" y="1"/>
                </a:cubicBezTo>
                <a:cubicBezTo>
                  <a:pt x="172" y="0"/>
                  <a:pt x="172" y="0"/>
                  <a:pt x="172" y="0"/>
                </a:cubicBezTo>
                <a:cubicBezTo>
                  <a:pt x="165" y="0"/>
                  <a:pt x="165" y="0"/>
                  <a:pt x="165" y="0"/>
                </a:cubicBezTo>
                <a:cubicBezTo>
                  <a:pt x="156" y="1"/>
                  <a:pt x="156" y="1"/>
                  <a:pt x="156" y="1"/>
                </a:cubicBezTo>
                <a:cubicBezTo>
                  <a:pt x="147" y="4"/>
                  <a:pt x="147" y="4"/>
                  <a:pt x="147" y="4"/>
                </a:cubicBezTo>
                <a:cubicBezTo>
                  <a:pt x="138" y="8"/>
                  <a:pt x="138" y="8"/>
                  <a:pt x="138" y="8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0" y="14"/>
                  <a:pt x="130" y="14"/>
                  <a:pt x="130" y="14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5" y="49"/>
                  <a:pt x="115" y="49"/>
                  <a:pt x="115" y="49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06" y="72"/>
                  <a:pt x="106" y="72"/>
                  <a:pt x="106" y="72"/>
                </a:cubicBezTo>
                <a:cubicBezTo>
                  <a:pt x="103" y="76"/>
                  <a:pt x="103" y="76"/>
                  <a:pt x="103" y="76"/>
                </a:cubicBezTo>
                <a:cubicBezTo>
                  <a:pt x="100" y="79"/>
                  <a:pt x="100" y="79"/>
                  <a:pt x="100" y="79"/>
                </a:cubicBezTo>
                <a:cubicBezTo>
                  <a:pt x="101" y="79"/>
                  <a:pt x="101" y="79"/>
                  <a:pt x="101" y="79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8" y="73"/>
                  <a:pt x="108" y="73"/>
                  <a:pt x="108" y="73"/>
                </a:cubicBezTo>
                <a:cubicBezTo>
                  <a:pt x="112" y="65"/>
                  <a:pt x="112" y="65"/>
                  <a:pt x="112" y="65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00" y="92"/>
                  <a:pt x="100" y="92"/>
                  <a:pt x="100" y="92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93" y="113"/>
                  <a:pt x="93" y="113"/>
                  <a:pt x="93" y="113"/>
                </a:cubicBezTo>
                <a:cubicBezTo>
                  <a:pt x="92" y="118"/>
                  <a:pt x="92" y="118"/>
                  <a:pt x="92" y="118"/>
                </a:cubicBezTo>
                <a:cubicBezTo>
                  <a:pt x="92" y="124"/>
                  <a:pt x="92" y="124"/>
                  <a:pt x="92" y="124"/>
                </a:cubicBezTo>
                <a:cubicBezTo>
                  <a:pt x="93" y="131"/>
                  <a:pt x="93" y="131"/>
                  <a:pt x="93" y="131"/>
                </a:cubicBezTo>
                <a:cubicBezTo>
                  <a:pt x="95" y="137"/>
                  <a:pt x="95" y="137"/>
                  <a:pt x="95" y="137"/>
                </a:cubicBezTo>
                <a:cubicBezTo>
                  <a:pt x="95" y="133"/>
                  <a:pt x="95" y="133"/>
                  <a:pt x="95" y="133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95" y="118"/>
                  <a:pt x="95" y="118"/>
                  <a:pt x="95" y="118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99" y="104"/>
                  <a:pt x="99" y="104"/>
                  <a:pt x="99" y="104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101" y="103"/>
                  <a:pt x="101" y="103"/>
                  <a:pt x="101" y="103"/>
                </a:cubicBezTo>
                <a:cubicBezTo>
                  <a:pt x="100" y="109"/>
                  <a:pt x="100" y="109"/>
                  <a:pt x="100" y="109"/>
                </a:cubicBezTo>
                <a:cubicBezTo>
                  <a:pt x="98" y="116"/>
                  <a:pt x="98" y="116"/>
                  <a:pt x="98" y="116"/>
                </a:cubicBezTo>
                <a:cubicBezTo>
                  <a:pt x="97" y="124"/>
                  <a:pt x="97" y="124"/>
                  <a:pt x="97" y="124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1" y="147"/>
                  <a:pt x="101" y="147"/>
                  <a:pt x="101" y="147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5" y="153"/>
                  <a:pt x="95" y="153"/>
                  <a:pt x="95" y="153"/>
                </a:cubicBezTo>
                <a:cubicBezTo>
                  <a:pt x="87" y="154"/>
                  <a:pt x="87" y="154"/>
                  <a:pt x="87" y="154"/>
                </a:cubicBezTo>
                <a:cubicBezTo>
                  <a:pt x="80" y="156"/>
                  <a:pt x="80" y="156"/>
                  <a:pt x="80" y="156"/>
                </a:cubicBezTo>
                <a:cubicBezTo>
                  <a:pt x="73" y="159"/>
                  <a:pt x="73" y="159"/>
                  <a:pt x="73" y="159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63" y="168"/>
                  <a:pt x="63" y="168"/>
                  <a:pt x="63" y="168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57" y="182"/>
                  <a:pt x="57" y="182"/>
                  <a:pt x="57" y="182"/>
                </a:cubicBezTo>
                <a:cubicBezTo>
                  <a:pt x="55" y="189"/>
                  <a:pt x="55" y="189"/>
                  <a:pt x="55" y="189"/>
                </a:cubicBezTo>
                <a:cubicBezTo>
                  <a:pt x="55" y="197"/>
                  <a:pt x="55" y="197"/>
                  <a:pt x="55" y="197"/>
                </a:cubicBezTo>
                <a:cubicBezTo>
                  <a:pt x="51" y="301"/>
                  <a:pt x="51" y="301"/>
                  <a:pt x="51" y="301"/>
                </a:cubicBezTo>
                <a:cubicBezTo>
                  <a:pt x="50" y="366"/>
                  <a:pt x="50" y="366"/>
                  <a:pt x="50" y="366"/>
                </a:cubicBezTo>
                <a:cubicBezTo>
                  <a:pt x="50" y="389"/>
                  <a:pt x="50" y="389"/>
                  <a:pt x="50" y="389"/>
                </a:cubicBezTo>
                <a:cubicBezTo>
                  <a:pt x="50" y="403"/>
                  <a:pt x="50" y="403"/>
                  <a:pt x="50" y="403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53" y="427"/>
                  <a:pt x="53" y="427"/>
                  <a:pt x="53" y="427"/>
                </a:cubicBezTo>
                <a:cubicBezTo>
                  <a:pt x="54" y="444"/>
                  <a:pt x="54" y="444"/>
                  <a:pt x="54" y="444"/>
                </a:cubicBezTo>
                <a:cubicBezTo>
                  <a:pt x="53" y="465"/>
                  <a:pt x="53" y="465"/>
                  <a:pt x="53" y="465"/>
                </a:cubicBezTo>
                <a:cubicBezTo>
                  <a:pt x="53" y="475"/>
                  <a:pt x="53" y="475"/>
                  <a:pt x="53" y="475"/>
                </a:cubicBezTo>
                <a:cubicBezTo>
                  <a:pt x="53" y="479"/>
                  <a:pt x="53" y="479"/>
                  <a:pt x="53" y="479"/>
                </a:cubicBezTo>
                <a:cubicBezTo>
                  <a:pt x="55" y="481"/>
                  <a:pt x="55" y="481"/>
                  <a:pt x="55" y="481"/>
                </a:cubicBezTo>
                <a:cubicBezTo>
                  <a:pt x="56" y="482"/>
                  <a:pt x="56" y="482"/>
                  <a:pt x="56" y="482"/>
                </a:cubicBezTo>
                <a:cubicBezTo>
                  <a:pt x="53" y="488"/>
                  <a:pt x="53" y="488"/>
                  <a:pt x="53" y="488"/>
                </a:cubicBezTo>
                <a:cubicBezTo>
                  <a:pt x="52" y="495"/>
                  <a:pt x="52" y="495"/>
                  <a:pt x="52" y="495"/>
                </a:cubicBezTo>
                <a:cubicBezTo>
                  <a:pt x="27" y="494"/>
                  <a:pt x="27" y="494"/>
                  <a:pt x="27" y="494"/>
                </a:cubicBezTo>
                <a:cubicBezTo>
                  <a:pt x="21" y="494"/>
                  <a:pt x="21" y="494"/>
                  <a:pt x="21" y="494"/>
                </a:cubicBezTo>
                <a:cubicBezTo>
                  <a:pt x="14" y="496"/>
                  <a:pt x="14" y="496"/>
                  <a:pt x="14" y="496"/>
                </a:cubicBezTo>
                <a:cubicBezTo>
                  <a:pt x="8" y="498"/>
                  <a:pt x="8" y="498"/>
                  <a:pt x="8" y="498"/>
                </a:cubicBezTo>
                <a:cubicBezTo>
                  <a:pt x="6" y="500"/>
                  <a:pt x="6" y="500"/>
                  <a:pt x="6" y="500"/>
                </a:cubicBezTo>
                <a:cubicBezTo>
                  <a:pt x="5" y="501"/>
                  <a:pt x="5" y="501"/>
                  <a:pt x="5" y="501"/>
                </a:cubicBezTo>
                <a:cubicBezTo>
                  <a:pt x="2" y="585"/>
                  <a:pt x="2" y="585"/>
                  <a:pt x="2" y="585"/>
                </a:cubicBezTo>
                <a:cubicBezTo>
                  <a:pt x="0" y="643"/>
                  <a:pt x="0" y="643"/>
                  <a:pt x="0" y="643"/>
                </a:cubicBezTo>
                <a:cubicBezTo>
                  <a:pt x="0" y="673"/>
                  <a:pt x="0" y="673"/>
                  <a:pt x="0" y="673"/>
                </a:cubicBezTo>
                <a:cubicBezTo>
                  <a:pt x="1" y="678"/>
                  <a:pt x="1" y="678"/>
                  <a:pt x="1" y="678"/>
                </a:cubicBezTo>
                <a:cubicBezTo>
                  <a:pt x="3" y="681"/>
                  <a:pt x="3" y="681"/>
                  <a:pt x="3" y="681"/>
                </a:cubicBezTo>
                <a:cubicBezTo>
                  <a:pt x="6" y="682"/>
                  <a:pt x="6" y="682"/>
                  <a:pt x="6" y="682"/>
                </a:cubicBezTo>
                <a:cubicBezTo>
                  <a:pt x="8" y="684"/>
                  <a:pt x="8" y="684"/>
                  <a:pt x="8" y="684"/>
                </a:cubicBezTo>
                <a:cubicBezTo>
                  <a:pt x="38" y="692"/>
                  <a:pt x="38" y="692"/>
                  <a:pt x="38" y="692"/>
                </a:cubicBezTo>
                <a:cubicBezTo>
                  <a:pt x="90" y="706"/>
                  <a:pt x="90" y="706"/>
                  <a:pt x="90" y="706"/>
                </a:cubicBezTo>
                <a:cubicBezTo>
                  <a:pt x="88" y="722"/>
                  <a:pt x="88" y="722"/>
                  <a:pt x="88" y="722"/>
                </a:cubicBezTo>
                <a:cubicBezTo>
                  <a:pt x="87" y="740"/>
                  <a:pt x="87" y="740"/>
                  <a:pt x="87" y="740"/>
                </a:cubicBezTo>
                <a:cubicBezTo>
                  <a:pt x="88" y="794"/>
                  <a:pt x="88" y="794"/>
                  <a:pt x="88" y="794"/>
                </a:cubicBezTo>
                <a:cubicBezTo>
                  <a:pt x="87" y="821"/>
                  <a:pt x="87" y="821"/>
                  <a:pt x="87" y="821"/>
                </a:cubicBezTo>
                <a:cubicBezTo>
                  <a:pt x="87" y="838"/>
                  <a:pt x="87" y="838"/>
                  <a:pt x="87" y="838"/>
                </a:cubicBezTo>
                <a:cubicBezTo>
                  <a:pt x="82" y="872"/>
                  <a:pt x="82" y="872"/>
                  <a:pt x="82" y="872"/>
                </a:cubicBezTo>
                <a:cubicBezTo>
                  <a:pt x="80" y="892"/>
                  <a:pt x="80" y="892"/>
                  <a:pt x="80" y="892"/>
                </a:cubicBezTo>
                <a:cubicBezTo>
                  <a:pt x="76" y="907"/>
                  <a:pt x="76" y="907"/>
                  <a:pt x="76" y="907"/>
                </a:cubicBezTo>
                <a:cubicBezTo>
                  <a:pt x="75" y="914"/>
                  <a:pt x="75" y="914"/>
                  <a:pt x="75" y="914"/>
                </a:cubicBezTo>
                <a:cubicBezTo>
                  <a:pt x="75" y="922"/>
                  <a:pt x="75" y="922"/>
                  <a:pt x="75" y="922"/>
                </a:cubicBezTo>
                <a:cubicBezTo>
                  <a:pt x="75" y="930"/>
                  <a:pt x="75" y="930"/>
                  <a:pt x="75" y="930"/>
                </a:cubicBezTo>
                <a:cubicBezTo>
                  <a:pt x="76" y="939"/>
                  <a:pt x="76" y="939"/>
                  <a:pt x="76" y="939"/>
                </a:cubicBezTo>
                <a:cubicBezTo>
                  <a:pt x="78" y="946"/>
                  <a:pt x="78" y="946"/>
                  <a:pt x="78" y="946"/>
                </a:cubicBezTo>
                <a:cubicBezTo>
                  <a:pt x="81" y="952"/>
                  <a:pt x="81" y="952"/>
                  <a:pt x="81" y="952"/>
                </a:cubicBezTo>
                <a:cubicBezTo>
                  <a:pt x="83" y="954"/>
                  <a:pt x="83" y="954"/>
                  <a:pt x="83" y="954"/>
                </a:cubicBezTo>
                <a:cubicBezTo>
                  <a:pt x="86" y="956"/>
                  <a:pt x="86" y="956"/>
                  <a:pt x="86" y="956"/>
                </a:cubicBezTo>
                <a:cubicBezTo>
                  <a:pt x="89" y="957"/>
                  <a:pt x="89" y="957"/>
                  <a:pt x="89" y="957"/>
                </a:cubicBezTo>
                <a:cubicBezTo>
                  <a:pt x="92" y="957"/>
                  <a:pt x="92" y="957"/>
                  <a:pt x="92" y="957"/>
                </a:cubicBezTo>
                <a:cubicBezTo>
                  <a:pt x="94" y="956"/>
                  <a:pt x="94" y="956"/>
                  <a:pt x="94" y="956"/>
                </a:cubicBezTo>
                <a:cubicBezTo>
                  <a:pt x="97" y="954"/>
                  <a:pt x="97" y="954"/>
                  <a:pt x="97" y="954"/>
                </a:cubicBezTo>
                <a:cubicBezTo>
                  <a:pt x="99" y="951"/>
                  <a:pt x="99" y="951"/>
                  <a:pt x="99" y="951"/>
                </a:cubicBezTo>
                <a:cubicBezTo>
                  <a:pt x="100" y="947"/>
                  <a:pt x="100" y="947"/>
                  <a:pt x="100" y="947"/>
                </a:cubicBezTo>
                <a:cubicBezTo>
                  <a:pt x="102" y="939"/>
                  <a:pt x="102" y="939"/>
                  <a:pt x="102" y="939"/>
                </a:cubicBezTo>
                <a:cubicBezTo>
                  <a:pt x="103" y="930"/>
                  <a:pt x="103" y="930"/>
                  <a:pt x="103" y="930"/>
                </a:cubicBezTo>
                <a:cubicBezTo>
                  <a:pt x="102" y="895"/>
                  <a:pt x="102" y="895"/>
                  <a:pt x="102" y="895"/>
                </a:cubicBezTo>
                <a:cubicBezTo>
                  <a:pt x="102" y="870"/>
                  <a:pt x="102" y="870"/>
                  <a:pt x="102" y="870"/>
                </a:cubicBezTo>
                <a:cubicBezTo>
                  <a:pt x="103" y="857"/>
                  <a:pt x="103" y="857"/>
                  <a:pt x="103" y="857"/>
                </a:cubicBezTo>
                <a:cubicBezTo>
                  <a:pt x="105" y="845"/>
                  <a:pt x="105" y="845"/>
                  <a:pt x="105" y="845"/>
                </a:cubicBezTo>
                <a:cubicBezTo>
                  <a:pt x="119" y="775"/>
                  <a:pt x="119" y="775"/>
                  <a:pt x="119" y="775"/>
                </a:cubicBezTo>
                <a:cubicBezTo>
                  <a:pt x="126" y="739"/>
                  <a:pt x="126" y="739"/>
                  <a:pt x="126" y="739"/>
                </a:cubicBezTo>
                <a:cubicBezTo>
                  <a:pt x="129" y="725"/>
                  <a:pt x="129" y="725"/>
                  <a:pt x="129" y="725"/>
                </a:cubicBezTo>
                <a:cubicBezTo>
                  <a:pt x="129" y="717"/>
                  <a:pt x="129" y="717"/>
                  <a:pt x="129" y="717"/>
                </a:cubicBezTo>
                <a:cubicBezTo>
                  <a:pt x="130" y="707"/>
                  <a:pt x="130" y="707"/>
                  <a:pt x="130" y="707"/>
                </a:cubicBezTo>
                <a:cubicBezTo>
                  <a:pt x="133" y="694"/>
                  <a:pt x="133" y="694"/>
                  <a:pt x="133" y="694"/>
                </a:cubicBezTo>
                <a:cubicBezTo>
                  <a:pt x="139" y="670"/>
                  <a:pt x="139" y="670"/>
                  <a:pt x="139" y="670"/>
                </a:cubicBezTo>
                <a:cubicBezTo>
                  <a:pt x="145" y="642"/>
                  <a:pt x="145" y="642"/>
                  <a:pt x="145" y="642"/>
                </a:cubicBezTo>
                <a:cubicBezTo>
                  <a:pt x="166" y="642"/>
                  <a:pt x="166" y="642"/>
                  <a:pt x="166" y="642"/>
                </a:cubicBezTo>
                <a:cubicBezTo>
                  <a:pt x="177" y="641"/>
                  <a:pt x="177" y="641"/>
                  <a:pt x="177" y="641"/>
                </a:cubicBezTo>
                <a:cubicBezTo>
                  <a:pt x="181" y="641"/>
                  <a:pt x="181" y="641"/>
                  <a:pt x="181" y="641"/>
                </a:cubicBezTo>
                <a:cubicBezTo>
                  <a:pt x="183" y="639"/>
                  <a:pt x="183" y="639"/>
                  <a:pt x="183" y="639"/>
                </a:cubicBezTo>
                <a:cubicBezTo>
                  <a:pt x="183" y="640"/>
                  <a:pt x="183" y="640"/>
                  <a:pt x="183" y="640"/>
                </a:cubicBezTo>
                <a:cubicBezTo>
                  <a:pt x="183" y="642"/>
                  <a:pt x="183" y="642"/>
                  <a:pt x="183" y="642"/>
                </a:cubicBezTo>
                <a:cubicBezTo>
                  <a:pt x="184" y="650"/>
                  <a:pt x="184" y="650"/>
                  <a:pt x="184" y="650"/>
                </a:cubicBezTo>
                <a:cubicBezTo>
                  <a:pt x="184" y="667"/>
                  <a:pt x="184" y="667"/>
                  <a:pt x="184" y="667"/>
                </a:cubicBezTo>
                <a:cubicBezTo>
                  <a:pt x="185" y="691"/>
                  <a:pt x="185" y="691"/>
                  <a:pt x="185" y="691"/>
                </a:cubicBezTo>
                <a:cubicBezTo>
                  <a:pt x="188" y="717"/>
                  <a:pt x="188" y="717"/>
                  <a:pt x="188" y="717"/>
                </a:cubicBezTo>
                <a:cubicBezTo>
                  <a:pt x="192" y="741"/>
                  <a:pt x="192" y="741"/>
                  <a:pt x="192" y="741"/>
                </a:cubicBezTo>
                <a:cubicBezTo>
                  <a:pt x="195" y="759"/>
                  <a:pt x="195" y="759"/>
                  <a:pt x="195" y="759"/>
                </a:cubicBezTo>
                <a:cubicBezTo>
                  <a:pt x="199" y="780"/>
                  <a:pt x="199" y="780"/>
                  <a:pt x="199" y="780"/>
                </a:cubicBezTo>
                <a:cubicBezTo>
                  <a:pt x="202" y="810"/>
                  <a:pt x="202" y="810"/>
                  <a:pt x="202" y="810"/>
                </a:cubicBezTo>
                <a:cubicBezTo>
                  <a:pt x="205" y="839"/>
                  <a:pt x="205" y="839"/>
                  <a:pt x="205" y="839"/>
                </a:cubicBezTo>
                <a:cubicBezTo>
                  <a:pt x="205" y="861"/>
                  <a:pt x="205" y="861"/>
                  <a:pt x="205" y="861"/>
                </a:cubicBezTo>
                <a:cubicBezTo>
                  <a:pt x="204" y="875"/>
                  <a:pt x="204" y="875"/>
                  <a:pt x="204" y="875"/>
                </a:cubicBezTo>
                <a:cubicBezTo>
                  <a:pt x="202" y="885"/>
                  <a:pt x="202" y="885"/>
                  <a:pt x="202" y="885"/>
                </a:cubicBezTo>
                <a:cubicBezTo>
                  <a:pt x="201" y="892"/>
                  <a:pt x="201" y="892"/>
                  <a:pt x="201" y="892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911"/>
                  <a:pt x="201" y="911"/>
                  <a:pt x="201" y="911"/>
                </a:cubicBezTo>
                <a:cubicBezTo>
                  <a:pt x="204" y="911"/>
                  <a:pt x="204" y="911"/>
                  <a:pt x="204" y="911"/>
                </a:cubicBezTo>
                <a:cubicBezTo>
                  <a:pt x="205" y="906"/>
                  <a:pt x="206" y="904"/>
                  <a:pt x="206" y="903"/>
                </a:cubicBezTo>
                <a:cubicBezTo>
                  <a:pt x="211" y="910"/>
                  <a:pt x="211" y="910"/>
                  <a:pt x="211" y="910"/>
                </a:cubicBezTo>
                <a:cubicBezTo>
                  <a:pt x="214" y="918"/>
                  <a:pt x="214" y="918"/>
                  <a:pt x="214" y="918"/>
                </a:cubicBezTo>
                <a:cubicBezTo>
                  <a:pt x="215" y="922"/>
                  <a:pt x="215" y="922"/>
                  <a:pt x="215" y="922"/>
                </a:cubicBezTo>
                <a:cubicBezTo>
                  <a:pt x="215" y="925"/>
                  <a:pt x="215" y="925"/>
                  <a:pt x="215" y="925"/>
                </a:cubicBezTo>
                <a:cubicBezTo>
                  <a:pt x="216" y="929"/>
                  <a:pt x="216" y="929"/>
                  <a:pt x="216" y="929"/>
                </a:cubicBezTo>
                <a:cubicBezTo>
                  <a:pt x="217" y="933"/>
                  <a:pt x="217" y="933"/>
                  <a:pt x="217" y="933"/>
                </a:cubicBezTo>
                <a:cubicBezTo>
                  <a:pt x="219" y="937"/>
                  <a:pt x="219" y="937"/>
                  <a:pt x="219" y="937"/>
                </a:cubicBezTo>
                <a:cubicBezTo>
                  <a:pt x="222" y="941"/>
                  <a:pt x="222" y="941"/>
                  <a:pt x="222" y="941"/>
                </a:cubicBezTo>
                <a:cubicBezTo>
                  <a:pt x="227" y="945"/>
                  <a:pt x="227" y="945"/>
                  <a:pt x="227" y="945"/>
                </a:cubicBezTo>
                <a:cubicBezTo>
                  <a:pt x="233" y="947"/>
                  <a:pt x="233" y="947"/>
                  <a:pt x="233" y="947"/>
                </a:cubicBezTo>
                <a:cubicBezTo>
                  <a:pt x="241" y="949"/>
                  <a:pt x="241" y="949"/>
                  <a:pt x="241" y="949"/>
                </a:cubicBezTo>
                <a:cubicBezTo>
                  <a:pt x="252" y="950"/>
                  <a:pt x="252" y="950"/>
                  <a:pt x="252" y="950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7" y="948"/>
                  <a:pt x="257" y="948"/>
                  <a:pt x="257" y="948"/>
                </a:cubicBezTo>
                <a:cubicBezTo>
                  <a:pt x="258" y="947"/>
                  <a:pt x="258" y="947"/>
                  <a:pt x="258" y="947"/>
                </a:cubicBezTo>
                <a:cubicBezTo>
                  <a:pt x="257" y="943"/>
                  <a:pt x="257" y="943"/>
                  <a:pt x="257" y="943"/>
                </a:cubicBezTo>
                <a:cubicBezTo>
                  <a:pt x="256" y="938"/>
                  <a:pt x="256" y="938"/>
                  <a:pt x="256" y="938"/>
                </a:cubicBezTo>
                <a:cubicBezTo>
                  <a:pt x="249" y="927"/>
                  <a:pt x="249" y="927"/>
                  <a:pt x="249" y="927"/>
                </a:cubicBezTo>
                <a:cubicBezTo>
                  <a:pt x="242" y="915"/>
                  <a:pt x="242" y="915"/>
                  <a:pt x="242" y="915"/>
                </a:cubicBezTo>
                <a:cubicBezTo>
                  <a:pt x="235" y="902"/>
                  <a:pt x="235" y="902"/>
                  <a:pt x="235" y="902"/>
                </a:cubicBezTo>
                <a:cubicBezTo>
                  <a:pt x="230" y="887"/>
                  <a:pt x="230" y="887"/>
                  <a:pt x="230" y="887"/>
                </a:cubicBezTo>
                <a:cubicBezTo>
                  <a:pt x="227" y="873"/>
                  <a:pt x="227" y="873"/>
                  <a:pt x="227" y="873"/>
                </a:cubicBezTo>
                <a:cubicBezTo>
                  <a:pt x="226" y="861"/>
                  <a:pt x="226" y="861"/>
                  <a:pt x="226" y="861"/>
                </a:cubicBezTo>
                <a:cubicBezTo>
                  <a:pt x="229" y="795"/>
                  <a:pt x="229" y="795"/>
                  <a:pt x="229" y="795"/>
                </a:cubicBezTo>
                <a:cubicBezTo>
                  <a:pt x="231" y="748"/>
                  <a:pt x="231" y="748"/>
                  <a:pt x="231" y="748"/>
                </a:cubicBezTo>
                <a:cubicBezTo>
                  <a:pt x="231" y="726"/>
                  <a:pt x="231" y="726"/>
                  <a:pt x="231" y="726"/>
                </a:cubicBezTo>
                <a:cubicBezTo>
                  <a:pt x="231" y="709"/>
                  <a:pt x="231" y="709"/>
                  <a:pt x="231" y="709"/>
                </a:cubicBezTo>
                <a:cubicBezTo>
                  <a:pt x="229" y="681"/>
                  <a:pt x="229" y="681"/>
                  <a:pt x="229" y="681"/>
                </a:cubicBezTo>
                <a:cubicBezTo>
                  <a:pt x="227" y="657"/>
                  <a:pt x="227" y="657"/>
                  <a:pt x="227" y="657"/>
                </a:cubicBezTo>
                <a:cubicBezTo>
                  <a:pt x="227" y="641"/>
                  <a:pt x="227" y="641"/>
                  <a:pt x="227" y="641"/>
                </a:cubicBezTo>
                <a:cubicBezTo>
                  <a:pt x="227" y="636"/>
                  <a:pt x="227" y="636"/>
                  <a:pt x="227" y="636"/>
                </a:cubicBezTo>
                <a:cubicBezTo>
                  <a:pt x="228" y="634"/>
                  <a:pt x="228" y="634"/>
                  <a:pt x="228" y="634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1" y="633"/>
                  <a:pt x="241" y="633"/>
                  <a:pt x="241" y="633"/>
                </a:cubicBezTo>
                <a:cubicBezTo>
                  <a:pt x="244" y="632"/>
                  <a:pt x="244" y="632"/>
                  <a:pt x="244" y="632"/>
                </a:cubicBezTo>
                <a:cubicBezTo>
                  <a:pt x="245" y="630"/>
                  <a:pt x="245" y="630"/>
                  <a:pt x="245" y="630"/>
                </a:cubicBezTo>
                <a:cubicBezTo>
                  <a:pt x="246" y="627"/>
                  <a:pt x="246" y="627"/>
                  <a:pt x="246" y="627"/>
                </a:cubicBezTo>
                <a:cubicBezTo>
                  <a:pt x="248" y="530"/>
                  <a:pt x="248" y="530"/>
                  <a:pt x="248" y="530"/>
                </a:cubicBezTo>
                <a:cubicBezTo>
                  <a:pt x="249" y="461"/>
                  <a:pt x="249" y="461"/>
                  <a:pt x="249" y="461"/>
                </a:cubicBezTo>
                <a:cubicBezTo>
                  <a:pt x="249" y="434"/>
                  <a:pt x="249" y="434"/>
                  <a:pt x="249" y="434"/>
                </a:cubicBezTo>
                <a:cubicBezTo>
                  <a:pt x="248" y="418"/>
                  <a:pt x="248" y="418"/>
                  <a:pt x="248" y="418"/>
                </a:cubicBezTo>
                <a:cubicBezTo>
                  <a:pt x="252" y="428"/>
                  <a:pt x="252" y="428"/>
                  <a:pt x="252" y="428"/>
                </a:cubicBezTo>
                <a:cubicBezTo>
                  <a:pt x="258" y="441"/>
                  <a:pt x="258" y="441"/>
                  <a:pt x="258" y="441"/>
                </a:cubicBezTo>
                <a:cubicBezTo>
                  <a:pt x="266" y="458"/>
                  <a:pt x="266" y="458"/>
                  <a:pt x="266" y="458"/>
                </a:cubicBezTo>
                <a:cubicBezTo>
                  <a:pt x="271" y="467"/>
                  <a:pt x="271" y="467"/>
                  <a:pt x="271" y="467"/>
                </a:cubicBezTo>
                <a:cubicBezTo>
                  <a:pt x="275" y="474"/>
                  <a:pt x="275" y="474"/>
                  <a:pt x="275" y="474"/>
                </a:cubicBezTo>
                <a:cubicBezTo>
                  <a:pt x="279" y="477"/>
                  <a:pt x="279" y="477"/>
                  <a:pt x="279" y="477"/>
                </a:cubicBezTo>
                <a:cubicBezTo>
                  <a:pt x="281" y="479"/>
                  <a:pt x="281" y="479"/>
                  <a:pt x="281" y="479"/>
                </a:cubicBezTo>
                <a:cubicBezTo>
                  <a:pt x="282" y="480"/>
                  <a:pt x="282" y="480"/>
                  <a:pt x="282" y="480"/>
                </a:cubicBezTo>
                <a:cubicBezTo>
                  <a:pt x="281" y="481"/>
                  <a:pt x="281" y="481"/>
                  <a:pt x="281" y="481"/>
                </a:cubicBezTo>
                <a:cubicBezTo>
                  <a:pt x="279" y="483"/>
                  <a:pt x="279" y="483"/>
                  <a:pt x="279" y="483"/>
                </a:cubicBezTo>
                <a:cubicBezTo>
                  <a:pt x="276" y="486"/>
                  <a:pt x="276" y="486"/>
                  <a:pt x="276" y="486"/>
                </a:cubicBezTo>
                <a:cubicBezTo>
                  <a:pt x="276" y="488"/>
                  <a:pt x="276" y="488"/>
                  <a:pt x="276" y="488"/>
                </a:cubicBezTo>
                <a:cubicBezTo>
                  <a:pt x="280" y="488"/>
                  <a:pt x="280" y="488"/>
                  <a:pt x="280" y="488"/>
                </a:cubicBezTo>
                <a:cubicBezTo>
                  <a:pt x="283" y="488"/>
                  <a:pt x="283" y="488"/>
                  <a:pt x="283" y="488"/>
                </a:cubicBezTo>
                <a:cubicBezTo>
                  <a:pt x="285" y="490"/>
                  <a:pt x="285" y="490"/>
                  <a:pt x="285" y="490"/>
                </a:cubicBezTo>
                <a:cubicBezTo>
                  <a:pt x="286" y="492"/>
                  <a:pt x="286" y="492"/>
                  <a:pt x="286" y="492"/>
                </a:cubicBezTo>
                <a:cubicBezTo>
                  <a:pt x="284" y="495"/>
                  <a:pt x="284" y="495"/>
                  <a:pt x="284" y="495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3" y="498"/>
                  <a:pt x="283" y="498"/>
                  <a:pt x="283" y="498"/>
                </a:cubicBezTo>
                <a:cubicBezTo>
                  <a:pt x="285" y="499"/>
                  <a:pt x="285" y="499"/>
                  <a:pt x="285" y="499"/>
                </a:cubicBezTo>
                <a:cubicBezTo>
                  <a:pt x="288" y="499"/>
                  <a:pt x="288" y="499"/>
                  <a:pt x="288" y="499"/>
                </a:cubicBezTo>
                <a:cubicBezTo>
                  <a:pt x="295" y="495"/>
                  <a:pt x="295" y="495"/>
                  <a:pt x="295" y="495"/>
                </a:cubicBezTo>
                <a:cubicBezTo>
                  <a:pt x="298" y="494"/>
                  <a:pt x="298" y="494"/>
                  <a:pt x="298" y="494"/>
                </a:cubicBezTo>
                <a:cubicBezTo>
                  <a:pt x="299" y="495"/>
                  <a:pt x="299" y="495"/>
                  <a:pt x="299" y="495"/>
                </a:cubicBezTo>
                <a:cubicBezTo>
                  <a:pt x="299" y="496"/>
                  <a:pt x="299" y="496"/>
                  <a:pt x="299" y="496"/>
                </a:cubicBezTo>
                <a:cubicBezTo>
                  <a:pt x="299" y="499"/>
                  <a:pt x="299" y="499"/>
                  <a:pt x="299" y="499"/>
                </a:cubicBezTo>
                <a:cubicBezTo>
                  <a:pt x="301" y="501"/>
                  <a:pt x="301" y="501"/>
                  <a:pt x="301" y="501"/>
                </a:cubicBezTo>
                <a:cubicBezTo>
                  <a:pt x="303" y="501"/>
                  <a:pt x="303" y="501"/>
                  <a:pt x="303" y="501"/>
                </a:cubicBezTo>
                <a:cubicBezTo>
                  <a:pt x="305" y="497"/>
                  <a:pt x="305" y="497"/>
                  <a:pt x="305" y="497"/>
                </a:cubicBezTo>
                <a:cubicBezTo>
                  <a:pt x="306" y="492"/>
                  <a:pt x="306" y="492"/>
                  <a:pt x="306" y="492"/>
                </a:cubicBezTo>
                <a:cubicBezTo>
                  <a:pt x="306" y="487"/>
                  <a:pt x="306" y="487"/>
                  <a:pt x="306" y="487"/>
                </a:cubicBezTo>
                <a:lnTo>
                  <a:pt x="304" y="482"/>
                </a:lnTo>
                <a:close/>
                <a:moveTo>
                  <a:pt x="68" y="502"/>
                </a:moveTo>
                <a:cubicBezTo>
                  <a:pt x="66" y="503"/>
                  <a:pt x="66" y="503"/>
                  <a:pt x="66" y="503"/>
                </a:cubicBezTo>
                <a:cubicBezTo>
                  <a:pt x="64" y="502"/>
                  <a:pt x="64" y="502"/>
                  <a:pt x="64" y="502"/>
                </a:cubicBezTo>
                <a:cubicBezTo>
                  <a:pt x="63" y="500"/>
                  <a:pt x="63" y="500"/>
                  <a:pt x="63" y="500"/>
                </a:cubicBezTo>
                <a:cubicBezTo>
                  <a:pt x="63" y="491"/>
                  <a:pt x="63" y="491"/>
                  <a:pt x="63" y="491"/>
                </a:cubicBezTo>
                <a:cubicBezTo>
                  <a:pt x="71" y="501"/>
                  <a:pt x="71" y="501"/>
                  <a:pt x="71" y="501"/>
                </a:cubicBezTo>
                <a:lnTo>
                  <a:pt x="68" y="502"/>
                </a:lnTo>
                <a:close/>
                <a:moveTo>
                  <a:pt x="76" y="497"/>
                </a:moveTo>
                <a:cubicBezTo>
                  <a:pt x="75" y="500"/>
                  <a:pt x="75" y="500"/>
                  <a:pt x="75" y="500"/>
                </a:cubicBezTo>
                <a:cubicBezTo>
                  <a:pt x="73" y="500"/>
                  <a:pt x="73" y="500"/>
                  <a:pt x="73" y="500"/>
                </a:cubicBezTo>
                <a:cubicBezTo>
                  <a:pt x="74" y="495"/>
                  <a:pt x="74" y="495"/>
                  <a:pt x="74" y="495"/>
                </a:cubicBezTo>
                <a:cubicBezTo>
                  <a:pt x="75" y="490"/>
                  <a:pt x="75" y="490"/>
                  <a:pt x="75" y="490"/>
                </a:cubicBezTo>
                <a:cubicBezTo>
                  <a:pt x="76" y="494"/>
                  <a:pt x="76" y="494"/>
                  <a:pt x="76" y="494"/>
                </a:cubicBezTo>
                <a:lnTo>
                  <a:pt x="76" y="497"/>
                </a:lnTo>
                <a:close/>
                <a:moveTo>
                  <a:pt x="87" y="471"/>
                </a:moveTo>
                <a:cubicBezTo>
                  <a:pt x="86" y="486"/>
                  <a:pt x="86" y="486"/>
                  <a:pt x="86" y="486"/>
                </a:cubicBezTo>
                <a:cubicBezTo>
                  <a:pt x="84" y="482"/>
                  <a:pt x="84" y="482"/>
                  <a:pt x="84" y="482"/>
                </a:cubicBezTo>
                <a:cubicBezTo>
                  <a:pt x="81" y="479"/>
                  <a:pt x="81" y="479"/>
                  <a:pt x="81" y="479"/>
                </a:cubicBezTo>
                <a:cubicBezTo>
                  <a:pt x="79" y="478"/>
                  <a:pt x="79" y="478"/>
                  <a:pt x="79" y="478"/>
                </a:cubicBezTo>
                <a:cubicBezTo>
                  <a:pt x="76" y="472"/>
                  <a:pt x="76" y="472"/>
                  <a:pt x="76" y="472"/>
                </a:cubicBezTo>
                <a:cubicBezTo>
                  <a:pt x="75" y="470"/>
                  <a:pt x="75" y="470"/>
                  <a:pt x="75" y="470"/>
                </a:cubicBezTo>
                <a:cubicBezTo>
                  <a:pt x="75" y="468"/>
                  <a:pt x="75" y="468"/>
                  <a:pt x="75" y="468"/>
                </a:cubicBezTo>
                <a:cubicBezTo>
                  <a:pt x="76" y="463"/>
                  <a:pt x="76" y="463"/>
                  <a:pt x="76" y="463"/>
                </a:cubicBezTo>
                <a:cubicBezTo>
                  <a:pt x="79" y="458"/>
                  <a:pt x="79" y="458"/>
                  <a:pt x="79" y="458"/>
                </a:cubicBezTo>
                <a:cubicBezTo>
                  <a:pt x="79" y="455"/>
                  <a:pt x="79" y="455"/>
                  <a:pt x="79" y="455"/>
                </a:cubicBezTo>
                <a:cubicBezTo>
                  <a:pt x="80" y="451"/>
                  <a:pt x="80" y="451"/>
                  <a:pt x="80" y="451"/>
                </a:cubicBezTo>
                <a:cubicBezTo>
                  <a:pt x="81" y="406"/>
                  <a:pt x="81" y="406"/>
                  <a:pt x="81" y="406"/>
                </a:cubicBezTo>
                <a:cubicBezTo>
                  <a:pt x="82" y="384"/>
                  <a:pt x="82" y="384"/>
                  <a:pt x="82" y="384"/>
                </a:cubicBezTo>
                <a:cubicBezTo>
                  <a:pt x="83" y="379"/>
                  <a:pt x="83" y="379"/>
                  <a:pt x="83" y="379"/>
                </a:cubicBezTo>
                <a:cubicBezTo>
                  <a:pt x="83" y="380"/>
                  <a:pt x="83" y="380"/>
                  <a:pt x="83" y="380"/>
                </a:cubicBezTo>
                <a:cubicBezTo>
                  <a:pt x="86" y="412"/>
                  <a:pt x="86" y="412"/>
                  <a:pt x="86" y="412"/>
                </a:cubicBezTo>
                <a:cubicBezTo>
                  <a:pt x="87" y="442"/>
                  <a:pt x="87" y="442"/>
                  <a:pt x="87" y="442"/>
                </a:cubicBezTo>
                <a:cubicBezTo>
                  <a:pt x="88" y="458"/>
                  <a:pt x="88" y="458"/>
                  <a:pt x="88" y="458"/>
                </a:cubicBezTo>
                <a:lnTo>
                  <a:pt x="87" y="471"/>
                </a:lnTo>
                <a:close/>
                <a:moveTo>
                  <a:pt x="100" y="138"/>
                </a:moveTo>
                <a:cubicBezTo>
                  <a:pt x="99" y="132"/>
                  <a:pt x="99" y="132"/>
                  <a:pt x="99" y="132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43"/>
                  <a:pt x="101" y="143"/>
                  <a:pt x="101" y="143"/>
                </a:cubicBezTo>
                <a:lnTo>
                  <a:pt x="100" y="138"/>
                </a:lnTo>
                <a:close/>
                <a:moveTo>
                  <a:pt x="218" y="174"/>
                </a:moveTo>
                <a:cubicBezTo>
                  <a:pt x="217" y="184"/>
                  <a:pt x="217" y="184"/>
                  <a:pt x="217" y="184"/>
                </a:cubicBezTo>
                <a:cubicBezTo>
                  <a:pt x="216" y="192"/>
                  <a:pt x="216" y="192"/>
                  <a:pt x="216" y="192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99" y="192"/>
                  <a:pt x="199" y="192"/>
                  <a:pt x="199" y="192"/>
                </a:cubicBezTo>
                <a:cubicBezTo>
                  <a:pt x="197" y="205"/>
                  <a:pt x="197" y="205"/>
                  <a:pt x="197" y="205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190" y="233"/>
                  <a:pt x="190" y="233"/>
                  <a:pt x="190" y="233"/>
                </a:cubicBezTo>
                <a:cubicBezTo>
                  <a:pt x="187" y="251"/>
                  <a:pt x="187" y="251"/>
                  <a:pt x="187" y="251"/>
                </a:cubicBezTo>
                <a:cubicBezTo>
                  <a:pt x="183" y="287"/>
                  <a:pt x="183" y="287"/>
                  <a:pt x="183" y="287"/>
                </a:cubicBezTo>
                <a:cubicBezTo>
                  <a:pt x="182" y="305"/>
                  <a:pt x="182" y="305"/>
                  <a:pt x="182" y="305"/>
                </a:cubicBezTo>
                <a:cubicBezTo>
                  <a:pt x="183" y="322"/>
                  <a:pt x="183" y="322"/>
                  <a:pt x="183" y="322"/>
                </a:cubicBezTo>
                <a:cubicBezTo>
                  <a:pt x="186" y="356"/>
                  <a:pt x="186" y="356"/>
                  <a:pt x="186" y="356"/>
                </a:cubicBezTo>
                <a:cubicBezTo>
                  <a:pt x="187" y="369"/>
                  <a:pt x="187" y="369"/>
                  <a:pt x="187" y="369"/>
                </a:cubicBezTo>
                <a:cubicBezTo>
                  <a:pt x="188" y="375"/>
                  <a:pt x="188" y="375"/>
                  <a:pt x="188" y="375"/>
                </a:cubicBezTo>
                <a:cubicBezTo>
                  <a:pt x="189" y="382"/>
                  <a:pt x="189" y="382"/>
                  <a:pt x="189" y="382"/>
                </a:cubicBezTo>
                <a:cubicBezTo>
                  <a:pt x="192" y="389"/>
                  <a:pt x="192" y="389"/>
                  <a:pt x="192" y="389"/>
                </a:cubicBezTo>
                <a:cubicBezTo>
                  <a:pt x="193" y="392"/>
                  <a:pt x="193" y="392"/>
                  <a:pt x="193" y="392"/>
                </a:cubicBezTo>
                <a:cubicBezTo>
                  <a:pt x="194" y="396"/>
                  <a:pt x="194" y="396"/>
                  <a:pt x="194" y="396"/>
                </a:cubicBezTo>
                <a:cubicBezTo>
                  <a:pt x="190" y="396"/>
                  <a:pt x="190" y="396"/>
                  <a:pt x="190" y="396"/>
                </a:cubicBezTo>
                <a:cubicBezTo>
                  <a:pt x="186" y="395"/>
                  <a:pt x="186" y="395"/>
                  <a:pt x="186" y="395"/>
                </a:cubicBezTo>
                <a:cubicBezTo>
                  <a:pt x="179" y="393"/>
                  <a:pt x="179" y="393"/>
                  <a:pt x="179" y="393"/>
                </a:cubicBezTo>
                <a:cubicBezTo>
                  <a:pt x="172" y="391"/>
                  <a:pt x="172" y="391"/>
                  <a:pt x="172" y="391"/>
                </a:cubicBezTo>
                <a:cubicBezTo>
                  <a:pt x="165" y="389"/>
                  <a:pt x="165" y="389"/>
                  <a:pt x="165" y="389"/>
                </a:cubicBezTo>
                <a:cubicBezTo>
                  <a:pt x="159" y="389"/>
                  <a:pt x="159" y="389"/>
                  <a:pt x="159" y="389"/>
                </a:cubicBezTo>
                <a:cubicBezTo>
                  <a:pt x="153" y="390"/>
                  <a:pt x="153" y="390"/>
                  <a:pt x="153" y="390"/>
                </a:cubicBezTo>
                <a:cubicBezTo>
                  <a:pt x="140" y="393"/>
                  <a:pt x="140" y="393"/>
                  <a:pt x="140" y="393"/>
                </a:cubicBezTo>
                <a:cubicBezTo>
                  <a:pt x="141" y="389"/>
                  <a:pt x="141" y="389"/>
                  <a:pt x="141" y="389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6" y="374"/>
                  <a:pt x="146" y="374"/>
                  <a:pt x="146" y="374"/>
                </a:cubicBezTo>
                <a:cubicBezTo>
                  <a:pt x="150" y="358"/>
                  <a:pt x="150" y="358"/>
                  <a:pt x="150" y="358"/>
                </a:cubicBezTo>
                <a:cubicBezTo>
                  <a:pt x="152" y="342"/>
                  <a:pt x="152" y="342"/>
                  <a:pt x="152" y="342"/>
                </a:cubicBezTo>
                <a:cubicBezTo>
                  <a:pt x="153" y="324"/>
                  <a:pt x="153" y="324"/>
                  <a:pt x="153" y="324"/>
                </a:cubicBezTo>
                <a:cubicBezTo>
                  <a:pt x="153" y="305"/>
                  <a:pt x="153" y="305"/>
                  <a:pt x="153" y="305"/>
                </a:cubicBezTo>
                <a:cubicBezTo>
                  <a:pt x="152" y="268"/>
                  <a:pt x="152" y="268"/>
                  <a:pt x="152" y="268"/>
                </a:cubicBezTo>
                <a:cubicBezTo>
                  <a:pt x="152" y="250"/>
                  <a:pt x="152" y="250"/>
                  <a:pt x="152" y="250"/>
                </a:cubicBezTo>
                <a:cubicBezTo>
                  <a:pt x="151" y="232"/>
                  <a:pt x="151" y="232"/>
                  <a:pt x="151" y="232"/>
                </a:cubicBezTo>
                <a:cubicBezTo>
                  <a:pt x="149" y="216"/>
                  <a:pt x="149" y="216"/>
                  <a:pt x="149" y="216"/>
                </a:cubicBezTo>
                <a:cubicBezTo>
                  <a:pt x="147" y="207"/>
                  <a:pt x="147" y="207"/>
                  <a:pt x="147" y="207"/>
                </a:cubicBezTo>
                <a:cubicBezTo>
                  <a:pt x="144" y="198"/>
                  <a:pt x="144" y="198"/>
                  <a:pt x="144" y="198"/>
                </a:cubicBezTo>
                <a:cubicBezTo>
                  <a:pt x="140" y="190"/>
                  <a:pt x="140" y="190"/>
                  <a:pt x="140" y="190"/>
                </a:cubicBezTo>
                <a:cubicBezTo>
                  <a:pt x="138" y="186"/>
                  <a:pt x="138" y="186"/>
                  <a:pt x="138" y="186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31" y="185"/>
                  <a:pt x="131" y="185"/>
                  <a:pt x="131" y="185"/>
                </a:cubicBezTo>
                <a:cubicBezTo>
                  <a:pt x="128" y="189"/>
                  <a:pt x="128" y="189"/>
                  <a:pt x="128" y="189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74"/>
                  <a:pt x="126" y="174"/>
                  <a:pt x="126" y="174"/>
                </a:cubicBezTo>
                <a:cubicBezTo>
                  <a:pt x="125" y="167"/>
                  <a:pt x="125" y="167"/>
                  <a:pt x="125" y="167"/>
                </a:cubicBezTo>
                <a:cubicBezTo>
                  <a:pt x="124" y="163"/>
                  <a:pt x="124" y="163"/>
                  <a:pt x="124" y="163"/>
                </a:cubicBezTo>
                <a:cubicBezTo>
                  <a:pt x="122" y="159"/>
                  <a:pt x="122" y="159"/>
                  <a:pt x="122" y="159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18" y="155"/>
                  <a:pt x="118" y="155"/>
                  <a:pt x="118" y="155"/>
                </a:cubicBezTo>
                <a:cubicBezTo>
                  <a:pt x="114" y="154"/>
                  <a:pt x="114" y="154"/>
                  <a:pt x="114" y="15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03" y="151"/>
                  <a:pt x="103" y="151"/>
                  <a:pt x="103" y="151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31" y="151"/>
                  <a:pt x="131" y="151"/>
                  <a:pt x="131" y="151"/>
                </a:cubicBezTo>
                <a:cubicBezTo>
                  <a:pt x="134" y="153"/>
                  <a:pt x="134" y="153"/>
                  <a:pt x="134" y="153"/>
                </a:cubicBezTo>
                <a:cubicBezTo>
                  <a:pt x="137" y="156"/>
                  <a:pt x="137" y="156"/>
                  <a:pt x="137" y="156"/>
                </a:cubicBezTo>
                <a:cubicBezTo>
                  <a:pt x="141" y="160"/>
                  <a:pt x="141" y="160"/>
                  <a:pt x="141" y="160"/>
                </a:cubicBezTo>
                <a:cubicBezTo>
                  <a:pt x="144" y="163"/>
                  <a:pt x="144" y="163"/>
                  <a:pt x="144" y="163"/>
                </a:cubicBezTo>
                <a:cubicBezTo>
                  <a:pt x="148" y="168"/>
                  <a:pt x="148" y="168"/>
                  <a:pt x="148" y="168"/>
                </a:cubicBezTo>
                <a:cubicBezTo>
                  <a:pt x="157" y="180"/>
                  <a:pt x="157" y="180"/>
                  <a:pt x="157" y="180"/>
                </a:cubicBezTo>
                <a:cubicBezTo>
                  <a:pt x="167" y="195"/>
                  <a:pt x="167" y="195"/>
                  <a:pt x="167" y="195"/>
                </a:cubicBezTo>
                <a:cubicBezTo>
                  <a:pt x="168" y="194"/>
                  <a:pt x="168" y="194"/>
                  <a:pt x="168" y="194"/>
                </a:cubicBezTo>
                <a:cubicBezTo>
                  <a:pt x="171" y="190"/>
                  <a:pt x="171" y="190"/>
                  <a:pt x="171" y="190"/>
                </a:cubicBezTo>
                <a:cubicBezTo>
                  <a:pt x="176" y="180"/>
                  <a:pt x="176" y="180"/>
                  <a:pt x="176" y="180"/>
                </a:cubicBezTo>
                <a:cubicBezTo>
                  <a:pt x="181" y="168"/>
                  <a:pt x="181" y="168"/>
                  <a:pt x="181" y="168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7" y="161"/>
                  <a:pt x="187" y="161"/>
                  <a:pt x="187" y="161"/>
                </a:cubicBezTo>
                <a:cubicBezTo>
                  <a:pt x="190" y="158"/>
                  <a:pt x="190" y="158"/>
                  <a:pt x="190" y="158"/>
                </a:cubicBezTo>
                <a:cubicBezTo>
                  <a:pt x="194" y="157"/>
                  <a:pt x="194" y="157"/>
                  <a:pt x="194" y="157"/>
                </a:cubicBezTo>
                <a:cubicBezTo>
                  <a:pt x="197" y="156"/>
                  <a:pt x="197" y="156"/>
                  <a:pt x="197" y="156"/>
                </a:cubicBezTo>
                <a:cubicBezTo>
                  <a:pt x="201" y="156"/>
                  <a:pt x="201" y="156"/>
                  <a:pt x="201" y="156"/>
                </a:cubicBezTo>
                <a:cubicBezTo>
                  <a:pt x="209" y="156"/>
                  <a:pt x="209" y="156"/>
                  <a:pt x="209" y="156"/>
                </a:cubicBezTo>
                <a:cubicBezTo>
                  <a:pt x="218" y="157"/>
                  <a:pt x="218" y="157"/>
                  <a:pt x="218" y="157"/>
                </a:cubicBezTo>
                <a:lnTo>
                  <a:pt x="218" y="174"/>
                </a:lnTo>
                <a:close/>
                <a:moveTo>
                  <a:pt x="218" y="87"/>
                </a:moveTo>
                <a:cubicBezTo>
                  <a:pt x="215" y="77"/>
                  <a:pt x="215" y="77"/>
                  <a:pt x="215" y="77"/>
                </a:cubicBezTo>
                <a:cubicBezTo>
                  <a:pt x="218" y="82"/>
                  <a:pt x="218" y="82"/>
                  <a:pt x="218" y="82"/>
                </a:cubicBezTo>
                <a:cubicBezTo>
                  <a:pt x="221" y="87"/>
                  <a:pt x="221" y="87"/>
                  <a:pt x="221" y="87"/>
                </a:cubicBezTo>
                <a:cubicBezTo>
                  <a:pt x="224" y="97"/>
                  <a:pt x="224" y="97"/>
                  <a:pt x="224" y="97"/>
                </a:cubicBezTo>
                <a:lnTo>
                  <a:pt x="218" y="87"/>
                </a:lnTo>
                <a:close/>
                <a:moveTo>
                  <a:pt x="222" y="98"/>
                </a:moveTo>
                <a:cubicBezTo>
                  <a:pt x="225" y="104"/>
                  <a:pt x="225" y="104"/>
                  <a:pt x="225" y="104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8" y="115"/>
                  <a:pt x="228" y="115"/>
                  <a:pt x="228" y="115"/>
                </a:cubicBezTo>
                <a:cubicBezTo>
                  <a:pt x="228" y="120"/>
                  <a:pt x="228" y="120"/>
                  <a:pt x="228" y="120"/>
                </a:cubicBezTo>
                <a:cubicBezTo>
                  <a:pt x="227" y="128"/>
                  <a:pt x="227" y="128"/>
                  <a:pt x="227" y="128"/>
                </a:cubicBezTo>
                <a:cubicBezTo>
                  <a:pt x="225" y="134"/>
                  <a:pt x="225" y="134"/>
                  <a:pt x="225" y="134"/>
                </a:cubicBezTo>
                <a:cubicBezTo>
                  <a:pt x="226" y="127"/>
                  <a:pt x="226" y="127"/>
                  <a:pt x="226" y="127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5" y="109"/>
                  <a:pt x="225" y="109"/>
                  <a:pt x="225" y="109"/>
                </a:cubicBezTo>
                <a:cubicBezTo>
                  <a:pt x="222" y="99"/>
                  <a:pt x="222" y="99"/>
                  <a:pt x="222" y="99"/>
                </a:cubicBezTo>
                <a:lnTo>
                  <a:pt x="222" y="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246" name="Gruppieren 55"/>
          <p:cNvGrpSpPr>
            <a:grpSpLocks noChangeAspect="1"/>
          </p:cNvGrpSpPr>
          <p:nvPr>
            <p:custDataLst>
              <p:tags r:id="rId43"/>
            </p:custDataLst>
          </p:nvPr>
        </p:nvGrpSpPr>
        <p:grpSpPr bwMode="gray">
          <a:xfrm>
            <a:off x="7668456" y="2143296"/>
            <a:ext cx="229247" cy="549605"/>
            <a:chOff x="11957050" y="3071813"/>
            <a:chExt cx="311150" cy="749300"/>
          </a:xfrm>
        </p:grpSpPr>
        <p:sp>
          <p:nvSpPr>
            <p:cNvPr id="247" name="Freeform 33"/>
            <p:cNvSpPr>
              <a:spLocks noChangeAspect="1" noEditPoints="1"/>
            </p:cNvSpPr>
            <p:nvPr/>
          </p:nvSpPr>
          <p:spPr bwMode="gray">
            <a:xfrm>
              <a:off x="11957050" y="3071813"/>
              <a:ext cx="311150" cy="749300"/>
            </a:xfrm>
            <a:custGeom>
              <a:avLst/>
              <a:gdLst>
                <a:gd name="T0" fmla="*/ 72 w 83"/>
                <a:gd name="T1" fmla="*/ 141 h 200"/>
                <a:gd name="T2" fmla="*/ 72 w 83"/>
                <a:gd name="T3" fmla="*/ 189 h 200"/>
                <a:gd name="T4" fmla="*/ 69 w 83"/>
                <a:gd name="T5" fmla="*/ 191 h 200"/>
                <a:gd name="T6" fmla="*/ 71 w 83"/>
                <a:gd name="T7" fmla="*/ 198 h 200"/>
                <a:gd name="T8" fmla="*/ 63 w 83"/>
                <a:gd name="T9" fmla="*/ 195 h 200"/>
                <a:gd name="T10" fmla="*/ 60 w 83"/>
                <a:gd name="T11" fmla="*/ 190 h 200"/>
                <a:gd name="T12" fmla="*/ 59 w 83"/>
                <a:gd name="T13" fmla="*/ 186 h 200"/>
                <a:gd name="T14" fmla="*/ 56 w 83"/>
                <a:gd name="T15" fmla="*/ 122 h 200"/>
                <a:gd name="T16" fmla="*/ 52 w 83"/>
                <a:gd name="T17" fmla="*/ 108 h 200"/>
                <a:gd name="T18" fmla="*/ 47 w 83"/>
                <a:gd name="T19" fmla="*/ 114 h 200"/>
                <a:gd name="T20" fmla="*/ 38 w 83"/>
                <a:gd name="T21" fmla="*/ 132 h 200"/>
                <a:gd name="T22" fmla="*/ 23 w 83"/>
                <a:gd name="T23" fmla="*/ 190 h 200"/>
                <a:gd name="T24" fmla="*/ 19 w 83"/>
                <a:gd name="T25" fmla="*/ 190 h 200"/>
                <a:gd name="T26" fmla="*/ 8 w 83"/>
                <a:gd name="T27" fmla="*/ 197 h 200"/>
                <a:gd name="T28" fmla="*/ 3 w 83"/>
                <a:gd name="T29" fmla="*/ 194 h 200"/>
                <a:gd name="T30" fmla="*/ 9 w 83"/>
                <a:gd name="T31" fmla="*/ 188 h 200"/>
                <a:gd name="T32" fmla="*/ 10 w 83"/>
                <a:gd name="T33" fmla="*/ 181 h 200"/>
                <a:gd name="T34" fmla="*/ 24 w 83"/>
                <a:gd name="T35" fmla="*/ 135 h 200"/>
                <a:gd name="T36" fmla="*/ 27 w 83"/>
                <a:gd name="T37" fmla="*/ 112 h 200"/>
                <a:gd name="T38" fmla="*/ 25 w 83"/>
                <a:gd name="T39" fmla="*/ 105 h 200"/>
                <a:gd name="T40" fmla="*/ 25 w 83"/>
                <a:gd name="T41" fmla="*/ 98 h 200"/>
                <a:gd name="T42" fmla="*/ 23 w 83"/>
                <a:gd name="T43" fmla="*/ 75 h 200"/>
                <a:gd name="T44" fmla="*/ 23 w 83"/>
                <a:gd name="T45" fmla="*/ 61 h 200"/>
                <a:gd name="T46" fmla="*/ 18 w 83"/>
                <a:gd name="T47" fmla="*/ 52 h 200"/>
                <a:gd name="T48" fmla="*/ 23 w 83"/>
                <a:gd name="T49" fmla="*/ 43 h 200"/>
                <a:gd name="T50" fmla="*/ 27 w 83"/>
                <a:gd name="T51" fmla="*/ 32 h 200"/>
                <a:gd name="T52" fmla="*/ 31 w 83"/>
                <a:gd name="T53" fmla="*/ 29 h 200"/>
                <a:gd name="T54" fmla="*/ 31 w 83"/>
                <a:gd name="T55" fmla="*/ 27 h 200"/>
                <a:gd name="T56" fmla="*/ 32 w 83"/>
                <a:gd name="T57" fmla="*/ 25 h 200"/>
                <a:gd name="T58" fmla="*/ 30 w 83"/>
                <a:gd name="T59" fmla="*/ 25 h 200"/>
                <a:gd name="T60" fmla="*/ 31 w 83"/>
                <a:gd name="T61" fmla="*/ 24 h 200"/>
                <a:gd name="T62" fmla="*/ 31 w 83"/>
                <a:gd name="T63" fmla="*/ 23 h 200"/>
                <a:gd name="T64" fmla="*/ 33 w 83"/>
                <a:gd name="T65" fmla="*/ 21 h 200"/>
                <a:gd name="T66" fmla="*/ 32 w 83"/>
                <a:gd name="T67" fmla="*/ 20 h 200"/>
                <a:gd name="T68" fmla="*/ 36 w 83"/>
                <a:gd name="T69" fmla="*/ 18 h 200"/>
                <a:gd name="T70" fmla="*/ 42 w 83"/>
                <a:gd name="T71" fmla="*/ 4 h 200"/>
                <a:gd name="T72" fmla="*/ 57 w 83"/>
                <a:gd name="T73" fmla="*/ 4 h 200"/>
                <a:gd name="T74" fmla="*/ 66 w 83"/>
                <a:gd name="T75" fmla="*/ 19 h 200"/>
                <a:gd name="T76" fmla="*/ 65 w 83"/>
                <a:gd name="T77" fmla="*/ 29 h 200"/>
                <a:gd name="T78" fmla="*/ 69 w 83"/>
                <a:gd name="T79" fmla="*/ 31 h 200"/>
                <a:gd name="T80" fmla="*/ 68 w 83"/>
                <a:gd name="T81" fmla="*/ 34 h 200"/>
                <a:gd name="T82" fmla="*/ 75 w 83"/>
                <a:gd name="T83" fmla="*/ 42 h 200"/>
                <a:gd name="T84" fmla="*/ 74 w 83"/>
                <a:gd name="T85" fmla="*/ 44 h 200"/>
                <a:gd name="T86" fmla="*/ 78 w 83"/>
                <a:gd name="T87" fmla="*/ 46 h 200"/>
                <a:gd name="T88" fmla="*/ 72 w 83"/>
                <a:gd name="T89" fmla="*/ 48 h 200"/>
                <a:gd name="T90" fmla="*/ 72 w 83"/>
                <a:gd name="T91" fmla="*/ 55 h 200"/>
                <a:gd name="T92" fmla="*/ 76 w 83"/>
                <a:gd name="T93" fmla="*/ 65 h 200"/>
                <a:gd name="T94" fmla="*/ 69 w 83"/>
                <a:gd name="T95" fmla="*/ 73 h 200"/>
                <a:gd name="T96" fmla="*/ 78 w 83"/>
                <a:gd name="T97" fmla="*/ 107 h 200"/>
                <a:gd name="T98" fmla="*/ 79 w 83"/>
                <a:gd name="T99" fmla="*/ 115 h 200"/>
                <a:gd name="T100" fmla="*/ 75 w 83"/>
                <a:gd name="T101" fmla="*/ 117 h 200"/>
                <a:gd name="T102" fmla="*/ 74 w 83"/>
                <a:gd name="T103" fmla="*/ 117 h 200"/>
                <a:gd name="T104" fmla="*/ 73 w 83"/>
                <a:gd name="T105" fmla="*/ 116 h 200"/>
                <a:gd name="T106" fmla="*/ 72 w 83"/>
                <a:gd name="T107" fmla="*/ 141 h 200"/>
                <a:gd name="T108" fmla="*/ 31 w 83"/>
                <a:gd name="T109" fmla="*/ 80 h 200"/>
                <a:gd name="T110" fmla="*/ 30 w 83"/>
                <a:gd name="T111" fmla="*/ 96 h 200"/>
                <a:gd name="T112" fmla="*/ 32 w 83"/>
                <a:gd name="T113" fmla="*/ 70 h 200"/>
                <a:gd name="T114" fmla="*/ 31 w 83"/>
                <a:gd name="T115" fmla="*/ 80 h 2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3"/>
                <a:gd name="T175" fmla="*/ 0 h 200"/>
                <a:gd name="T176" fmla="*/ 83 w 83"/>
                <a:gd name="T177" fmla="*/ 200 h 2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3" h="200">
                  <a:moveTo>
                    <a:pt x="72" y="141"/>
                  </a:moveTo>
                  <a:cubicBezTo>
                    <a:pt x="72" y="154"/>
                    <a:pt x="73" y="189"/>
                    <a:pt x="72" y="189"/>
                  </a:cubicBezTo>
                  <a:cubicBezTo>
                    <a:pt x="70" y="189"/>
                    <a:pt x="69" y="189"/>
                    <a:pt x="69" y="191"/>
                  </a:cubicBezTo>
                  <a:cubicBezTo>
                    <a:pt x="69" y="192"/>
                    <a:pt x="71" y="195"/>
                    <a:pt x="71" y="198"/>
                  </a:cubicBezTo>
                  <a:cubicBezTo>
                    <a:pt x="70" y="200"/>
                    <a:pt x="64" y="199"/>
                    <a:pt x="63" y="195"/>
                  </a:cubicBezTo>
                  <a:cubicBezTo>
                    <a:pt x="61" y="192"/>
                    <a:pt x="61" y="190"/>
                    <a:pt x="60" y="190"/>
                  </a:cubicBezTo>
                  <a:cubicBezTo>
                    <a:pt x="59" y="189"/>
                    <a:pt x="59" y="188"/>
                    <a:pt x="59" y="186"/>
                  </a:cubicBezTo>
                  <a:cubicBezTo>
                    <a:pt x="59" y="183"/>
                    <a:pt x="58" y="128"/>
                    <a:pt x="56" y="122"/>
                  </a:cubicBezTo>
                  <a:cubicBezTo>
                    <a:pt x="54" y="115"/>
                    <a:pt x="53" y="108"/>
                    <a:pt x="52" y="108"/>
                  </a:cubicBezTo>
                  <a:cubicBezTo>
                    <a:pt x="51" y="108"/>
                    <a:pt x="50" y="108"/>
                    <a:pt x="47" y="114"/>
                  </a:cubicBezTo>
                  <a:cubicBezTo>
                    <a:pt x="45" y="119"/>
                    <a:pt x="40" y="125"/>
                    <a:pt x="38" y="132"/>
                  </a:cubicBezTo>
                  <a:cubicBezTo>
                    <a:pt x="37" y="140"/>
                    <a:pt x="26" y="190"/>
                    <a:pt x="23" y="190"/>
                  </a:cubicBezTo>
                  <a:cubicBezTo>
                    <a:pt x="21" y="191"/>
                    <a:pt x="19" y="189"/>
                    <a:pt x="19" y="190"/>
                  </a:cubicBezTo>
                  <a:cubicBezTo>
                    <a:pt x="19" y="192"/>
                    <a:pt x="11" y="195"/>
                    <a:pt x="8" y="197"/>
                  </a:cubicBezTo>
                  <a:cubicBezTo>
                    <a:pt x="5" y="198"/>
                    <a:pt x="0" y="198"/>
                    <a:pt x="3" y="194"/>
                  </a:cubicBezTo>
                  <a:cubicBezTo>
                    <a:pt x="6" y="191"/>
                    <a:pt x="10" y="188"/>
                    <a:pt x="9" y="188"/>
                  </a:cubicBezTo>
                  <a:cubicBezTo>
                    <a:pt x="7" y="187"/>
                    <a:pt x="9" y="184"/>
                    <a:pt x="10" y="181"/>
                  </a:cubicBezTo>
                  <a:cubicBezTo>
                    <a:pt x="11" y="178"/>
                    <a:pt x="21" y="146"/>
                    <a:pt x="24" y="135"/>
                  </a:cubicBezTo>
                  <a:cubicBezTo>
                    <a:pt x="26" y="123"/>
                    <a:pt x="28" y="114"/>
                    <a:pt x="27" y="112"/>
                  </a:cubicBezTo>
                  <a:cubicBezTo>
                    <a:pt x="26" y="110"/>
                    <a:pt x="25" y="107"/>
                    <a:pt x="25" y="105"/>
                  </a:cubicBezTo>
                  <a:cubicBezTo>
                    <a:pt x="26" y="104"/>
                    <a:pt x="26" y="101"/>
                    <a:pt x="25" y="98"/>
                  </a:cubicBezTo>
                  <a:cubicBezTo>
                    <a:pt x="25" y="94"/>
                    <a:pt x="22" y="78"/>
                    <a:pt x="23" y="75"/>
                  </a:cubicBezTo>
                  <a:cubicBezTo>
                    <a:pt x="23" y="71"/>
                    <a:pt x="24" y="62"/>
                    <a:pt x="23" y="61"/>
                  </a:cubicBezTo>
                  <a:cubicBezTo>
                    <a:pt x="23" y="60"/>
                    <a:pt x="17" y="53"/>
                    <a:pt x="18" y="52"/>
                  </a:cubicBezTo>
                  <a:cubicBezTo>
                    <a:pt x="20" y="50"/>
                    <a:pt x="22" y="47"/>
                    <a:pt x="23" y="43"/>
                  </a:cubicBezTo>
                  <a:cubicBezTo>
                    <a:pt x="24" y="38"/>
                    <a:pt x="25" y="33"/>
                    <a:pt x="27" y="32"/>
                  </a:cubicBezTo>
                  <a:cubicBezTo>
                    <a:pt x="29" y="31"/>
                    <a:pt x="32" y="29"/>
                    <a:pt x="31" y="29"/>
                  </a:cubicBezTo>
                  <a:cubicBezTo>
                    <a:pt x="30" y="28"/>
                    <a:pt x="30" y="27"/>
                    <a:pt x="31" y="27"/>
                  </a:cubicBezTo>
                  <a:cubicBezTo>
                    <a:pt x="31" y="27"/>
                    <a:pt x="33" y="25"/>
                    <a:pt x="32" y="25"/>
                  </a:cubicBezTo>
                  <a:cubicBezTo>
                    <a:pt x="30" y="26"/>
                    <a:pt x="29" y="25"/>
                    <a:pt x="30" y="25"/>
                  </a:cubicBezTo>
                  <a:cubicBezTo>
                    <a:pt x="31" y="25"/>
                    <a:pt x="32" y="24"/>
                    <a:pt x="31" y="24"/>
                  </a:cubicBezTo>
                  <a:cubicBezTo>
                    <a:pt x="30" y="24"/>
                    <a:pt x="30" y="23"/>
                    <a:pt x="31" y="23"/>
                  </a:cubicBezTo>
                  <a:cubicBezTo>
                    <a:pt x="32" y="23"/>
                    <a:pt x="34" y="21"/>
                    <a:pt x="33" y="21"/>
                  </a:cubicBezTo>
                  <a:cubicBezTo>
                    <a:pt x="32" y="21"/>
                    <a:pt x="30" y="20"/>
                    <a:pt x="32" y="20"/>
                  </a:cubicBezTo>
                  <a:cubicBezTo>
                    <a:pt x="34" y="20"/>
                    <a:pt x="36" y="21"/>
                    <a:pt x="36" y="18"/>
                  </a:cubicBezTo>
                  <a:cubicBezTo>
                    <a:pt x="35" y="15"/>
                    <a:pt x="37" y="6"/>
                    <a:pt x="42" y="4"/>
                  </a:cubicBezTo>
                  <a:cubicBezTo>
                    <a:pt x="47" y="1"/>
                    <a:pt x="53" y="0"/>
                    <a:pt x="57" y="4"/>
                  </a:cubicBezTo>
                  <a:cubicBezTo>
                    <a:pt x="61" y="8"/>
                    <a:pt x="67" y="17"/>
                    <a:pt x="66" y="19"/>
                  </a:cubicBezTo>
                  <a:cubicBezTo>
                    <a:pt x="65" y="22"/>
                    <a:pt x="63" y="27"/>
                    <a:pt x="65" y="29"/>
                  </a:cubicBezTo>
                  <a:cubicBezTo>
                    <a:pt x="67" y="31"/>
                    <a:pt x="73" y="32"/>
                    <a:pt x="69" y="31"/>
                  </a:cubicBezTo>
                  <a:cubicBezTo>
                    <a:pt x="65" y="30"/>
                    <a:pt x="63" y="30"/>
                    <a:pt x="68" y="34"/>
                  </a:cubicBezTo>
                  <a:cubicBezTo>
                    <a:pt x="72" y="38"/>
                    <a:pt x="78" y="42"/>
                    <a:pt x="75" y="42"/>
                  </a:cubicBezTo>
                  <a:cubicBezTo>
                    <a:pt x="73" y="42"/>
                    <a:pt x="72" y="42"/>
                    <a:pt x="74" y="44"/>
                  </a:cubicBezTo>
                  <a:cubicBezTo>
                    <a:pt x="77" y="45"/>
                    <a:pt x="83" y="48"/>
                    <a:pt x="78" y="46"/>
                  </a:cubicBezTo>
                  <a:cubicBezTo>
                    <a:pt x="73" y="44"/>
                    <a:pt x="71" y="44"/>
                    <a:pt x="72" y="48"/>
                  </a:cubicBezTo>
                  <a:cubicBezTo>
                    <a:pt x="73" y="51"/>
                    <a:pt x="72" y="52"/>
                    <a:pt x="72" y="55"/>
                  </a:cubicBezTo>
                  <a:cubicBezTo>
                    <a:pt x="72" y="58"/>
                    <a:pt x="78" y="63"/>
                    <a:pt x="76" y="65"/>
                  </a:cubicBezTo>
                  <a:cubicBezTo>
                    <a:pt x="74" y="67"/>
                    <a:pt x="67" y="70"/>
                    <a:pt x="69" y="73"/>
                  </a:cubicBezTo>
                  <a:cubicBezTo>
                    <a:pt x="70" y="77"/>
                    <a:pt x="76" y="103"/>
                    <a:pt x="78" y="107"/>
                  </a:cubicBezTo>
                  <a:cubicBezTo>
                    <a:pt x="80" y="110"/>
                    <a:pt x="80" y="115"/>
                    <a:pt x="79" y="115"/>
                  </a:cubicBezTo>
                  <a:cubicBezTo>
                    <a:pt x="79" y="116"/>
                    <a:pt x="76" y="118"/>
                    <a:pt x="75" y="117"/>
                  </a:cubicBezTo>
                  <a:cubicBezTo>
                    <a:pt x="75" y="117"/>
                    <a:pt x="74" y="117"/>
                    <a:pt x="74" y="117"/>
                  </a:cubicBezTo>
                  <a:cubicBezTo>
                    <a:pt x="74" y="117"/>
                    <a:pt x="73" y="115"/>
                    <a:pt x="73" y="116"/>
                  </a:cubicBezTo>
                  <a:cubicBezTo>
                    <a:pt x="73" y="117"/>
                    <a:pt x="72" y="141"/>
                    <a:pt x="72" y="141"/>
                  </a:cubicBezTo>
                  <a:close/>
                  <a:moveTo>
                    <a:pt x="31" y="80"/>
                  </a:moveTo>
                  <a:cubicBezTo>
                    <a:pt x="30" y="83"/>
                    <a:pt x="29" y="100"/>
                    <a:pt x="30" y="96"/>
                  </a:cubicBezTo>
                  <a:cubicBezTo>
                    <a:pt x="32" y="92"/>
                    <a:pt x="33" y="68"/>
                    <a:pt x="32" y="70"/>
                  </a:cubicBezTo>
                  <a:cubicBezTo>
                    <a:pt x="31" y="73"/>
                    <a:pt x="31" y="80"/>
                    <a:pt x="31" y="8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8" name="Freeform 34"/>
            <p:cNvSpPr>
              <a:spLocks noChangeAspect="1"/>
            </p:cNvSpPr>
            <p:nvPr/>
          </p:nvSpPr>
          <p:spPr bwMode="gray">
            <a:xfrm>
              <a:off x="12130088" y="3240088"/>
              <a:ext cx="41275" cy="74613"/>
            </a:xfrm>
            <a:custGeom>
              <a:avLst/>
              <a:gdLst>
                <a:gd name="T0" fmla="*/ 4 w 11"/>
                <a:gd name="T1" fmla="*/ 20 h 20"/>
                <a:gd name="T2" fmla="*/ 9 w 11"/>
                <a:gd name="T3" fmla="*/ 0 h 20"/>
                <a:gd name="T4" fmla="*/ 2 w 11"/>
                <a:gd name="T5" fmla="*/ 1 h 20"/>
                <a:gd name="T6" fmla="*/ 4 w 11"/>
                <a:gd name="T7" fmla="*/ 20 h 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20"/>
                <a:gd name="T14" fmla="*/ 11 w 11"/>
                <a:gd name="T15" fmla="*/ 20 h 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20">
                  <a:moveTo>
                    <a:pt x="4" y="20"/>
                  </a:moveTo>
                  <a:cubicBezTo>
                    <a:pt x="4" y="20"/>
                    <a:pt x="11" y="0"/>
                    <a:pt x="9" y="0"/>
                  </a:cubicBezTo>
                  <a:cubicBezTo>
                    <a:pt x="7" y="1"/>
                    <a:pt x="4" y="2"/>
                    <a:pt x="2" y="1"/>
                  </a:cubicBezTo>
                  <a:cubicBezTo>
                    <a:pt x="0" y="0"/>
                    <a:pt x="4" y="20"/>
                    <a:pt x="4" y="20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49" name="Oval 35"/>
            <p:cNvSpPr>
              <a:spLocks noChangeAspect="1" noChangeArrowheads="1"/>
            </p:cNvSpPr>
            <p:nvPr/>
          </p:nvSpPr>
          <p:spPr bwMode="gray">
            <a:xfrm>
              <a:off x="12144375" y="3330575"/>
              <a:ext cx="7938" cy="3175"/>
            </a:xfrm>
            <a:prstGeom prst="ellipse">
              <a:avLst/>
            </a:pr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1800" dirty="0">
                <a:latin typeface="Arial" pitchFamily="34" charset="0"/>
              </a:endParaRPr>
            </a:p>
          </p:txBody>
        </p:sp>
        <p:sp>
          <p:nvSpPr>
            <p:cNvPr id="250" name="Freeform 36"/>
            <p:cNvSpPr>
              <a:spLocks noChangeAspect="1"/>
            </p:cNvSpPr>
            <p:nvPr/>
          </p:nvSpPr>
          <p:spPr bwMode="gray">
            <a:xfrm>
              <a:off x="12072938" y="3375025"/>
              <a:ext cx="153988" cy="68263"/>
            </a:xfrm>
            <a:custGeom>
              <a:avLst/>
              <a:gdLst>
                <a:gd name="T0" fmla="*/ 36 w 41"/>
                <a:gd name="T1" fmla="*/ 1 h 18"/>
                <a:gd name="T2" fmla="*/ 24 w 41"/>
                <a:gd name="T3" fmla="*/ 4 h 18"/>
                <a:gd name="T4" fmla="*/ 23 w 41"/>
                <a:gd name="T5" fmla="*/ 4 h 18"/>
                <a:gd name="T6" fmla="*/ 20 w 41"/>
                <a:gd name="T7" fmla="*/ 3 h 18"/>
                <a:gd name="T8" fmla="*/ 18 w 41"/>
                <a:gd name="T9" fmla="*/ 3 h 18"/>
                <a:gd name="T10" fmla="*/ 15 w 41"/>
                <a:gd name="T11" fmla="*/ 5 h 18"/>
                <a:gd name="T12" fmla="*/ 14 w 41"/>
                <a:gd name="T13" fmla="*/ 5 h 18"/>
                <a:gd name="T14" fmla="*/ 1 w 41"/>
                <a:gd name="T15" fmla="*/ 1 h 18"/>
                <a:gd name="T16" fmla="*/ 0 w 41"/>
                <a:gd name="T17" fmla="*/ 12 h 18"/>
                <a:gd name="T18" fmla="*/ 15 w 41"/>
                <a:gd name="T19" fmla="*/ 16 h 18"/>
                <a:gd name="T20" fmla="*/ 18 w 41"/>
                <a:gd name="T21" fmla="*/ 18 h 18"/>
                <a:gd name="T22" fmla="*/ 20 w 41"/>
                <a:gd name="T23" fmla="*/ 18 h 18"/>
                <a:gd name="T24" fmla="*/ 24 w 41"/>
                <a:gd name="T25" fmla="*/ 15 h 18"/>
                <a:gd name="T26" fmla="*/ 39 w 41"/>
                <a:gd name="T27" fmla="*/ 10 h 18"/>
                <a:gd name="T28" fmla="*/ 36 w 41"/>
                <a:gd name="T29" fmla="*/ 1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1"/>
                <a:gd name="T46" fmla="*/ 0 h 18"/>
                <a:gd name="T47" fmla="*/ 41 w 41"/>
                <a:gd name="T48" fmla="*/ 18 h 1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1" h="18">
                  <a:moveTo>
                    <a:pt x="36" y="1"/>
                  </a:moveTo>
                  <a:cubicBezTo>
                    <a:pt x="35" y="0"/>
                    <a:pt x="28" y="3"/>
                    <a:pt x="24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3"/>
                    <a:pt x="22" y="3"/>
                    <a:pt x="2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5" y="3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ubicBezTo>
                    <a:pt x="8" y="5"/>
                    <a:pt x="2" y="2"/>
                    <a:pt x="1" y="1"/>
                  </a:cubicBezTo>
                  <a:cubicBezTo>
                    <a:pt x="0" y="0"/>
                    <a:pt x="0" y="10"/>
                    <a:pt x="0" y="12"/>
                  </a:cubicBezTo>
                  <a:cubicBezTo>
                    <a:pt x="0" y="13"/>
                    <a:pt x="9" y="15"/>
                    <a:pt x="15" y="16"/>
                  </a:cubicBezTo>
                  <a:cubicBezTo>
                    <a:pt x="15" y="17"/>
                    <a:pt x="17" y="18"/>
                    <a:pt x="18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2" y="18"/>
                    <a:pt x="24" y="17"/>
                    <a:pt x="24" y="15"/>
                  </a:cubicBezTo>
                  <a:cubicBezTo>
                    <a:pt x="31" y="14"/>
                    <a:pt x="38" y="11"/>
                    <a:pt x="39" y="10"/>
                  </a:cubicBezTo>
                  <a:cubicBezTo>
                    <a:pt x="41" y="10"/>
                    <a:pt x="36" y="2"/>
                    <a:pt x="36" y="1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302" name="Прямоугольник 301"/>
          <p:cNvSpPr/>
          <p:nvPr/>
        </p:nvSpPr>
        <p:spPr>
          <a:xfrm>
            <a:off x="359672" y="5546900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200" i="1" dirty="0" smtClean="0">
                <a:solidFill>
                  <a:schemeClr val="bg2">
                    <a:lumMod val="75000"/>
                  </a:schemeClr>
                </a:solidFill>
              </a:rPr>
              <a:t>4,7 </a:t>
            </a:r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млн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3" name="Прямоугольник 302"/>
          <p:cNvSpPr/>
          <p:nvPr/>
        </p:nvSpPr>
        <p:spPr>
          <a:xfrm>
            <a:off x="1367784" y="5546900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200" i="1" dirty="0">
                <a:solidFill>
                  <a:schemeClr val="bg2">
                    <a:lumMod val="75000"/>
                  </a:schemeClr>
                </a:solidFill>
              </a:rPr>
              <a:t>6</a:t>
            </a:r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 млн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4" name="Прямоугольник 303"/>
          <p:cNvSpPr/>
          <p:nvPr/>
        </p:nvSpPr>
        <p:spPr>
          <a:xfrm>
            <a:off x="2483710" y="5546900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200" i="1" dirty="0" smtClean="0">
                <a:solidFill>
                  <a:schemeClr val="bg2">
                    <a:lumMod val="75000"/>
                  </a:schemeClr>
                </a:solidFill>
              </a:rPr>
              <a:t>8,4</a:t>
            </a:r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uk-UA" sz="1200" i="1" dirty="0">
                <a:solidFill>
                  <a:schemeClr val="bg2">
                    <a:lumMod val="75000"/>
                  </a:schemeClr>
                </a:solidFill>
              </a:rPr>
              <a:t>млн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5" name="Прямоугольник 304"/>
          <p:cNvSpPr/>
          <p:nvPr/>
        </p:nvSpPr>
        <p:spPr>
          <a:xfrm>
            <a:off x="3570817" y="5546900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200" i="1" dirty="0" smtClean="0">
                <a:solidFill>
                  <a:schemeClr val="bg2">
                    <a:lumMod val="75000"/>
                  </a:schemeClr>
                </a:solidFill>
              </a:rPr>
              <a:t>10,2 </a:t>
            </a:r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млн</a:t>
            </a:r>
            <a:r>
              <a:rPr lang="uk-UA" sz="1200" i="1" dirty="0">
                <a:solidFill>
                  <a:schemeClr val="bg2">
                    <a:lumMod val="75000"/>
                  </a:schemeClr>
                </a:solidFill>
              </a:rPr>
              <a:t>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6" name="Прямоугольник 305"/>
          <p:cNvSpPr/>
          <p:nvPr/>
        </p:nvSpPr>
        <p:spPr>
          <a:xfrm>
            <a:off x="4572000" y="5546900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200" i="1" dirty="0" smtClean="0">
                <a:solidFill>
                  <a:schemeClr val="bg2">
                    <a:lumMod val="75000"/>
                  </a:schemeClr>
                </a:solidFill>
              </a:rPr>
              <a:t>12,8</a:t>
            </a:r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uk-UA" sz="1200" i="1" dirty="0">
                <a:solidFill>
                  <a:schemeClr val="bg2">
                    <a:lumMod val="75000"/>
                  </a:schemeClr>
                </a:solidFill>
              </a:rPr>
              <a:t>млн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7" name="Прямоугольник 306"/>
          <p:cNvSpPr/>
          <p:nvPr/>
        </p:nvSpPr>
        <p:spPr>
          <a:xfrm>
            <a:off x="5580140" y="5546900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200" i="1" dirty="0" smtClean="0">
                <a:solidFill>
                  <a:schemeClr val="bg2">
                    <a:lumMod val="75000"/>
                  </a:schemeClr>
                </a:solidFill>
              </a:rPr>
              <a:t>16,8</a:t>
            </a:r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uk-UA" sz="1200" i="1" dirty="0">
                <a:solidFill>
                  <a:schemeClr val="bg2">
                    <a:lumMod val="75000"/>
                  </a:schemeClr>
                </a:solidFill>
              </a:rPr>
              <a:t>млн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8" name="Прямоугольник 307"/>
          <p:cNvSpPr/>
          <p:nvPr/>
        </p:nvSpPr>
        <p:spPr>
          <a:xfrm>
            <a:off x="6523128" y="5546900"/>
            <a:ext cx="100128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1</a:t>
            </a:r>
            <a:r>
              <a:rPr lang="en-US" sz="1200" i="1" dirty="0" smtClean="0">
                <a:solidFill>
                  <a:schemeClr val="bg2">
                    <a:lumMod val="75000"/>
                  </a:schemeClr>
                </a:solidFill>
              </a:rPr>
              <a:t>9,3</a:t>
            </a:r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uk-UA" sz="1200" i="1" dirty="0">
                <a:solidFill>
                  <a:schemeClr val="bg2">
                    <a:lumMod val="75000"/>
                  </a:schemeClr>
                </a:solidFill>
              </a:rPr>
              <a:t>млн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12" name="Прямоугольник 311"/>
          <p:cNvSpPr/>
          <p:nvPr/>
        </p:nvSpPr>
        <p:spPr>
          <a:xfrm>
            <a:off x="359672" y="5773957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чел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13" name="Прямоугольник 312"/>
          <p:cNvSpPr/>
          <p:nvPr/>
        </p:nvSpPr>
        <p:spPr>
          <a:xfrm>
            <a:off x="1367784" y="5773957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чел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14" name="Прямоугольник 313"/>
          <p:cNvSpPr/>
          <p:nvPr/>
        </p:nvSpPr>
        <p:spPr>
          <a:xfrm>
            <a:off x="2483710" y="5762924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чел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15" name="Прямоугольник 314"/>
          <p:cNvSpPr/>
          <p:nvPr/>
        </p:nvSpPr>
        <p:spPr>
          <a:xfrm>
            <a:off x="3570816" y="5762924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чел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16" name="Прямоугольник 315"/>
          <p:cNvSpPr/>
          <p:nvPr/>
        </p:nvSpPr>
        <p:spPr>
          <a:xfrm>
            <a:off x="4572000" y="5762924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чел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17" name="Прямоугольник 316"/>
          <p:cNvSpPr/>
          <p:nvPr/>
        </p:nvSpPr>
        <p:spPr>
          <a:xfrm>
            <a:off x="5580140" y="5762924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чел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18" name="Прямоугольник 317"/>
          <p:cNvSpPr/>
          <p:nvPr/>
        </p:nvSpPr>
        <p:spPr>
          <a:xfrm>
            <a:off x="6595136" y="5762924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чел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09" name="Freeform 94"/>
          <p:cNvSpPr>
            <a:spLocks noEditPoints="1"/>
          </p:cNvSpPr>
          <p:nvPr>
            <p:custDataLst>
              <p:tags r:id="rId44"/>
            </p:custDataLst>
          </p:nvPr>
        </p:nvSpPr>
        <p:spPr bwMode="gray">
          <a:xfrm>
            <a:off x="8109056" y="1392956"/>
            <a:ext cx="106379" cy="451824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/>
          <a:lstStyle/>
          <a:p>
            <a:r>
              <a:rPr lang="en-US" dirty="0" smtClean="0">
                <a:latin typeface="Arial" pitchFamily="34" charset="0"/>
              </a:rPr>
              <a:t>`</a:t>
            </a:r>
            <a:endParaRPr lang="en-US" dirty="0">
              <a:latin typeface="Arial" pitchFamily="34" charset="0"/>
            </a:endParaRPr>
          </a:p>
        </p:txBody>
      </p:sp>
      <p:cxnSp>
        <p:nvCxnSpPr>
          <p:cNvPr id="147" name="Прямая соединительная линия 146"/>
          <p:cNvCxnSpPr/>
          <p:nvPr/>
        </p:nvCxnSpPr>
        <p:spPr>
          <a:xfrm>
            <a:off x="6516269" y="2781143"/>
            <a:ext cx="1" cy="3284796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/>
          <p:cNvSpPr txBox="1"/>
          <p:nvPr/>
        </p:nvSpPr>
        <p:spPr>
          <a:xfrm>
            <a:off x="7635808" y="2863961"/>
            <a:ext cx="8322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Q4’20</a:t>
            </a:r>
            <a:r>
              <a:rPr lang="ru-RU" sz="1200" b="1" dirty="0" smtClean="0">
                <a:solidFill>
                  <a:prstClr val="black"/>
                </a:solidFill>
              </a:rPr>
              <a:t>14*</a:t>
            </a:r>
            <a:endParaRPr lang="uk-UA" sz="1200" b="1" dirty="0">
              <a:solidFill>
                <a:prstClr val="black"/>
              </a:solidFill>
            </a:endParaRPr>
          </a:p>
        </p:txBody>
      </p:sp>
      <p:sp>
        <p:nvSpPr>
          <p:cNvPr id="149" name="Прямоугольник 148"/>
          <p:cNvSpPr/>
          <p:nvPr/>
        </p:nvSpPr>
        <p:spPr>
          <a:xfrm>
            <a:off x="7524410" y="5541675"/>
            <a:ext cx="100128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1</a:t>
            </a:r>
            <a:r>
              <a:rPr lang="ru-RU" sz="1200" i="1" dirty="0">
                <a:solidFill>
                  <a:schemeClr val="bg2">
                    <a:lumMod val="75000"/>
                  </a:schemeClr>
                </a:solidFill>
              </a:rPr>
              <a:t>7</a:t>
            </a:r>
            <a:r>
              <a:rPr lang="en-US" sz="1200" i="1" dirty="0" smtClean="0">
                <a:solidFill>
                  <a:schemeClr val="bg2">
                    <a:lumMod val="75000"/>
                  </a:schemeClr>
                </a:solidFill>
              </a:rPr>
              <a:t>,3</a:t>
            </a:r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uk-UA" sz="1200" i="1" dirty="0">
                <a:solidFill>
                  <a:schemeClr val="bg2">
                    <a:lumMod val="75000"/>
                  </a:schemeClr>
                </a:solidFill>
              </a:rPr>
              <a:t>млн</a:t>
            </a:r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.*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50" name="Прямоугольник 149"/>
          <p:cNvSpPr/>
          <p:nvPr/>
        </p:nvSpPr>
        <p:spPr>
          <a:xfrm>
            <a:off x="7596418" y="5757699"/>
            <a:ext cx="9001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uk-UA" sz="1200" i="1" dirty="0" smtClean="0">
                <a:solidFill>
                  <a:schemeClr val="bg2">
                    <a:lumMod val="75000"/>
                  </a:schemeClr>
                </a:solidFill>
              </a:rPr>
              <a:t>чел.</a:t>
            </a:r>
            <a:endParaRPr lang="ru-RU" sz="1200" i="1" cap="all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51" name="Freeform 97"/>
          <p:cNvSpPr>
            <a:spLocks noChangeAspect="1" noEditPoints="1"/>
          </p:cNvSpPr>
          <p:nvPr/>
        </p:nvSpPr>
        <p:spPr bwMode="gray">
          <a:xfrm>
            <a:off x="7215607" y="1690003"/>
            <a:ext cx="196152" cy="524030"/>
          </a:xfrm>
          <a:custGeom>
            <a:avLst/>
            <a:gdLst>
              <a:gd name="T0" fmla="*/ 707 w 714"/>
              <a:gd name="T1" fmla="*/ 888 h 1901"/>
              <a:gd name="T2" fmla="*/ 676 w 714"/>
              <a:gd name="T3" fmla="*/ 628 h 1901"/>
              <a:gd name="T4" fmla="*/ 648 w 714"/>
              <a:gd name="T5" fmla="*/ 361 h 1901"/>
              <a:gd name="T6" fmla="*/ 553 w 714"/>
              <a:gd name="T7" fmla="*/ 309 h 1901"/>
              <a:gd name="T8" fmla="*/ 489 w 714"/>
              <a:gd name="T9" fmla="*/ 335 h 1901"/>
              <a:gd name="T10" fmla="*/ 451 w 714"/>
              <a:gd name="T11" fmla="*/ 500 h 1901"/>
              <a:gd name="T12" fmla="*/ 437 w 714"/>
              <a:gd name="T13" fmla="*/ 340 h 1901"/>
              <a:gd name="T14" fmla="*/ 416 w 714"/>
              <a:gd name="T15" fmla="*/ 314 h 1901"/>
              <a:gd name="T16" fmla="*/ 411 w 714"/>
              <a:gd name="T17" fmla="*/ 349 h 1901"/>
              <a:gd name="T18" fmla="*/ 376 w 714"/>
              <a:gd name="T19" fmla="*/ 370 h 1901"/>
              <a:gd name="T20" fmla="*/ 340 w 714"/>
              <a:gd name="T21" fmla="*/ 293 h 1901"/>
              <a:gd name="T22" fmla="*/ 201 w 714"/>
              <a:gd name="T23" fmla="*/ 354 h 1901"/>
              <a:gd name="T24" fmla="*/ 142 w 714"/>
              <a:gd name="T25" fmla="*/ 581 h 1901"/>
              <a:gd name="T26" fmla="*/ 137 w 714"/>
              <a:gd name="T27" fmla="*/ 685 h 1901"/>
              <a:gd name="T28" fmla="*/ 161 w 714"/>
              <a:gd name="T29" fmla="*/ 841 h 1901"/>
              <a:gd name="T30" fmla="*/ 182 w 714"/>
              <a:gd name="T31" fmla="*/ 852 h 1901"/>
              <a:gd name="T32" fmla="*/ 208 w 714"/>
              <a:gd name="T33" fmla="*/ 945 h 1901"/>
              <a:gd name="T34" fmla="*/ 123 w 714"/>
              <a:gd name="T35" fmla="*/ 921 h 1901"/>
              <a:gd name="T36" fmla="*/ 57 w 714"/>
              <a:gd name="T37" fmla="*/ 978 h 1901"/>
              <a:gd name="T38" fmla="*/ 5 w 714"/>
              <a:gd name="T39" fmla="*/ 1263 h 1901"/>
              <a:gd name="T40" fmla="*/ 229 w 714"/>
              <a:gd name="T41" fmla="*/ 1372 h 1901"/>
              <a:gd name="T42" fmla="*/ 222 w 714"/>
              <a:gd name="T43" fmla="*/ 1812 h 1901"/>
              <a:gd name="T44" fmla="*/ 241 w 714"/>
              <a:gd name="T45" fmla="*/ 1830 h 1901"/>
              <a:gd name="T46" fmla="*/ 213 w 714"/>
              <a:gd name="T47" fmla="*/ 1889 h 1901"/>
              <a:gd name="T48" fmla="*/ 286 w 714"/>
              <a:gd name="T49" fmla="*/ 1899 h 1901"/>
              <a:gd name="T50" fmla="*/ 329 w 714"/>
              <a:gd name="T51" fmla="*/ 1849 h 1901"/>
              <a:gd name="T52" fmla="*/ 348 w 714"/>
              <a:gd name="T53" fmla="*/ 1663 h 1901"/>
              <a:gd name="T54" fmla="*/ 378 w 714"/>
              <a:gd name="T55" fmla="*/ 1318 h 1901"/>
              <a:gd name="T56" fmla="*/ 421 w 714"/>
              <a:gd name="T57" fmla="*/ 1074 h 1901"/>
              <a:gd name="T58" fmla="*/ 428 w 714"/>
              <a:gd name="T59" fmla="*/ 1034 h 1901"/>
              <a:gd name="T60" fmla="*/ 473 w 714"/>
              <a:gd name="T61" fmla="*/ 1393 h 1901"/>
              <a:gd name="T62" fmla="*/ 492 w 714"/>
              <a:gd name="T63" fmla="*/ 1797 h 1901"/>
              <a:gd name="T64" fmla="*/ 494 w 714"/>
              <a:gd name="T65" fmla="*/ 1859 h 1901"/>
              <a:gd name="T66" fmla="*/ 586 w 714"/>
              <a:gd name="T67" fmla="*/ 1892 h 1901"/>
              <a:gd name="T68" fmla="*/ 648 w 714"/>
              <a:gd name="T69" fmla="*/ 1887 h 1901"/>
              <a:gd name="T70" fmla="*/ 600 w 714"/>
              <a:gd name="T71" fmla="*/ 1823 h 1901"/>
              <a:gd name="T72" fmla="*/ 629 w 714"/>
              <a:gd name="T73" fmla="*/ 1712 h 1901"/>
              <a:gd name="T74" fmla="*/ 614 w 714"/>
              <a:gd name="T75" fmla="*/ 1521 h 1901"/>
              <a:gd name="T76" fmla="*/ 617 w 714"/>
              <a:gd name="T77" fmla="*/ 980 h 1901"/>
              <a:gd name="T78" fmla="*/ 633 w 714"/>
              <a:gd name="T79" fmla="*/ 885 h 1901"/>
              <a:gd name="T80" fmla="*/ 652 w 714"/>
              <a:gd name="T81" fmla="*/ 940 h 1901"/>
              <a:gd name="T82" fmla="*/ 659 w 714"/>
              <a:gd name="T83" fmla="*/ 985 h 1901"/>
              <a:gd name="T84" fmla="*/ 652 w 714"/>
              <a:gd name="T85" fmla="*/ 1027 h 1901"/>
              <a:gd name="T86" fmla="*/ 674 w 714"/>
              <a:gd name="T87" fmla="*/ 1039 h 1901"/>
              <a:gd name="T88" fmla="*/ 714 w 714"/>
              <a:gd name="T89" fmla="*/ 975 h 1901"/>
              <a:gd name="T90" fmla="*/ 239 w 714"/>
              <a:gd name="T91" fmla="*/ 730 h 1901"/>
              <a:gd name="T92" fmla="*/ 225 w 714"/>
              <a:gd name="T93" fmla="*/ 817 h 1901"/>
              <a:gd name="T94" fmla="*/ 232 w 714"/>
              <a:gd name="T95" fmla="*/ 793 h 1901"/>
              <a:gd name="T96" fmla="*/ 220 w 714"/>
              <a:gd name="T97" fmla="*/ 678 h 1901"/>
              <a:gd name="T98" fmla="*/ 246 w 714"/>
              <a:gd name="T99" fmla="*/ 578 h 1901"/>
              <a:gd name="T100" fmla="*/ 362 w 714"/>
              <a:gd name="T101" fmla="*/ 210 h 1901"/>
              <a:gd name="T102" fmla="*/ 362 w 714"/>
              <a:gd name="T103" fmla="*/ 267 h 1901"/>
              <a:gd name="T104" fmla="*/ 409 w 714"/>
              <a:gd name="T105" fmla="*/ 307 h 1901"/>
              <a:gd name="T106" fmla="*/ 470 w 714"/>
              <a:gd name="T107" fmla="*/ 290 h 1901"/>
              <a:gd name="T108" fmla="*/ 487 w 714"/>
              <a:gd name="T109" fmla="*/ 248 h 1901"/>
              <a:gd name="T110" fmla="*/ 527 w 714"/>
              <a:gd name="T111" fmla="*/ 174 h 1901"/>
              <a:gd name="T112" fmla="*/ 537 w 714"/>
              <a:gd name="T113" fmla="*/ 111 h 1901"/>
              <a:gd name="T114" fmla="*/ 513 w 714"/>
              <a:gd name="T115" fmla="*/ 23 h 1901"/>
              <a:gd name="T116" fmla="*/ 423 w 714"/>
              <a:gd name="T117" fmla="*/ 0 h 1901"/>
              <a:gd name="T118" fmla="*/ 362 w 714"/>
              <a:gd name="T119" fmla="*/ 49 h 1901"/>
              <a:gd name="T120" fmla="*/ 343 w 714"/>
              <a:gd name="T121" fmla="*/ 130 h 1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4" h="1901">
                <a:moveTo>
                  <a:pt x="709" y="940"/>
                </a:moveTo>
                <a:lnTo>
                  <a:pt x="702" y="919"/>
                </a:lnTo>
                <a:lnTo>
                  <a:pt x="702" y="909"/>
                </a:lnTo>
                <a:lnTo>
                  <a:pt x="704" y="907"/>
                </a:lnTo>
                <a:lnTo>
                  <a:pt x="707" y="902"/>
                </a:lnTo>
                <a:lnTo>
                  <a:pt x="707" y="888"/>
                </a:lnTo>
                <a:lnTo>
                  <a:pt x="707" y="867"/>
                </a:lnTo>
                <a:lnTo>
                  <a:pt x="704" y="843"/>
                </a:lnTo>
                <a:lnTo>
                  <a:pt x="697" y="796"/>
                </a:lnTo>
                <a:lnTo>
                  <a:pt x="692" y="770"/>
                </a:lnTo>
                <a:lnTo>
                  <a:pt x="685" y="715"/>
                </a:lnTo>
                <a:lnTo>
                  <a:pt x="676" y="628"/>
                </a:lnTo>
                <a:lnTo>
                  <a:pt x="669" y="543"/>
                </a:lnTo>
                <a:lnTo>
                  <a:pt x="666" y="482"/>
                </a:lnTo>
                <a:lnTo>
                  <a:pt x="664" y="444"/>
                </a:lnTo>
                <a:lnTo>
                  <a:pt x="657" y="389"/>
                </a:lnTo>
                <a:lnTo>
                  <a:pt x="652" y="373"/>
                </a:lnTo>
                <a:lnTo>
                  <a:pt x="648" y="361"/>
                </a:lnTo>
                <a:lnTo>
                  <a:pt x="640" y="352"/>
                </a:lnTo>
                <a:lnTo>
                  <a:pt x="633" y="342"/>
                </a:lnTo>
                <a:lnTo>
                  <a:pt x="617" y="330"/>
                </a:lnTo>
                <a:lnTo>
                  <a:pt x="605" y="326"/>
                </a:lnTo>
                <a:lnTo>
                  <a:pt x="572" y="316"/>
                </a:lnTo>
                <a:lnTo>
                  <a:pt x="553" y="309"/>
                </a:lnTo>
                <a:lnTo>
                  <a:pt x="534" y="300"/>
                </a:lnTo>
                <a:lnTo>
                  <a:pt x="506" y="283"/>
                </a:lnTo>
                <a:lnTo>
                  <a:pt x="506" y="283"/>
                </a:lnTo>
                <a:lnTo>
                  <a:pt x="503" y="300"/>
                </a:lnTo>
                <a:lnTo>
                  <a:pt x="499" y="316"/>
                </a:lnTo>
                <a:lnTo>
                  <a:pt x="489" y="335"/>
                </a:lnTo>
                <a:lnTo>
                  <a:pt x="485" y="354"/>
                </a:lnTo>
                <a:lnTo>
                  <a:pt x="477" y="385"/>
                </a:lnTo>
                <a:lnTo>
                  <a:pt x="463" y="465"/>
                </a:lnTo>
                <a:lnTo>
                  <a:pt x="456" y="508"/>
                </a:lnTo>
                <a:lnTo>
                  <a:pt x="454" y="522"/>
                </a:lnTo>
                <a:lnTo>
                  <a:pt x="451" y="500"/>
                </a:lnTo>
                <a:lnTo>
                  <a:pt x="442" y="413"/>
                </a:lnTo>
                <a:lnTo>
                  <a:pt x="440" y="394"/>
                </a:lnTo>
                <a:lnTo>
                  <a:pt x="435" y="378"/>
                </a:lnTo>
                <a:lnTo>
                  <a:pt x="428" y="359"/>
                </a:lnTo>
                <a:lnTo>
                  <a:pt x="430" y="352"/>
                </a:lnTo>
                <a:lnTo>
                  <a:pt x="437" y="340"/>
                </a:lnTo>
                <a:lnTo>
                  <a:pt x="444" y="323"/>
                </a:lnTo>
                <a:lnTo>
                  <a:pt x="442" y="321"/>
                </a:lnTo>
                <a:lnTo>
                  <a:pt x="437" y="316"/>
                </a:lnTo>
                <a:lnTo>
                  <a:pt x="430" y="314"/>
                </a:lnTo>
                <a:lnTo>
                  <a:pt x="423" y="311"/>
                </a:lnTo>
                <a:lnTo>
                  <a:pt x="416" y="314"/>
                </a:lnTo>
                <a:lnTo>
                  <a:pt x="409" y="319"/>
                </a:lnTo>
                <a:lnTo>
                  <a:pt x="404" y="326"/>
                </a:lnTo>
                <a:lnTo>
                  <a:pt x="404" y="328"/>
                </a:lnTo>
                <a:lnTo>
                  <a:pt x="404" y="333"/>
                </a:lnTo>
                <a:lnTo>
                  <a:pt x="411" y="345"/>
                </a:lnTo>
                <a:lnTo>
                  <a:pt x="411" y="349"/>
                </a:lnTo>
                <a:lnTo>
                  <a:pt x="411" y="356"/>
                </a:lnTo>
                <a:lnTo>
                  <a:pt x="402" y="460"/>
                </a:lnTo>
                <a:lnTo>
                  <a:pt x="402" y="479"/>
                </a:lnTo>
                <a:lnTo>
                  <a:pt x="390" y="427"/>
                </a:lnTo>
                <a:lnTo>
                  <a:pt x="383" y="394"/>
                </a:lnTo>
                <a:lnTo>
                  <a:pt x="376" y="370"/>
                </a:lnTo>
                <a:lnTo>
                  <a:pt x="366" y="354"/>
                </a:lnTo>
                <a:lnTo>
                  <a:pt x="359" y="340"/>
                </a:lnTo>
                <a:lnTo>
                  <a:pt x="348" y="321"/>
                </a:lnTo>
                <a:lnTo>
                  <a:pt x="343" y="311"/>
                </a:lnTo>
                <a:lnTo>
                  <a:pt x="340" y="304"/>
                </a:lnTo>
                <a:lnTo>
                  <a:pt x="340" y="293"/>
                </a:lnTo>
                <a:lnTo>
                  <a:pt x="343" y="285"/>
                </a:lnTo>
                <a:lnTo>
                  <a:pt x="319" y="297"/>
                </a:lnTo>
                <a:lnTo>
                  <a:pt x="300" y="304"/>
                </a:lnTo>
                <a:lnTo>
                  <a:pt x="220" y="337"/>
                </a:lnTo>
                <a:lnTo>
                  <a:pt x="210" y="342"/>
                </a:lnTo>
                <a:lnTo>
                  <a:pt x="201" y="354"/>
                </a:lnTo>
                <a:lnTo>
                  <a:pt x="194" y="370"/>
                </a:lnTo>
                <a:lnTo>
                  <a:pt x="189" y="385"/>
                </a:lnTo>
                <a:lnTo>
                  <a:pt x="175" y="460"/>
                </a:lnTo>
                <a:lnTo>
                  <a:pt x="163" y="508"/>
                </a:lnTo>
                <a:lnTo>
                  <a:pt x="154" y="541"/>
                </a:lnTo>
                <a:lnTo>
                  <a:pt x="142" y="581"/>
                </a:lnTo>
                <a:lnTo>
                  <a:pt x="135" y="611"/>
                </a:lnTo>
                <a:lnTo>
                  <a:pt x="133" y="623"/>
                </a:lnTo>
                <a:lnTo>
                  <a:pt x="130" y="637"/>
                </a:lnTo>
                <a:lnTo>
                  <a:pt x="130" y="652"/>
                </a:lnTo>
                <a:lnTo>
                  <a:pt x="133" y="663"/>
                </a:lnTo>
                <a:lnTo>
                  <a:pt x="137" y="685"/>
                </a:lnTo>
                <a:lnTo>
                  <a:pt x="142" y="718"/>
                </a:lnTo>
                <a:lnTo>
                  <a:pt x="147" y="772"/>
                </a:lnTo>
                <a:lnTo>
                  <a:pt x="149" y="791"/>
                </a:lnTo>
                <a:lnTo>
                  <a:pt x="151" y="815"/>
                </a:lnTo>
                <a:lnTo>
                  <a:pt x="156" y="836"/>
                </a:lnTo>
                <a:lnTo>
                  <a:pt x="161" y="841"/>
                </a:lnTo>
                <a:lnTo>
                  <a:pt x="166" y="843"/>
                </a:lnTo>
                <a:lnTo>
                  <a:pt x="173" y="838"/>
                </a:lnTo>
                <a:lnTo>
                  <a:pt x="175" y="838"/>
                </a:lnTo>
                <a:lnTo>
                  <a:pt x="177" y="838"/>
                </a:lnTo>
                <a:lnTo>
                  <a:pt x="182" y="845"/>
                </a:lnTo>
                <a:lnTo>
                  <a:pt x="182" y="852"/>
                </a:lnTo>
                <a:lnTo>
                  <a:pt x="185" y="871"/>
                </a:lnTo>
                <a:lnTo>
                  <a:pt x="185" y="890"/>
                </a:lnTo>
                <a:lnTo>
                  <a:pt x="187" y="904"/>
                </a:lnTo>
                <a:lnTo>
                  <a:pt x="192" y="916"/>
                </a:lnTo>
                <a:lnTo>
                  <a:pt x="199" y="933"/>
                </a:lnTo>
                <a:lnTo>
                  <a:pt x="208" y="945"/>
                </a:lnTo>
                <a:lnTo>
                  <a:pt x="225" y="956"/>
                </a:lnTo>
                <a:lnTo>
                  <a:pt x="248" y="966"/>
                </a:lnTo>
                <a:lnTo>
                  <a:pt x="248" y="973"/>
                </a:lnTo>
                <a:lnTo>
                  <a:pt x="175" y="940"/>
                </a:lnTo>
                <a:lnTo>
                  <a:pt x="140" y="926"/>
                </a:lnTo>
                <a:lnTo>
                  <a:pt x="123" y="921"/>
                </a:lnTo>
                <a:lnTo>
                  <a:pt x="95" y="923"/>
                </a:lnTo>
                <a:lnTo>
                  <a:pt x="85" y="926"/>
                </a:lnTo>
                <a:lnTo>
                  <a:pt x="73" y="933"/>
                </a:lnTo>
                <a:lnTo>
                  <a:pt x="71" y="935"/>
                </a:lnTo>
                <a:lnTo>
                  <a:pt x="66" y="947"/>
                </a:lnTo>
                <a:lnTo>
                  <a:pt x="57" y="978"/>
                </a:lnTo>
                <a:lnTo>
                  <a:pt x="33" y="1072"/>
                </a:lnTo>
                <a:lnTo>
                  <a:pt x="12" y="1169"/>
                </a:lnTo>
                <a:lnTo>
                  <a:pt x="0" y="1230"/>
                </a:lnTo>
                <a:lnTo>
                  <a:pt x="0" y="1252"/>
                </a:lnTo>
                <a:lnTo>
                  <a:pt x="3" y="1259"/>
                </a:lnTo>
                <a:lnTo>
                  <a:pt x="5" y="1263"/>
                </a:lnTo>
                <a:lnTo>
                  <a:pt x="12" y="1271"/>
                </a:lnTo>
                <a:lnTo>
                  <a:pt x="26" y="1282"/>
                </a:lnTo>
                <a:lnTo>
                  <a:pt x="47" y="1294"/>
                </a:lnTo>
                <a:lnTo>
                  <a:pt x="88" y="1313"/>
                </a:lnTo>
                <a:lnTo>
                  <a:pt x="199" y="1360"/>
                </a:lnTo>
                <a:lnTo>
                  <a:pt x="229" y="1372"/>
                </a:lnTo>
                <a:lnTo>
                  <a:pt x="227" y="1384"/>
                </a:lnTo>
                <a:lnTo>
                  <a:pt x="222" y="1438"/>
                </a:lnTo>
                <a:lnTo>
                  <a:pt x="222" y="1497"/>
                </a:lnTo>
                <a:lnTo>
                  <a:pt x="218" y="1800"/>
                </a:lnTo>
                <a:lnTo>
                  <a:pt x="220" y="1809"/>
                </a:lnTo>
                <a:lnTo>
                  <a:pt x="222" y="1812"/>
                </a:lnTo>
                <a:lnTo>
                  <a:pt x="225" y="1812"/>
                </a:lnTo>
                <a:lnTo>
                  <a:pt x="232" y="1816"/>
                </a:lnTo>
                <a:lnTo>
                  <a:pt x="236" y="1819"/>
                </a:lnTo>
                <a:lnTo>
                  <a:pt x="241" y="1823"/>
                </a:lnTo>
                <a:lnTo>
                  <a:pt x="244" y="1828"/>
                </a:lnTo>
                <a:lnTo>
                  <a:pt x="241" y="1830"/>
                </a:lnTo>
                <a:lnTo>
                  <a:pt x="236" y="1840"/>
                </a:lnTo>
                <a:lnTo>
                  <a:pt x="220" y="1861"/>
                </a:lnTo>
                <a:lnTo>
                  <a:pt x="213" y="1873"/>
                </a:lnTo>
                <a:lnTo>
                  <a:pt x="210" y="1882"/>
                </a:lnTo>
                <a:lnTo>
                  <a:pt x="210" y="1885"/>
                </a:lnTo>
                <a:lnTo>
                  <a:pt x="213" y="1889"/>
                </a:lnTo>
                <a:lnTo>
                  <a:pt x="220" y="1894"/>
                </a:lnTo>
                <a:lnTo>
                  <a:pt x="227" y="1897"/>
                </a:lnTo>
                <a:lnTo>
                  <a:pt x="246" y="1899"/>
                </a:lnTo>
                <a:lnTo>
                  <a:pt x="262" y="1901"/>
                </a:lnTo>
                <a:lnTo>
                  <a:pt x="274" y="1901"/>
                </a:lnTo>
                <a:lnTo>
                  <a:pt x="286" y="1899"/>
                </a:lnTo>
                <a:lnTo>
                  <a:pt x="298" y="1894"/>
                </a:lnTo>
                <a:lnTo>
                  <a:pt x="305" y="1889"/>
                </a:lnTo>
                <a:lnTo>
                  <a:pt x="312" y="1885"/>
                </a:lnTo>
                <a:lnTo>
                  <a:pt x="317" y="1878"/>
                </a:lnTo>
                <a:lnTo>
                  <a:pt x="324" y="1864"/>
                </a:lnTo>
                <a:lnTo>
                  <a:pt x="329" y="1849"/>
                </a:lnTo>
                <a:lnTo>
                  <a:pt x="329" y="1830"/>
                </a:lnTo>
                <a:lnTo>
                  <a:pt x="333" y="1807"/>
                </a:lnTo>
                <a:lnTo>
                  <a:pt x="338" y="1795"/>
                </a:lnTo>
                <a:lnTo>
                  <a:pt x="340" y="1774"/>
                </a:lnTo>
                <a:lnTo>
                  <a:pt x="345" y="1719"/>
                </a:lnTo>
                <a:lnTo>
                  <a:pt x="348" y="1663"/>
                </a:lnTo>
                <a:lnTo>
                  <a:pt x="350" y="1623"/>
                </a:lnTo>
                <a:lnTo>
                  <a:pt x="352" y="1585"/>
                </a:lnTo>
                <a:lnTo>
                  <a:pt x="355" y="1526"/>
                </a:lnTo>
                <a:lnTo>
                  <a:pt x="362" y="1462"/>
                </a:lnTo>
                <a:lnTo>
                  <a:pt x="369" y="1400"/>
                </a:lnTo>
                <a:lnTo>
                  <a:pt x="378" y="1318"/>
                </a:lnTo>
                <a:lnTo>
                  <a:pt x="383" y="1301"/>
                </a:lnTo>
                <a:lnTo>
                  <a:pt x="399" y="1230"/>
                </a:lnTo>
                <a:lnTo>
                  <a:pt x="414" y="1160"/>
                </a:lnTo>
                <a:lnTo>
                  <a:pt x="418" y="1129"/>
                </a:lnTo>
                <a:lnTo>
                  <a:pt x="421" y="1098"/>
                </a:lnTo>
                <a:lnTo>
                  <a:pt x="421" y="1074"/>
                </a:lnTo>
                <a:lnTo>
                  <a:pt x="418" y="1056"/>
                </a:lnTo>
                <a:lnTo>
                  <a:pt x="416" y="1048"/>
                </a:lnTo>
                <a:lnTo>
                  <a:pt x="416" y="1046"/>
                </a:lnTo>
                <a:lnTo>
                  <a:pt x="416" y="1041"/>
                </a:lnTo>
                <a:lnTo>
                  <a:pt x="428" y="1001"/>
                </a:lnTo>
                <a:lnTo>
                  <a:pt x="428" y="1034"/>
                </a:lnTo>
                <a:lnTo>
                  <a:pt x="433" y="1067"/>
                </a:lnTo>
                <a:lnTo>
                  <a:pt x="440" y="1131"/>
                </a:lnTo>
                <a:lnTo>
                  <a:pt x="451" y="1188"/>
                </a:lnTo>
                <a:lnTo>
                  <a:pt x="459" y="1240"/>
                </a:lnTo>
                <a:lnTo>
                  <a:pt x="468" y="1349"/>
                </a:lnTo>
                <a:lnTo>
                  <a:pt x="473" y="1393"/>
                </a:lnTo>
                <a:lnTo>
                  <a:pt x="477" y="1422"/>
                </a:lnTo>
                <a:lnTo>
                  <a:pt x="480" y="1441"/>
                </a:lnTo>
                <a:lnTo>
                  <a:pt x="482" y="1476"/>
                </a:lnTo>
                <a:lnTo>
                  <a:pt x="487" y="1582"/>
                </a:lnTo>
                <a:lnTo>
                  <a:pt x="492" y="1755"/>
                </a:lnTo>
                <a:lnTo>
                  <a:pt x="492" y="1797"/>
                </a:lnTo>
                <a:lnTo>
                  <a:pt x="492" y="1814"/>
                </a:lnTo>
                <a:lnTo>
                  <a:pt x="496" y="1828"/>
                </a:lnTo>
                <a:lnTo>
                  <a:pt x="496" y="1840"/>
                </a:lnTo>
                <a:lnTo>
                  <a:pt x="496" y="1847"/>
                </a:lnTo>
                <a:lnTo>
                  <a:pt x="494" y="1852"/>
                </a:lnTo>
                <a:lnTo>
                  <a:pt x="494" y="1859"/>
                </a:lnTo>
                <a:lnTo>
                  <a:pt x="496" y="1861"/>
                </a:lnTo>
                <a:lnTo>
                  <a:pt x="503" y="1866"/>
                </a:lnTo>
                <a:lnTo>
                  <a:pt x="520" y="1871"/>
                </a:lnTo>
                <a:lnTo>
                  <a:pt x="546" y="1878"/>
                </a:lnTo>
                <a:lnTo>
                  <a:pt x="572" y="1887"/>
                </a:lnTo>
                <a:lnTo>
                  <a:pt x="586" y="1892"/>
                </a:lnTo>
                <a:lnTo>
                  <a:pt x="598" y="1894"/>
                </a:lnTo>
                <a:lnTo>
                  <a:pt x="612" y="1897"/>
                </a:lnTo>
                <a:lnTo>
                  <a:pt x="622" y="1897"/>
                </a:lnTo>
                <a:lnTo>
                  <a:pt x="633" y="1894"/>
                </a:lnTo>
                <a:lnTo>
                  <a:pt x="640" y="1889"/>
                </a:lnTo>
                <a:lnTo>
                  <a:pt x="648" y="1887"/>
                </a:lnTo>
                <a:lnTo>
                  <a:pt x="652" y="1880"/>
                </a:lnTo>
                <a:lnTo>
                  <a:pt x="652" y="1875"/>
                </a:lnTo>
                <a:lnTo>
                  <a:pt x="648" y="1866"/>
                </a:lnTo>
                <a:lnTo>
                  <a:pt x="640" y="1859"/>
                </a:lnTo>
                <a:lnTo>
                  <a:pt x="631" y="1849"/>
                </a:lnTo>
                <a:lnTo>
                  <a:pt x="600" y="1823"/>
                </a:lnTo>
                <a:lnTo>
                  <a:pt x="600" y="1819"/>
                </a:lnTo>
                <a:lnTo>
                  <a:pt x="600" y="1812"/>
                </a:lnTo>
                <a:lnTo>
                  <a:pt x="607" y="1786"/>
                </a:lnTo>
                <a:lnTo>
                  <a:pt x="626" y="1731"/>
                </a:lnTo>
                <a:lnTo>
                  <a:pt x="626" y="1722"/>
                </a:lnTo>
                <a:lnTo>
                  <a:pt x="629" y="1712"/>
                </a:lnTo>
                <a:lnTo>
                  <a:pt x="626" y="1693"/>
                </a:lnTo>
                <a:lnTo>
                  <a:pt x="619" y="1672"/>
                </a:lnTo>
                <a:lnTo>
                  <a:pt x="614" y="1641"/>
                </a:lnTo>
                <a:lnTo>
                  <a:pt x="612" y="1620"/>
                </a:lnTo>
                <a:lnTo>
                  <a:pt x="612" y="1589"/>
                </a:lnTo>
                <a:lnTo>
                  <a:pt x="614" y="1521"/>
                </a:lnTo>
                <a:lnTo>
                  <a:pt x="617" y="1455"/>
                </a:lnTo>
                <a:lnTo>
                  <a:pt x="619" y="1408"/>
                </a:lnTo>
                <a:lnTo>
                  <a:pt x="617" y="1216"/>
                </a:lnTo>
                <a:lnTo>
                  <a:pt x="614" y="1030"/>
                </a:lnTo>
                <a:lnTo>
                  <a:pt x="614" y="1004"/>
                </a:lnTo>
                <a:lnTo>
                  <a:pt x="617" y="980"/>
                </a:lnTo>
                <a:lnTo>
                  <a:pt x="619" y="959"/>
                </a:lnTo>
                <a:lnTo>
                  <a:pt x="624" y="937"/>
                </a:lnTo>
                <a:lnTo>
                  <a:pt x="626" y="911"/>
                </a:lnTo>
                <a:lnTo>
                  <a:pt x="626" y="897"/>
                </a:lnTo>
                <a:lnTo>
                  <a:pt x="629" y="890"/>
                </a:lnTo>
                <a:lnTo>
                  <a:pt x="633" y="885"/>
                </a:lnTo>
                <a:lnTo>
                  <a:pt x="636" y="900"/>
                </a:lnTo>
                <a:lnTo>
                  <a:pt x="640" y="911"/>
                </a:lnTo>
                <a:lnTo>
                  <a:pt x="650" y="923"/>
                </a:lnTo>
                <a:lnTo>
                  <a:pt x="655" y="928"/>
                </a:lnTo>
                <a:lnTo>
                  <a:pt x="655" y="933"/>
                </a:lnTo>
                <a:lnTo>
                  <a:pt x="652" y="940"/>
                </a:lnTo>
                <a:lnTo>
                  <a:pt x="652" y="945"/>
                </a:lnTo>
                <a:lnTo>
                  <a:pt x="652" y="949"/>
                </a:lnTo>
                <a:lnTo>
                  <a:pt x="655" y="961"/>
                </a:lnTo>
                <a:lnTo>
                  <a:pt x="659" y="973"/>
                </a:lnTo>
                <a:lnTo>
                  <a:pt x="659" y="978"/>
                </a:lnTo>
                <a:lnTo>
                  <a:pt x="659" y="985"/>
                </a:lnTo>
                <a:lnTo>
                  <a:pt x="659" y="994"/>
                </a:lnTo>
                <a:lnTo>
                  <a:pt x="659" y="1001"/>
                </a:lnTo>
                <a:lnTo>
                  <a:pt x="662" y="1006"/>
                </a:lnTo>
                <a:lnTo>
                  <a:pt x="662" y="1011"/>
                </a:lnTo>
                <a:lnTo>
                  <a:pt x="659" y="1018"/>
                </a:lnTo>
                <a:lnTo>
                  <a:pt x="652" y="1027"/>
                </a:lnTo>
                <a:lnTo>
                  <a:pt x="648" y="1034"/>
                </a:lnTo>
                <a:lnTo>
                  <a:pt x="648" y="1039"/>
                </a:lnTo>
                <a:lnTo>
                  <a:pt x="648" y="1041"/>
                </a:lnTo>
                <a:lnTo>
                  <a:pt x="652" y="1044"/>
                </a:lnTo>
                <a:lnTo>
                  <a:pt x="657" y="1044"/>
                </a:lnTo>
                <a:lnTo>
                  <a:pt x="674" y="1039"/>
                </a:lnTo>
                <a:lnTo>
                  <a:pt x="692" y="1027"/>
                </a:lnTo>
                <a:lnTo>
                  <a:pt x="700" y="1020"/>
                </a:lnTo>
                <a:lnTo>
                  <a:pt x="707" y="1013"/>
                </a:lnTo>
                <a:lnTo>
                  <a:pt x="709" y="1004"/>
                </a:lnTo>
                <a:lnTo>
                  <a:pt x="714" y="997"/>
                </a:lnTo>
                <a:lnTo>
                  <a:pt x="714" y="975"/>
                </a:lnTo>
                <a:lnTo>
                  <a:pt x="714" y="956"/>
                </a:lnTo>
                <a:lnTo>
                  <a:pt x="709" y="940"/>
                </a:lnTo>
                <a:close/>
                <a:moveTo>
                  <a:pt x="248" y="609"/>
                </a:moveTo>
                <a:lnTo>
                  <a:pt x="244" y="647"/>
                </a:lnTo>
                <a:lnTo>
                  <a:pt x="241" y="685"/>
                </a:lnTo>
                <a:lnTo>
                  <a:pt x="239" y="730"/>
                </a:lnTo>
                <a:lnTo>
                  <a:pt x="239" y="786"/>
                </a:lnTo>
                <a:lnTo>
                  <a:pt x="244" y="822"/>
                </a:lnTo>
                <a:lnTo>
                  <a:pt x="236" y="822"/>
                </a:lnTo>
                <a:lnTo>
                  <a:pt x="229" y="819"/>
                </a:lnTo>
                <a:lnTo>
                  <a:pt x="225" y="819"/>
                </a:lnTo>
                <a:lnTo>
                  <a:pt x="225" y="817"/>
                </a:lnTo>
                <a:lnTo>
                  <a:pt x="222" y="812"/>
                </a:lnTo>
                <a:lnTo>
                  <a:pt x="225" y="808"/>
                </a:lnTo>
                <a:lnTo>
                  <a:pt x="227" y="805"/>
                </a:lnTo>
                <a:lnTo>
                  <a:pt x="229" y="800"/>
                </a:lnTo>
                <a:lnTo>
                  <a:pt x="232" y="798"/>
                </a:lnTo>
                <a:lnTo>
                  <a:pt x="232" y="793"/>
                </a:lnTo>
                <a:lnTo>
                  <a:pt x="232" y="777"/>
                </a:lnTo>
                <a:lnTo>
                  <a:pt x="229" y="753"/>
                </a:lnTo>
                <a:lnTo>
                  <a:pt x="227" y="732"/>
                </a:lnTo>
                <a:lnTo>
                  <a:pt x="225" y="711"/>
                </a:lnTo>
                <a:lnTo>
                  <a:pt x="222" y="694"/>
                </a:lnTo>
                <a:lnTo>
                  <a:pt x="220" y="678"/>
                </a:lnTo>
                <a:lnTo>
                  <a:pt x="220" y="659"/>
                </a:lnTo>
                <a:lnTo>
                  <a:pt x="220" y="637"/>
                </a:lnTo>
                <a:lnTo>
                  <a:pt x="225" y="619"/>
                </a:lnTo>
                <a:lnTo>
                  <a:pt x="232" y="600"/>
                </a:lnTo>
                <a:lnTo>
                  <a:pt x="241" y="583"/>
                </a:lnTo>
                <a:lnTo>
                  <a:pt x="246" y="578"/>
                </a:lnTo>
                <a:lnTo>
                  <a:pt x="251" y="576"/>
                </a:lnTo>
                <a:lnTo>
                  <a:pt x="248" y="609"/>
                </a:lnTo>
                <a:close/>
                <a:moveTo>
                  <a:pt x="350" y="189"/>
                </a:moveTo>
                <a:lnTo>
                  <a:pt x="355" y="200"/>
                </a:lnTo>
                <a:lnTo>
                  <a:pt x="359" y="205"/>
                </a:lnTo>
                <a:lnTo>
                  <a:pt x="362" y="210"/>
                </a:lnTo>
                <a:lnTo>
                  <a:pt x="364" y="215"/>
                </a:lnTo>
                <a:lnTo>
                  <a:pt x="366" y="229"/>
                </a:lnTo>
                <a:lnTo>
                  <a:pt x="366" y="248"/>
                </a:lnTo>
                <a:lnTo>
                  <a:pt x="364" y="252"/>
                </a:lnTo>
                <a:lnTo>
                  <a:pt x="362" y="264"/>
                </a:lnTo>
                <a:lnTo>
                  <a:pt x="362" y="267"/>
                </a:lnTo>
                <a:lnTo>
                  <a:pt x="362" y="269"/>
                </a:lnTo>
                <a:lnTo>
                  <a:pt x="364" y="274"/>
                </a:lnTo>
                <a:lnTo>
                  <a:pt x="371" y="281"/>
                </a:lnTo>
                <a:lnTo>
                  <a:pt x="388" y="293"/>
                </a:lnTo>
                <a:lnTo>
                  <a:pt x="402" y="304"/>
                </a:lnTo>
                <a:lnTo>
                  <a:pt x="409" y="307"/>
                </a:lnTo>
                <a:lnTo>
                  <a:pt x="416" y="309"/>
                </a:lnTo>
                <a:lnTo>
                  <a:pt x="425" y="309"/>
                </a:lnTo>
                <a:lnTo>
                  <a:pt x="435" y="307"/>
                </a:lnTo>
                <a:lnTo>
                  <a:pt x="449" y="302"/>
                </a:lnTo>
                <a:lnTo>
                  <a:pt x="461" y="297"/>
                </a:lnTo>
                <a:lnTo>
                  <a:pt x="470" y="290"/>
                </a:lnTo>
                <a:lnTo>
                  <a:pt x="477" y="283"/>
                </a:lnTo>
                <a:lnTo>
                  <a:pt x="485" y="271"/>
                </a:lnTo>
                <a:lnTo>
                  <a:pt x="487" y="262"/>
                </a:lnTo>
                <a:lnTo>
                  <a:pt x="489" y="262"/>
                </a:lnTo>
                <a:lnTo>
                  <a:pt x="487" y="257"/>
                </a:lnTo>
                <a:lnTo>
                  <a:pt x="487" y="248"/>
                </a:lnTo>
                <a:lnTo>
                  <a:pt x="494" y="224"/>
                </a:lnTo>
                <a:lnTo>
                  <a:pt x="496" y="222"/>
                </a:lnTo>
                <a:lnTo>
                  <a:pt x="501" y="219"/>
                </a:lnTo>
                <a:lnTo>
                  <a:pt x="508" y="212"/>
                </a:lnTo>
                <a:lnTo>
                  <a:pt x="518" y="198"/>
                </a:lnTo>
                <a:lnTo>
                  <a:pt x="527" y="174"/>
                </a:lnTo>
                <a:lnTo>
                  <a:pt x="534" y="153"/>
                </a:lnTo>
                <a:lnTo>
                  <a:pt x="534" y="148"/>
                </a:lnTo>
                <a:lnTo>
                  <a:pt x="532" y="146"/>
                </a:lnTo>
                <a:lnTo>
                  <a:pt x="529" y="144"/>
                </a:lnTo>
                <a:lnTo>
                  <a:pt x="534" y="127"/>
                </a:lnTo>
                <a:lnTo>
                  <a:pt x="537" y="111"/>
                </a:lnTo>
                <a:lnTo>
                  <a:pt x="539" y="89"/>
                </a:lnTo>
                <a:lnTo>
                  <a:pt x="539" y="78"/>
                </a:lnTo>
                <a:lnTo>
                  <a:pt x="537" y="66"/>
                </a:lnTo>
                <a:lnTo>
                  <a:pt x="529" y="44"/>
                </a:lnTo>
                <a:lnTo>
                  <a:pt x="520" y="30"/>
                </a:lnTo>
                <a:lnTo>
                  <a:pt x="513" y="23"/>
                </a:lnTo>
                <a:lnTo>
                  <a:pt x="501" y="14"/>
                </a:lnTo>
                <a:lnTo>
                  <a:pt x="485" y="7"/>
                </a:lnTo>
                <a:lnTo>
                  <a:pt x="473" y="2"/>
                </a:lnTo>
                <a:lnTo>
                  <a:pt x="459" y="0"/>
                </a:lnTo>
                <a:lnTo>
                  <a:pt x="442" y="0"/>
                </a:lnTo>
                <a:lnTo>
                  <a:pt x="423" y="0"/>
                </a:lnTo>
                <a:lnTo>
                  <a:pt x="407" y="4"/>
                </a:lnTo>
                <a:lnTo>
                  <a:pt x="395" y="9"/>
                </a:lnTo>
                <a:lnTo>
                  <a:pt x="383" y="18"/>
                </a:lnTo>
                <a:lnTo>
                  <a:pt x="374" y="28"/>
                </a:lnTo>
                <a:lnTo>
                  <a:pt x="366" y="37"/>
                </a:lnTo>
                <a:lnTo>
                  <a:pt x="362" y="49"/>
                </a:lnTo>
                <a:lnTo>
                  <a:pt x="352" y="68"/>
                </a:lnTo>
                <a:lnTo>
                  <a:pt x="348" y="89"/>
                </a:lnTo>
                <a:lnTo>
                  <a:pt x="348" y="106"/>
                </a:lnTo>
                <a:lnTo>
                  <a:pt x="350" y="125"/>
                </a:lnTo>
                <a:lnTo>
                  <a:pt x="345" y="127"/>
                </a:lnTo>
                <a:lnTo>
                  <a:pt x="343" y="130"/>
                </a:lnTo>
                <a:lnTo>
                  <a:pt x="340" y="137"/>
                </a:lnTo>
                <a:lnTo>
                  <a:pt x="340" y="148"/>
                </a:lnTo>
                <a:lnTo>
                  <a:pt x="343" y="163"/>
                </a:lnTo>
                <a:lnTo>
                  <a:pt x="350" y="18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152" name="Gruppieren 14"/>
          <p:cNvGrpSpPr>
            <a:grpSpLocks noChangeAspect="1"/>
          </p:cNvGrpSpPr>
          <p:nvPr>
            <p:custDataLst>
              <p:tags r:id="rId45"/>
            </p:custDataLst>
          </p:nvPr>
        </p:nvGrpSpPr>
        <p:grpSpPr bwMode="gray">
          <a:xfrm>
            <a:off x="7294861" y="2079086"/>
            <a:ext cx="205734" cy="589282"/>
            <a:chOff x="11904663" y="2562225"/>
            <a:chExt cx="231775" cy="663575"/>
          </a:xfrm>
        </p:grpSpPr>
        <p:sp>
          <p:nvSpPr>
            <p:cNvPr id="153" name="Freeform 7"/>
            <p:cNvSpPr>
              <a:spLocks noChangeAspect="1" noEditPoints="1"/>
            </p:cNvSpPr>
            <p:nvPr/>
          </p:nvSpPr>
          <p:spPr bwMode="gray">
            <a:xfrm>
              <a:off x="11904663" y="2562225"/>
              <a:ext cx="231775" cy="663575"/>
            </a:xfrm>
            <a:custGeom>
              <a:avLst/>
              <a:gdLst>
                <a:gd name="T0" fmla="*/ 59 w 62"/>
                <a:gd name="T1" fmla="*/ 83 h 177"/>
                <a:gd name="T2" fmla="*/ 50 w 62"/>
                <a:gd name="T3" fmla="*/ 106 h 177"/>
                <a:gd name="T4" fmla="*/ 39 w 62"/>
                <a:gd name="T5" fmla="*/ 155 h 177"/>
                <a:gd name="T6" fmla="*/ 35 w 62"/>
                <a:gd name="T7" fmla="*/ 168 h 177"/>
                <a:gd name="T8" fmla="*/ 23 w 62"/>
                <a:gd name="T9" fmla="*/ 175 h 177"/>
                <a:gd name="T10" fmla="*/ 25 w 62"/>
                <a:gd name="T11" fmla="*/ 166 h 177"/>
                <a:gd name="T12" fmla="*/ 23 w 62"/>
                <a:gd name="T13" fmla="*/ 159 h 177"/>
                <a:gd name="T14" fmla="*/ 18 w 62"/>
                <a:gd name="T15" fmla="*/ 118 h 177"/>
                <a:gd name="T16" fmla="*/ 13 w 62"/>
                <a:gd name="T17" fmla="*/ 101 h 177"/>
                <a:gd name="T18" fmla="*/ 13 w 62"/>
                <a:gd name="T19" fmla="*/ 72 h 177"/>
                <a:gd name="T20" fmla="*/ 12 w 62"/>
                <a:gd name="T21" fmla="*/ 68 h 177"/>
                <a:gd name="T22" fmla="*/ 11 w 62"/>
                <a:gd name="T23" fmla="*/ 90 h 177"/>
                <a:gd name="T24" fmla="*/ 12 w 62"/>
                <a:gd name="T25" fmla="*/ 99 h 177"/>
                <a:gd name="T26" fmla="*/ 11 w 62"/>
                <a:gd name="T27" fmla="*/ 102 h 177"/>
                <a:gd name="T28" fmla="*/ 9 w 62"/>
                <a:gd name="T29" fmla="*/ 105 h 177"/>
                <a:gd name="T30" fmla="*/ 1 w 62"/>
                <a:gd name="T31" fmla="*/ 98 h 177"/>
                <a:gd name="T32" fmla="*/ 1 w 62"/>
                <a:gd name="T33" fmla="*/ 91 h 177"/>
                <a:gd name="T34" fmla="*/ 5 w 62"/>
                <a:gd name="T35" fmla="*/ 36 h 177"/>
                <a:gd name="T36" fmla="*/ 25 w 62"/>
                <a:gd name="T37" fmla="*/ 22 h 177"/>
                <a:gd name="T38" fmla="*/ 25 w 62"/>
                <a:gd name="T39" fmla="*/ 14 h 177"/>
                <a:gd name="T40" fmla="*/ 25 w 62"/>
                <a:gd name="T41" fmla="*/ 4 h 177"/>
                <a:gd name="T42" fmla="*/ 42 w 62"/>
                <a:gd name="T43" fmla="*/ 9 h 177"/>
                <a:gd name="T44" fmla="*/ 40 w 62"/>
                <a:gd name="T45" fmla="*/ 17 h 177"/>
                <a:gd name="T46" fmla="*/ 54 w 62"/>
                <a:gd name="T47" fmla="*/ 29 h 177"/>
                <a:gd name="T48" fmla="*/ 62 w 62"/>
                <a:gd name="T49" fmla="*/ 67 h 177"/>
                <a:gd name="T50" fmla="*/ 50 w 62"/>
                <a:gd name="T51" fmla="*/ 71 h 177"/>
                <a:gd name="T52" fmla="*/ 51 w 62"/>
                <a:gd name="T53" fmla="*/ 59 h 177"/>
                <a:gd name="T54" fmla="*/ 8 w 62"/>
                <a:gd name="T55" fmla="*/ 101 h 177"/>
                <a:gd name="T56" fmla="*/ 8 w 62"/>
                <a:gd name="T57" fmla="*/ 97 h 177"/>
                <a:gd name="T58" fmla="*/ 34 w 62"/>
                <a:gd name="T59" fmla="*/ 125 h 177"/>
                <a:gd name="T60" fmla="*/ 34 w 62"/>
                <a:gd name="T61" fmla="*/ 134 h 177"/>
                <a:gd name="T62" fmla="*/ 35 w 62"/>
                <a:gd name="T63" fmla="*/ 117 h 17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2"/>
                <a:gd name="T97" fmla="*/ 0 h 177"/>
                <a:gd name="T98" fmla="*/ 62 w 62"/>
                <a:gd name="T99" fmla="*/ 177 h 17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2" h="177">
                  <a:moveTo>
                    <a:pt x="62" y="67"/>
                  </a:moveTo>
                  <a:cubicBezTo>
                    <a:pt x="62" y="70"/>
                    <a:pt x="60" y="80"/>
                    <a:pt x="59" y="83"/>
                  </a:cubicBezTo>
                  <a:cubicBezTo>
                    <a:pt x="58" y="86"/>
                    <a:pt x="56" y="88"/>
                    <a:pt x="53" y="93"/>
                  </a:cubicBezTo>
                  <a:cubicBezTo>
                    <a:pt x="50" y="98"/>
                    <a:pt x="49" y="104"/>
                    <a:pt x="50" y="106"/>
                  </a:cubicBezTo>
                  <a:cubicBezTo>
                    <a:pt x="50" y="109"/>
                    <a:pt x="47" y="130"/>
                    <a:pt x="46" y="135"/>
                  </a:cubicBezTo>
                  <a:cubicBezTo>
                    <a:pt x="45" y="139"/>
                    <a:pt x="41" y="149"/>
                    <a:pt x="39" y="155"/>
                  </a:cubicBezTo>
                  <a:cubicBezTo>
                    <a:pt x="36" y="160"/>
                    <a:pt x="37" y="160"/>
                    <a:pt x="37" y="163"/>
                  </a:cubicBezTo>
                  <a:cubicBezTo>
                    <a:pt x="37" y="165"/>
                    <a:pt x="37" y="167"/>
                    <a:pt x="35" y="168"/>
                  </a:cubicBezTo>
                  <a:cubicBezTo>
                    <a:pt x="34" y="169"/>
                    <a:pt x="34" y="171"/>
                    <a:pt x="34" y="174"/>
                  </a:cubicBezTo>
                  <a:cubicBezTo>
                    <a:pt x="34" y="177"/>
                    <a:pt x="25" y="176"/>
                    <a:pt x="23" y="175"/>
                  </a:cubicBezTo>
                  <a:cubicBezTo>
                    <a:pt x="22" y="174"/>
                    <a:pt x="24" y="171"/>
                    <a:pt x="25" y="169"/>
                  </a:cubicBezTo>
                  <a:cubicBezTo>
                    <a:pt x="27" y="167"/>
                    <a:pt x="26" y="167"/>
                    <a:pt x="25" y="166"/>
                  </a:cubicBezTo>
                  <a:cubicBezTo>
                    <a:pt x="24" y="165"/>
                    <a:pt x="24" y="163"/>
                    <a:pt x="24" y="162"/>
                  </a:cubicBezTo>
                  <a:cubicBezTo>
                    <a:pt x="24" y="161"/>
                    <a:pt x="24" y="161"/>
                    <a:pt x="23" y="159"/>
                  </a:cubicBezTo>
                  <a:cubicBezTo>
                    <a:pt x="22" y="157"/>
                    <a:pt x="20" y="147"/>
                    <a:pt x="20" y="142"/>
                  </a:cubicBezTo>
                  <a:cubicBezTo>
                    <a:pt x="19" y="138"/>
                    <a:pt x="18" y="124"/>
                    <a:pt x="18" y="118"/>
                  </a:cubicBezTo>
                  <a:cubicBezTo>
                    <a:pt x="18" y="112"/>
                    <a:pt x="17" y="108"/>
                    <a:pt x="15" y="105"/>
                  </a:cubicBezTo>
                  <a:cubicBezTo>
                    <a:pt x="14" y="102"/>
                    <a:pt x="14" y="101"/>
                    <a:pt x="13" y="101"/>
                  </a:cubicBezTo>
                  <a:cubicBezTo>
                    <a:pt x="12" y="102"/>
                    <a:pt x="12" y="95"/>
                    <a:pt x="12" y="90"/>
                  </a:cubicBezTo>
                  <a:cubicBezTo>
                    <a:pt x="12" y="85"/>
                    <a:pt x="13" y="76"/>
                    <a:pt x="13" y="72"/>
                  </a:cubicBezTo>
                  <a:cubicBezTo>
                    <a:pt x="14" y="68"/>
                    <a:pt x="14" y="65"/>
                    <a:pt x="14" y="60"/>
                  </a:cubicBezTo>
                  <a:cubicBezTo>
                    <a:pt x="15" y="55"/>
                    <a:pt x="13" y="63"/>
                    <a:pt x="12" y="68"/>
                  </a:cubicBezTo>
                  <a:cubicBezTo>
                    <a:pt x="11" y="72"/>
                    <a:pt x="11" y="83"/>
                    <a:pt x="11" y="85"/>
                  </a:cubicBezTo>
                  <a:cubicBezTo>
                    <a:pt x="11" y="87"/>
                    <a:pt x="11" y="90"/>
                    <a:pt x="11" y="90"/>
                  </a:cubicBezTo>
                  <a:cubicBezTo>
                    <a:pt x="10" y="91"/>
                    <a:pt x="10" y="91"/>
                    <a:pt x="10" y="92"/>
                  </a:cubicBezTo>
                  <a:cubicBezTo>
                    <a:pt x="11" y="94"/>
                    <a:pt x="11" y="97"/>
                    <a:pt x="12" y="99"/>
                  </a:cubicBezTo>
                  <a:cubicBezTo>
                    <a:pt x="12" y="100"/>
                    <a:pt x="12" y="101"/>
                    <a:pt x="11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0" y="102"/>
                    <a:pt x="11" y="103"/>
                    <a:pt x="11" y="103"/>
                  </a:cubicBezTo>
                  <a:cubicBezTo>
                    <a:pt x="11" y="104"/>
                    <a:pt x="10" y="105"/>
                    <a:pt x="9" y="105"/>
                  </a:cubicBezTo>
                  <a:cubicBezTo>
                    <a:pt x="7" y="104"/>
                    <a:pt x="6" y="103"/>
                    <a:pt x="5" y="102"/>
                  </a:cubicBezTo>
                  <a:cubicBezTo>
                    <a:pt x="4" y="101"/>
                    <a:pt x="2" y="99"/>
                    <a:pt x="1" y="98"/>
                  </a:cubicBezTo>
                  <a:cubicBezTo>
                    <a:pt x="1" y="96"/>
                    <a:pt x="2" y="94"/>
                    <a:pt x="3" y="92"/>
                  </a:cubicBezTo>
                  <a:cubicBezTo>
                    <a:pt x="3" y="90"/>
                    <a:pt x="2" y="91"/>
                    <a:pt x="1" y="91"/>
                  </a:cubicBezTo>
                  <a:cubicBezTo>
                    <a:pt x="0" y="91"/>
                    <a:pt x="2" y="78"/>
                    <a:pt x="2" y="70"/>
                  </a:cubicBezTo>
                  <a:cubicBezTo>
                    <a:pt x="2" y="62"/>
                    <a:pt x="5" y="42"/>
                    <a:pt x="5" y="36"/>
                  </a:cubicBezTo>
                  <a:cubicBezTo>
                    <a:pt x="6" y="30"/>
                    <a:pt x="10" y="30"/>
                    <a:pt x="16" y="28"/>
                  </a:cubicBezTo>
                  <a:cubicBezTo>
                    <a:pt x="21" y="26"/>
                    <a:pt x="24" y="23"/>
                    <a:pt x="25" y="22"/>
                  </a:cubicBezTo>
                  <a:cubicBezTo>
                    <a:pt x="27" y="22"/>
                    <a:pt x="26" y="16"/>
                    <a:pt x="26" y="16"/>
                  </a:cubicBezTo>
                  <a:cubicBezTo>
                    <a:pt x="25" y="16"/>
                    <a:pt x="25" y="15"/>
                    <a:pt x="25" y="14"/>
                  </a:cubicBezTo>
                  <a:cubicBezTo>
                    <a:pt x="25" y="13"/>
                    <a:pt x="25" y="12"/>
                    <a:pt x="24" y="11"/>
                  </a:cubicBezTo>
                  <a:cubicBezTo>
                    <a:pt x="24" y="10"/>
                    <a:pt x="24" y="8"/>
                    <a:pt x="25" y="4"/>
                  </a:cubicBezTo>
                  <a:cubicBezTo>
                    <a:pt x="26" y="0"/>
                    <a:pt x="33" y="0"/>
                    <a:pt x="37" y="0"/>
                  </a:cubicBezTo>
                  <a:cubicBezTo>
                    <a:pt x="41" y="1"/>
                    <a:pt x="43" y="6"/>
                    <a:pt x="42" y="9"/>
                  </a:cubicBezTo>
                  <a:cubicBezTo>
                    <a:pt x="42" y="12"/>
                    <a:pt x="41" y="13"/>
                    <a:pt x="41" y="14"/>
                  </a:cubicBezTo>
                  <a:cubicBezTo>
                    <a:pt x="41" y="15"/>
                    <a:pt x="41" y="16"/>
                    <a:pt x="40" y="17"/>
                  </a:cubicBezTo>
                  <a:cubicBezTo>
                    <a:pt x="40" y="17"/>
                    <a:pt x="39" y="19"/>
                    <a:pt x="38" y="22"/>
                  </a:cubicBezTo>
                  <a:cubicBezTo>
                    <a:pt x="38" y="25"/>
                    <a:pt x="49" y="27"/>
                    <a:pt x="54" y="29"/>
                  </a:cubicBezTo>
                  <a:cubicBezTo>
                    <a:pt x="59" y="31"/>
                    <a:pt x="61" y="55"/>
                    <a:pt x="62" y="62"/>
                  </a:cubicBezTo>
                  <a:cubicBezTo>
                    <a:pt x="62" y="62"/>
                    <a:pt x="62" y="64"/>
                    <a:pt x="62" y="67"/>
                  </a:cubicBezTo>
                  <a:close/>
                  <a:moveTo>
                    <a:pt x="51" y="59"/>
                  </a:moveTo>
                  <a:cubicBezTo>
                    <a:pt x="50" y="58"/>
                    <a:pt x="50" y="66"/>
                    <a:pt x="50" y="71"/>
                  </a:cubicBezTo>
                  <a:cubicBezTo>
                    <a:pt x="50" y="76"/>
                    <a:pt x="52" y="64"/>
                    <a:pt x="52" y="62"/>
                  </a:cubicBezTo>
                  <a:cubicBezTo>
                    <a:pt x="52" y="62"/>
                    <a:pt x="52" y="59"/>
                    <a:pt x="51" y="59"/>
                  </a:cubicBezTo>
                  <a:close/>
                  <a:moveTo>
                    <a:pt x="8" y="97"/>
                  </a:moveTo>
                  <a:cubicBezTo>
                    <a:pt x="7" y="97"/>
                    <a:pt x="7" y="99"/>
                    <a:pt x="8" y="101"/>
                  </a:cubicBezTo>
                  <a:cubicBezTo>
                    <a:pt x="9" y="102"/>
                    <a:pt x="9" y="99"/>
                    <a:pt x="9" y="97"/>
                  </a:cubicBezTo>
                  <a:cubicBezTo>
                    <a:pt x="9" y="97"/>
                    <a:pt x="8" y="97"/>
                    <a:pt x="8" y="97"/>
                  </a:cubicBezTo>
                  <a:close/>
                  <a:moveTo>
                    <a:pt x="34" y="117"/>
                  </a:moveTo>
                  <a:cubicBezTo>
                    <a:pt x="33" y="117"/>
                    <a:pt x="33" y="122"/>
                    <a:pt x="34" y="125"/>
                  </a:cubicBezTo>
                  <a:cubicBezTo>
                    <a:pt x="34" y="129"/>
                    <a:pt x="33" y="131"/>
                    <a:pt x="33" y="135"/>
                  </a:cubicBezTo>
                  <a:cubicBezTo>
                    <a:pt x="33" y="138"/>
                    <a:pt x="34" y="136"/>
                    <a:pt x="34" y="134"/>
                  </a:cubicBezTo>
                  <a:cubicBezTo>
                    <a:pt x="35" y="133"/>
                    <a:pt x="35" y="129"/>
                    <a:pt x="36" y="126"/>
                  </a:cubicBezTo>
                  <a:cubicBezTo>
                    <a:pt x="36" y="122"/>
                    <a:pt x="35" y="119"/>
                    <a:pt x="35" y="117"/>
                  </a:cubicBezTo>
                  <a:cubicBezTo>
                    <a:pt x="35" y="117"/>
                    <a:pt x="35" y="117"/>
                    <a:pt x="34" y="117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4" name="Freeform 8"/>
            <p:cNvSpPr>
              <a:spLocks noChangeAspect="1"/>
            </p:cNvSpPr>
            <p:nvPr/>
          </p:nvSpPr>
          <p:spPr bwMode="gray">
            <a:xfrm>
              <a:off x="11998325" y="2647950"/>
              <a:ext cx="55563" cy="149225"/>
            </a:xfrm>
            <a:custGeom>
              <a:avLst/>
              <a:gdLst>
                <a:gd name="T0" fmla="*/ 15 w 15"/>
                <a:gd name="T1" fmla="*/ 1 h 40"/>
                <a:gd name="T2" fmla="*/ 0 w 15"/>
                <a:gd name="T3" fmla="*/ 0 h 40"/>
                <a:gd name="T4" fmla="*/ 7 w 15"/>
                <a:gd name="T5" fmla="*/ 40 h 40"/>
                <a:gd name="T6" fmla="*/ 15 w 15"/>
                <a:gd name="T7" fmla="*/ 1 h 4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"/>
                <a:gd name="T13" fmla="*/ 0 h 40"/>
                <a:gd name="T14" fmla="*/ 15 w 15"/>
                <a:gd name="T15" fmla="*/ 40 h 4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" h="40">
                  <a:moveTo>
                    <a:pt x="15" y="1"/>
                  </a:moveTo>
                  <a:cubicBezTo>
                    <a:pt x="14" y="5"/>
                    <a:pt x="5" y="11"/>
                    <a:pt x="0" y="0"/>
                  </a:cubicBezTo>
                  <a:cubicBezTo>
                    <a:pt x="2" y="2"/>
                    <a:pt x="6" y="34"/>
                    <a:pt x="7" y="40"/>
                  </a:cubicBezTo>
                  <a:lnTo>
                    <a:pt x="1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5" name="Freeform 9"/>
            <p:cNvSpPr>
              <a:spLocks noChangeAspect="1"/>
            </p:cNvSpPr>
            <p:nvPr/>
          </p:nvSpPr>
          <p:spPr bwMode="gray">
            <a:xfrm>
              <a:off x="12017375" y="2670175"/>
              <a:ext cx="19050" cy="123825"/>
            </a:xfrm>
            <a:custGeom>
              <a:avLst/>
              <a:gdLst>
                <a:gd name="T0" fmla="*/ 5 w 5"/>
                <a:gd name="T1" fmla="*/ 2 h 33"/>
                <a:gd name="T2" fmla="*/ 3 w 5"/>
                <a:gd name="T3" fmla="*/ 0 h 33"/>
                <a:gd name="T4" fmla="*/ 1 w 5"/>
                <a:gd name="T5" fmla="*/ 2 h 33"/>
                <a:gd name="T6" fmla="*/ 2 w 5"/>
                <a:gd name="T7" fmla="*/ 4 h 33"/>
                <a:gd name="T8" fmla="*/ 0 w 5"/>
                <a:gd name="T9" fmla="*/ 16 h 33"/>
                <a:gd name="T10" fmla="*/ 2 w 5"/>
                <a:gd name="T11" fmla="*/ 33 h 33"/>
                <a:gd name="T12" fmla="*/ 5 w 5"/>
                <a:gd name="T13" fmla="*/ 16 h 33"/>
                <a:gd name="T14" fmla="*/ 4 w 5"/>
                <a:gd name="T15" fmla="*/ 4 h 33"/>
                <a:gd name="T16" fmla="*/ 5 w 5"/>
                <a:gd name="T17" fmla="*/ 2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3"/>
                <a:gd name="T29" fmla="*/ 5 w 5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3">
                  <a:moveTo>
                    <a:pt x="5" y="2"/>
                  </a:move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1" y="7"/>
                    <a:pt x="0" y="11"/>
                    <a:pt x="0" y="16"/>
                  </a:cubicBezTo>
                  <a:cubicBezTo>
                    <a:pt x="0" y="24"/>
                    <a:pt x="2" y="33"/>
                    <a:pt x="2" y="33"/>
                  </a:cubicBezTo>
                  <a:cubicBezTo>
                    <a:pt x="3" y="33"/>
                    <a:pt x="5" y="24"/>
                    <a:pt x="5" y="16"/>
                  </a:cubicBezTo>
                  <a:cubicBezTo>
                    <a:pt x="5" y="11"/>
                    <a:pt x="4" y="7"/>
                    <a:pt x="4" y="4"/>
                  </a:cubicBezTo>
                  <a:cubicBezTo>
                    <a:pt x="4" y="4"/>
                    <a:pt x="5" y="3"/>
                    <a:pt x="5" y="2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6" name="Freeform 10"/>
            <p:cNvSpPr>
              <a:spLocks noChangeAspect="1"/>
            </p:cNvSpPr>
            <p:nvPr/>
          </p:nvSpPr>
          <p:spPr bwMode="gray">
            <a:xfrm>
              <a:off x="12012613" y="2670175"/>
              <a:ext cx="15875" cy="19050"/>
            </a:xfrm>
            <a:custGeom>
              <a:avLst/>
              <a:gdLst>
                <a:gd name="T0" fmla="*/ 0 w 4"/>
                <a:gd name="T1" fmla="*/ 5 h 5"/>
                <a:gd name="T2" fmla="*/ 4 w 4"/>
                <a:gd name="T3" fmla="*/ 0 h 5"/>
                <a:gd name="T4" fmla="*/ 4 w 4"/>
                <a:gd name="T5" fmla="*/ 0 h 5"/>
                <a:gd name="T6" fmla="*/ 0 w 4"/>
                <a:gd name="T7" fmla="*/ 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0" y="5"/>
                  </a:move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7" name="Freeform 11"/>
            <p:cNvSpPr>
              <a:spLocks noChangeAspect="1"/>
            </p:cNvSpPr>
            <p:nvPr/>
          </p:nvSpPr>
          <p:spPr bwMode="gray">
            <a:xfrm>
              <a:off x="12028488" y="2670175"/>
              <a:ext cx="11113" cy="19050"/>
            </a:xfrm>
            <a:custGeom>
              <a:avLst/>
              <a:gdLst>
                <a:gd name="T0" fmla="*/ 3 w 3"/>
                <a:gd name="T1" fmla="*/ 5 h 5"/>
                <a:gd name="T2" fmla="*/ 0 w 3"/>
                <a:gd name="T3" fmla="*/ 0 h 5"/>
                <a:gd name="T4" fmla="*/ 0 w 3"/>
                <a:gd name="T5" fmla="*/ 0 h 5"/>
                <a:gd name="T6" fmla="*/ 3 w 3"/>
                <a:gd name="T7" fmla="*/ 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3" y="5"/>
                  </a:moveTo>
                  <a:cubicBezTo>
                    <a:pt x="3" y="2"/>
                    <a:pt x="2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2"/>
                    <a:pt x="3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8" name="Freeform 12"/>
            <p:cNvSpPr>
              <a:spLocks noChangeAspect="1"/>
            </p:cNvSpPr>
            <p:nvPr/>
          </p:nvSpPr>
          <p:spPr bwMode="gray">
            <a:xfrm>
              <a:off x="12006263" y="2674938"/>
              <a:ext cx="6350" cy="14288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0 h 9"/>
                <a:gd name="T4" fmla="*/ 4 w 4"/>
                <a:gd name="T5" fmla="*/ 9 h 9"/>
                <a:gd name="T6" fmla="*/ 4 w 4"/>
                <a:gd name="T7" fmla="*/ 9 h 9"/>
                <a:gd name="T8" fmla="*/ 0 w 4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0" y="0"/>
                  </a:moveTo>
                  <a:lnTo>
                    <a:pt x="0" y="0"/>
                  </a:lnTo>
                  <a:lnTo>
                    <a:pt x="4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59" name="Freeform 13"/>
            <p:cNvSpPr>
              <a:spLocks noChangeAspect="1"/>
            </p:cNvSpPr>
            <p:nvPr/>
          </p:nvSpPr>
          <p:spPr bwMode="gray">
            <a:xfrm>
              <a:off x="12039600" y="2674938"/>
              <a:ext cx="11113" cy="14288"/>
            </a:xfrm>
            <a:custGeom>
              <a:avLst/>
              <a:gdLst>
                <a:gd name="T0" fmla="*/ 0 w 7"/>
                <a:gd name="T1" fmla="*/ 9 h 9"/>
                <a:gd name="T2" fmla="*/ 5 w 7"/>
                <a:gd name="T3" fmla="*/ 0 h 9"/>
                <a:gd name="T4" fmla="*/ 7 w 7"/>
                <a:gd name="T5" fmla="*/ 2 h 9"/>
                <a:gd name="T6" fmla="*/ 0 w 7"/>
                <a:gd name="T7" fmla="*/ 9 h 9"/>
                <a:gd name="T8" fmla="*/ 0 w 7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9"/>
                <a:gd name="T17" fmla="*/ 7 w 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9">
                  <a:moveTo>
                    <a:pt x="0" y="9"/>
                  </a:moveTo>
                  <a:lnTo>
                    <a:pt x="5" y="0"/>
                  </a:lnTo>
                  <a:lnTo>
                    <a:pt x="7" y="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69" name="Freeform 76"/>
          <p:cNvSpPr>
            <a:spLocks noEditPoints="1"/>
          </p:cNvSpPr>
          <p:nvPr>
            <p:custDataLst>
              <p:tags r:id="rId46"/>
            </p:custDataLst>
          </p:nvPr>
        </p:nvSpPr>
        <p:spPr bwMode="gray">
          <a:xfrm flipH="1">
            <a:off x="6895358" y="1536787"/>
            <a:ext cx="139700" cy="461962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171" name="Gruppieren 55"/>
          <p:cNvGrpSpPr>
            <a:grpSpLocks noChangeAspect="1"/>
          </p:cNvGrpSpPr>
          <p:nvPr>
            <p:custDataLst>
              <p:tags r:id="rId47"/>
            </p:custDataLst>
          </p:nvPr>
        </p:nvGrpSpPr>
        <p:grpSpPr bwMode="gray">
          <a:xfrm>
            <a:off x="6668414" y="1561382"/>
            <a:ext cx="154936" cy="371449"/>
            <a:chOff x="11957050" y="3071813"/>
            <a:chExt cx="311150" cy="749300"/>
          </a:xfrm>
        </p:grpSpPr>
        <p:sp>
          <p:nvSpPr>
            <p:cNvPr id="173" name="Freeform 33"/>
            <p:cNvSpPr>
              <a:spLocks noChangeAspect="1" noEditPoints="1"/>
            </p:cNvSpPr>
            <p:nvPr/>
          </p:nvSpPr>
          <p:spPr bwMode="gray">
            <a:xfrm>
              <a:off x="11957050" y="3071813"/>
              <a:ext cx="311150" cy="749300"/>
            </a:xfrm>
            <a:custGeom>
              <a:avLst/>
              <a:gdLst>
                <a:gd name="T0" fmla="*/ 72 w 83"/>
                <a:gd name="T1" fmla="*/ 141 h 200"/>
                <a:gd name="T2" fmla="*/ 72 w 83"/>
                <a:gd name="T3" fmla="*/ 189 h 200"/>
                <a:gd name="T4" fmla="*/ 69 w 83"/>
                <a:gd name="T5" fmla="*/ 191 h 200"/>
                <a:gd name="T6" fmla="*/ 71 w 83"/>
                <a:gd name="T7" fmla="*/ 198 h 200"/>
                <a:gd name="T8" fmla="*/ 63 w 83"/>
                <a:gd name="T9" fmla="*/ 195 h 200"/>
                <a:gd name="T10" fmla="*/ 60 w 83"/>
                <a:gd name="T11" fmla="*/ 190 h 200"/>
                <a:gd name="T12" fmla="*/ 59 w 83"/>
                <a:gd name="T13" fmla="*/ 186 h 200"/>
                <a:gd name="T14" fmla="*/ 56 w 83"/>
                <a:gd name="T15" fmla="*/ 122 h 200"/>
                <a:gd name="T16" fmla="*/ 52 w 83"/>
                <a:gd name="T17" fmla="*/ 108 h 200"/>
                <a:gd name="T18" fmla="*/ 47 w 83"/>
                <a:gd name="T19" fmla="*/ 114 h 200"/>
                <a:gd name="T20" fmla="*/ 38 w 83"/>
                <a:gd name="T21" fmla="*/ 132 h 200"/>
                <a:gd name="T22" fmla="*/ 23 w 83"/>
                <a:gd name="T23" fmla="*/ 190 h 200"/>
                <a:gd name="T24" fmla="*/ 19 w 83"/>
                <a:gd name="T25" fmla="*/ 190 h 200"/>
                <a:gd name="T26" fmla="*/ 8 w 83"/>
                <a:gd name="T27" fmla="*/ 197 h 200"/>
                <a:gd name="T28" fmla="*/ 3 w 83"/>
                <a:gd name="T29" fmla="*/ 194 h 200"/>
                <a:gd name="T30" fmla="*/ 9 w 83"/>
                <a:gd name="T31" fmla="*/ 188 h 200"/>
                <a:gd name="T32" fmla="*/ 10 w 83"/>
                <a:gd name="T33" fmla="*/ 181 h 200"/>
                <a:gd name="T34" fmla="*/ 24 w 83"/>
                <a:gd name="T35" fmla="*/ 135 h 200"/>
                <a:gd name="T36" fmla="*/ 27 w 83"/>
                <a:gd name="T37" fmla="*/ 112 h 200"/>
                <a:gd name="T38" fmla="*/ 25 w 83"/>
                <a:gd name="T39" fmla="*/ 105 h 200"/>
                <a:gd name="T40" fmla="*/ 25 w 83"/>
                <a:gd name="T41" fmla="*/ 98 h 200"/>
                <a:gd name="T42" fmla="*/ 23 w 83"/>
                <a:gd name="T43" fmla="*/ 75 h 200"/>
                <a:gd name="T44" fmla="*/ 23 w 83"/>
                <a:gd name="T45" fmla="*/ 61 h 200"/>
                <a:gd name="T46" fmla="*/ 18 w 83"/>
                <a:gd name="T47" fmla="*/ 52 h 200"/>
                <a:gd name="T48" fmla="*/ 23 w 83"/>
                <a:gd name="T49" fmla="*/ 43 h 200"/>
                <a:gd name="T50" fmla="*/ 27 w 83"/>
                <a:gd name="T51" fmla="*/ 32 h 200"/>
                <a:gd name="T52" fmla="*/ 31 w 83"/>
                <a:gd name="T53" fmla="*/ 29 h 200"/>
                <a:gd name="T54" fmla="*/ 31 w 83"/>
                <a:gd name="T55" fmla="*/ 27 h 200"/>
                <a:gd name="T56" fmla="*/ 32 w 83"/>
                <a:gd name="T57" fmla="*/ 25 h 200"/>
                <a:gd name="T58" fmla="*/ 30 w 83"/>
                <a:gd name="T59" fmla="*/ 25 h 200"/>
                <a:gd name="T60" fmla="*/ 31 w 83"/>
                <a:gd name="T61" fmla="*/ 24 h 200"/>
                <a:gd name="T62" fmla="*/ 31 w 83"/>
                <a:gd name="T63" fmla="*/ 23 h 200"/>
                <a:gd name="T64" fmla="*/ 33 w 83"/>
                <a:gd name="T65" fmla="*/ 21 h 200"/>
                <a:gd name="T66" fmla="*/ 32 w 83"/>
                <a:gd name="T67" fmla="*/ 20 h 200"/>
                <a:gd name="T68" fmla="*/ 36 w 83"/>
                <a:gd name="T69" fmla="*/ 18 h 200"/>
                <a:gd name="T70" fmla="*/ 42 w 83"/>
                <a:gd name="T71" fmla="*/ 4 h 200"/>
                <a:gd name="T72" fmla="*/ 57 w 83"/>
                <a:gd name="T73" fmla="*/ 4 h 200"/>
                <a:gd name="T74" fmla="*/ 66 w 83"/>
                <a:gd name="T75" fmla="*/ 19 h 200"/>
                <a:gd name="T76" fmla="*/ 65 w 83"/>
                <a:gd name="T77" fmla="*/ 29 h 200"/>
                <a:gd name="T78" fmla="*/ 69 w 83"/>
                <a:gd name="T79" fmla="*/ 31 h 200"/>
                <a:gd name="T80" fmla="*/ 68 w 83"/>
                <a:gd name="T81" fmla="*/ 34 h 200"/>
                <a:gd name="T82" fmla="*/ 75 w 83"/>
                <a:gd name="T83" fmla="*/ 42 h 200"/>
                <a:gd name="T84" fmla="*/ 74 w 83"/>
                <a:gd name="T85" fmla="*/ 44 h 200"/>
                <a:gd name="T86" fmla="*/ 78 w 83"/>
                <a:gd name="T87" fmla="*/ 46 h 200"/>
                <a:gd name="T88" fmla="*/ 72 w 83"/>
                <a:gd name="T89" fmla="*/ 48 h 200"/>
                <a:gd name="T90" fmla="*/ 72 w 83"/>
                <a:gd name="T91" fmla="*/ 55 h 200"/>
                <a:gd name="T92" fmla="*/ 76 w 83"/>
                <a:gd name="T93" fmla="*/ 65 h 200"/>
                <a:gd name="T94" fmla="*/ 69 w 83"/>
                <a:gd name="T95" fmla="*/ 73 h 200"/>
                <a:gd name="T96" fmla="*/ 78 w 83"/>
                <a:gd name="T97" fmla="*/ 107 h 200"/>
                <a:gd name="T98" fmla="*/ 79 w 83"/>
                <a:gd name="T99" fmla="*/ 115 h 200"/>
                <a:gd name="T100" fmla="*/ 75 w 83"/>
                <a:gd name="T101" fmla="*/ 117 h 200"/>
                <a:gd name="T102" fmla="*/ 74 w 83"/>
                <a:gd name="T103" fmla="*/ 117 h 200"/>
                <a:gd name="T104" fmla="*/ 73 w 83"/>
                <a:gd name="T105" fmla="*/ 116 h 200"/>
                <a:gd name="T106" fmla="*/ 72 w 83"/>
                <a:gd name="T107" fmla="*/ 141 h 200"/>
                <a:gd name="T108" fmla="*/ 31 w 83"/>
                <a:gd name="T109" fmla="*/ 80 h 200"/>
                <a:gd name="T110" fmla="*/ 30 w 83"/>
                <a:gd name="T111" fmla="*/ 96 h 200"/>
                <a:gd name="T112" fmla="*/ 32 w 83"/>
                <a:gd name="T113" fmla="*/ 70 h 200"/>
                <a:gd name="T114" fmla="*/ 31 w 83"/>
                <a:gd name="T115" fmla="*/ 80 h 2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3"/>
                <a:gd name="T175" fmla="*/ 0 h 200"/>
                <a:gd name="T176" fmla="*/ 83 w 83"/>
                <a:gd name="T177" fmla="*/ 200 h 2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3" h="200">
                  <a:moveTo>
                    <a:pt x="72" y="141"/>
                  </a:moveTo>
                  <a:cubicBezTo>
                    <a:pt x="72" y="154"/>
                    <a:pt x="73" y="189"/>
                    <a:pt x="72" y="189"/>
                  </a:cubicBezTo>
                  <a:cubicBezTo>
                    <a:pt x="70" y="189"/>
                    <a:pt x="69" y="189"/>
                    <a:pt x="69" y="191"/>
                  </a:cubicBezTo>
                  <a:cubicBezTo>
                    <a:pt x="69" y="192"/>
                    <a:pt x="71" y="195"/>
                    <a:pt x="71" y="198"/>
                  </a:cubicBezTo>
                  <a:cubicBezTo>
                    <a:pt x="70" y="200"/>
                    <a:pt x="64" y="199"/>
                    <a:pt x="63" y="195"/>
                  </a:cubicBezTo>
                  <a:cubicBezTo>
                    <a:pt x="61" y="192"/>
                    <a:pt x="61" y="190"/>
                    <a:pt x="60" y="190"/>
                  </a:cubicBezTo>
                  <a:cubicBezTo>
                    <a:pt x="59" y="189"/>
                    <a:pt x="59" y="188"/>
                    <a:pt x="59" y="186"/>
                  </a:cubicBezTo>
                  <a:cubicBezTo>
                    <a:pt x="59" y="183"/>
                    <a:pt x="58" y="128"/>
                    <a:pt x="56" y="122"/>
                  </a:cubicBezTo>
                  <a:cubicBezTo>
                    <a:pt x="54" y="115"/>
                    <a:pt x="53" y="108"/>
                    <a:pt x="52" y="108"/>
                  </a:cubicBezTo>
                  <a:cubicBezTo>
                    <a:pt x="51" y="108"/>
                    <a:pt x="50" y="108"/>
                    <a:pt x="47" y="114"/>
                  </a:cubicBezTo>
                  <a:cubicBezTo>
                    <a:pt x="45" y="119"/>
                    <a:pt x="40" y="125"/>
                    <a:pt x="38" y="132"/>
                  </a:cubicBezTo>
                  <a:cubicBezTo>
                    <a:pt x="37" y="140"/>
                    <a:pt x="26" y="190"/>
                    <a:pt x="23" y="190"/>
                  </a:cubicBezTo>
                  <a:cubicBezTo>
                    <a:pt x="21" y="191"/>
                    <a:pt x="19" y="189"/>
                    <a:pt x="19" y="190"/>
                  </a:cubicBezTo>
                  <a:cubicBezTo>
                    <a:pt x="19" y="192"/>
                    <a:pt x="11" y="195"/>
                    <a:pt x="8" y="197"/>
                  </a:cubicBezTo>
                  <a:cubicBezTo>
                    <a:pt x="5" y="198"/>
                    <a:pt x="0" y="198"/>
                    <a:pt x="3" y="194"/>
                  </a:cubicBezTo>
                  <a:cubicBezTo>
                    <a:pt x="6" y="191"/>
                    <a:pt x="10" y="188"/>
                    <a:pt x="9" y="188"/>
                  </a:cubicBezTo>
                  <a:cubicBezTo>
                    <a:pt x="7" y="187"/>
                    <a:pt x="9" y="184"/>
                    <a:pt x="10" y="181"/>
                  </a:cubicBezTo>
                  <a:cubicBezTo>
                    <a:pt x="11" y="178"/>
                    <a:pt x="21" y="146"/>
                    <a:pt x="24" y="135"/>
                  </a:cubicBezTo>
                  <a:cubicBezTo>
                    <a:pt x="26" y="123"/>
                    <a:pt x="28" y="114"/>
                    <a:pt x="27" y="112"/>
                  </a:cubicBezTo>
                  <a:cubicBezTo>
                    <a:pt x="26" y="110"/>
                    <a:pt x="25" y="107"/>
                    <a:pt x="25" y="105"/>
                  </a:cubicBezTo>
                  <a:cubicBezTo>
                    <a:pt x="26" y="104"/>
                    <a:pt x="26" y="101"/>
                    <a:pt x="25" y="98"/>
                  </a:cubicBezTo>
                  <a:cubicBezTo>
                    <a:pt x="25" y="94"/>
                    <a:pt x="22" y="78"/>
                    <a:pt x="23" y="75"/>
                  </a:cubicBezTo>
                  <a:cubicBezTo>
                    <a:pt x="23" y="71"/>
                    <a:pt x="24" y="62"/>
                    <a:pt x="23" y="61"/>
                  </a:cubicBezTo>
                  <a:cubicBezTo>
                    <a:pt x="23" y="60"/>
                    <a:pt x="17" y="53"/>
                    <a:pt x="18" y="52"/>
                  </a:cubicBezTo>
                  <a:cubicBezTo>
                    <a:pt x="20" y="50"/>
                    <a:pt x="22" y="47"/>
                    <a:pt x="23" y="43"/>
                  </a:cubicBezTo>
                  <a:cubicBezTo>
                    <a:pt x="24" y="38"/>
                    <a:pt x="25" y="33"/>
                    <a:pt x="27" y="32"/>
                  </a:cubicBezTo>
                  <a:cubicBezTo>
                    <a:pt x="29" y="31"/>
                    <a:pt x="32" y="29"/>
                    <a:pt x="31" y="29"/>
                  </a:cubicBezTo>
                  <a:cubicBezTo>
                    <a:pt x="30" y="28"/>
                    <a:pt x="30" y="27"/>
                    <a:pt x="31" y="27"/>
                  </a:cubicBezTo>
                  <a:cubicBezTo>
                    <a:pt x="31" y="27"/>
                    <a:pt x="33" y="25"/>
                    <a:pt x="32" y="25"/>
                  </a:cubicBezTo>
                  <a:cubicBezTo>
                    <a:pt x="30" y="26"/>
                    <a:pt x="29" y="25"/>
                    <a:pt x="30" y="25"/>
                  </a:cubicBezTo>
                  <a:cubicBezTo>
                    <a:pt x="31" y="25"/>
                    <a:pt x="32" y="24"/>
                    <a:pt x="31" y="24"/>
                  </a:cubicBezTo>
                  <a:cubicBezTo>
                    <a:pt x="30" y="24"/>
                    <a:pt x="30" y="23"/>
                    <a:pt x="31" y="23"/>
                  </a:cubicBezTo>
                  <a:cubicBezTo>
                    <a:pt x="32" y="23"/>
                    <a:pt x="34" y="21"/>
                    <a:pt x="33" y="21"/>
                  </a:cubicBezTo>
                  <a:cubicBezTo>
                    <a:pt x="32" y="21"/>
                    <a:pt x="30" y="20"/>
                    <a:pt x="32" y="20"/>
                  </a:cubicBezTo>
                  <a:cubicBezTo>
                    <a:pt x="34" y="20"/>
                    <a:pt x="36" y="21"/>
                    <a:pt x="36" y="18"/>
                  </a:cubicBezTo>
                  <a:cubicBezTo>
                    <a:pt x="35" y="15"/>
                    <a:pt x="37" y="6"/>
                    <a:pt x="42" y="4"/>
                  </a:cubicBezTo>
                  <a:cubicBezTo>
                    <a:pt x="47" y="1"/>
                    <a:pt x="53" y="0"/>
                    <a:pt x="57" y="4"/>
                  </a:cubicBezTo>
                  <a:cubicBezTo>
                    <a:pt x="61" y="8"/>
                    <a:pt x="67" y="17"/>
                    <a:pt x="66" y="19"/>
                  </a:cubicBezTo>
                  <a:cubicBezTo>
                    <a:pt x="65" y="22"/>
                    <a:pt x="63" y="27"/>
                    <a:pt x="65" y="29"/>
                  </a:cubicBezTo>
                  <a:cubicBezTo>
                    <a:pt x="67" y="31"/>
                    <a:pt x="73" y="32"/>
                    <a:pt x="69" y="31"/>
                  </a:cubicBezTo>
                  <a:cubicBezTo>
                    <a:pt x="65" y="30"/>
                    <a:pt x="63" y="30"/>
                    <a:pt x="68" y="34"/>
                  </a:cubicBezTo>
                  <a:cubicBezTo>
                    <a:pt x="72" y="38"/>
                    <a:pt x="78" y="42"/>
                    <a:pt x="75" y="42"/>
                  </a:cubicBezTo>
                  <a:cubicBezTo>
                    <a:pt x="73" y="42"/>
                    <a:pt x="72" y="42"/>
                    <a:pt x="74" y="44"/>
                  </a:cubicBezTo>
                  <a:cubicBezTo>
                    <a:pt x="77" y="45"/>
                    <a:pt x="83" y="48"/>
                    <a:pt x="78" y="46"/>
                  </a:cubicBezTo>
                  <a:cubicBezTo>
                    <a:pt x="73" y="44"/>
                    <a:pt x="71" y="44"/>
                    <a:pt x="72" y="48"/>
                  </a:cubicBezTo>
                  <a:cubicBezTo>
                    <a:pt x="73" y="51"/>
                    <a:pt x="72" y="52"/>
                    <a:pt x="72" y="55"/>
                  </a:cubicBezTo>
                  <a:cubicBezTo>
                    <a:pt x="72" y="58"/>
                    <a:pt x="78" y="63"/>
                    <a:pt x="76" y="65"/>
                  </a:cubicBezTo>
                  <a:cubicBezTo>
                    <a:pt x="74" y="67"/>
                    <a:pt x="67" y="70"/>
                    <a:pt x="69" y="73"/>
                  </a:cubicBezTo>
                  <a:cubicBezTo>
                    <a:pt x="70" y="77"/>
                    <a:pt x="76" y="103"/>
                    <a:pt x="78" y="107"/>
                  </a:cubicBezTo>
                  <a:cubicBezTo>
                    <a:pt x="80" y="110"/>
                    <a:pt x="80" y="115"/>
                    <a:pt x="79" y="115"/>
                  </a:cubicBezTo>
                  <a:cubicBezTo>
                    <a:pt x="79" y="116"/>
                    <a:pt x="76" y="118"/>
                    <a:pt x="75" y="117"/>
                  </a:cubicBezTo>
                  <a:cubicBezTo>
                    <a:pt x="75" y="117"/>
                    <a:pt x="74" y="117"/>
                    <a:pt x="74" y="117"/>
                  </a:cubicBezTo>
                  <a:cubicBezTo>
                    <a:pt x="74" y="117"/>
                    <a:pt x="73" y="115"/>
                    <a:pt x="73" y="116"/>
                  </a:cubicBezTo>
                  <a:cubicBezTo>
                    <a:pt x="73" y="117"/>
                    <a:pt x="72" y="141"/>
                    <a:pt x="72" y="141"/>
                  </a:cubicBezTo>
                  <a:close/>
                  <a:moveTo>
                    <a:pt x="31" y="80"/>
                  </a:moveTo>
                  <a:cubicBezTo>
                    <a:pt x="30" y="83"/>
                    <a:pt x="29" y="100"/>
                    <a:pt x="30" y="96"/>
                  </a:cubicBezTo>
                  <a:cubicBezTo>
                    <a:pt x="32" y="92"/>
                    <a:pt x="33" y="68"/>
                    <a:pt x="32" y="70"/>
                  </a:cubicBezTo>
                  <a:cubicBezTo>
                    <a:pt x="31" y="73"/>
                    <a:pt x="31" y="80"/>
                    <a:pt x="31" y="8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5" name="Freeform 34"/>
            <p:cNvSpPr>
              <a:spLocks noChangeAspect="1"/>
            </p:cNvSpPr>
            <p:nvPr/>
          </p:nvSpPr>
          <p:spPr bwMode="gray">
            <a:xfrm>
              <a:off x="12130088" y="3240088"/>
              <a:ext cx="41275" cy="74613"/>
            </a:xfrm>
            <a:custGeom>
              <a:avLst/>
              <a:gdLst>
                <a:gd name="T0" fmla="*/ 4 w 11"/>
                <a:gd name="T1" fmla="*/ 20 h 20"/>
                <a:gd name="T2" fmla="*/ 9 w 11"/>
                <a:gd name="T3" fmla="*/ 0 h 20"/>
                <a:gd name="T4" fmla="*/ 2 w 11"/>
                <a:gd name="T5" fmla="*/ 1 h 20"/>
                <a:gd name="T6" fmla="*/ 4 w 11"/>
                <a:gd name="T7" fmla="*/ 20 h 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20"/>
                <a:gd name="T14" fmla="*/ 11 w 11"/>
                <a:gd name="T15" fmla="*/ 20 h 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20">
                  <a:moveTo>
                    <a:pt x="4" y="20"/>
                  </a:moveTo>
                  <a:cubicBezTo>
                    <a:pt x="4" y="20"/>
                    <a:pt x="11" y="0"/>
                    <a:pt x="9" y="0"/>
                  </a:cubicBezTo>
                  <a:cubicBezTo>
                    <a:pt x="7" y="1"/>
                    <a:pt x="4" y="2"/>
                    <a:pt x="2" y="1"/>
                  </a:cubicBezTo>
                  <a:cubicBezTo>
                    <a:pt x="0" y="0"/>
                    <a:pt x="4" y="20"/>
                    <a:pt x="4" y="20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77" name="Oval 35"/>
            <p:cNvSpPr>
              <a:spLocks noChangeAspect="1" noChangeArrowheads="1"/>
            </p:cNvSpPr>
            <p:nvPr/>
          </p:nvSpPr>
          <p:spPr bwMode="gray">
            <a:xfrm>
              <a:off x="12144375" y="3330575"/>
              <a:ext cx="7938" cy="3175"/>
            </a:xfrm>
            <a:prstGeom prst="ellipse">
              <a:avLst/>
            </a:pr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1800" dirty="0">
                <a:latin typeface="Arial" pitchFamily="34" charset="0"/>
              </a:endParaRPr>
            </a:p>
          </p:txBody>
        </p:sp>
        <p:sp>
          <p:nvSpPr>
            <p:cNvPr id="178" name="Freeform 36"/>
            <p:cNvSpPr>
              <a:spLocks noChangeAspect="1"/>
            </p:cNvSpPr>
            <p:nvPr/>
          </p:nvSpPr>
          <p:spPr bwMode="gray">
            <a:xfrm>
              <a:off x="12072938" y="3375025"/>
              <a:ext cx="153988" cy="68263"/>
            </a:xfrm>
            <a:custGeom>
              <a:avLst/>
              <a:gdLst>
                <a:gd name="T0" fmla="*/ 36 w 41"/>
                <a:gd name="T1" fmla="*/ 1 h 18"/>
                <a:gd name="T2" fmla="*/ 24 w 41"/>
                <a:gd name="T3" fmla="*/ 4 h 18"/>
                <a:gd name="T4" fmla="*/ 23 w 41"/>
                <a:gd name="T5" fmla="*/ 4 h 18"/>
                <a:gd name="T6" fmla="*/ 20 w 41"/>
                <a:gd name="T7" fmla="*/ 3 h 18"/>
                <a:gd name="T8" fmla="*/ 18 w 41"/>
                <a:gd name="T9" fmla="*/ 3 h 18"/>
                <a:gd name="T10" fmla="*/ 15 w 41"/>
                <a:gd name="T11" fmla="*/ 5 h 18"/>
                <a:gd name="T12" fmla="*/ 14 w 41"/>
                <a:gd name="T13" fmla="*/ 5 h 18"/>
                <a:gd name="T14" fmla="*/ 1 w 41"/>
                <a:gd name="T15" fmla="*/ 1 h 18"/>
                <a:gd name="T16" fmla="*/ 0 w 41"/>
                <a:gd name="T17" fmla="*/ 12 h 18"/>
                <a:gd name="T18" fmla="*/ 15 w 41"/>
                <a:gd name="T19" fmla="*/ 16 h 18"/>
                <a:gd name="T20" fmla="*/ 18 w 41"/>
                <a:gd name="T21" fmla="*/ 18 h 18"/>
                <a:gd name="T22" fmla="*/ 20 w 41"/>
                <a:gd name="T23" fmla="*/ 18 h 18"/>
                <a:gd name="T24" fmla="*/ 24 w 41"/>
                <a:gd name="T25" fmla="*/ 15 h 18"/>
                <a:gd name="T26" fmla="*/ 39 w 41"/>
                <a:gd name="T27" fmla="*/ 10 h 18"/>
                <a:gd name="T28" fmla="*/ 36 w 41"/>
                <a:gd name="T29" fmla="*/ 1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1"/>
                <a:gd name="T46" fmla="*/ 0 h 18"/>
                <a:gd name="T47" fmla="*/ 41 w 41"/>
                <a:gd name="T48" fmla="*/ 18 h 1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1" h="18">
                  <a:moveTo>
                    <a:pt x="36" y="1"/>
                  </a:moveTo>
                  <a:cubicBezTo>
                    <a:pt x="35" y="0"/>
                    <a:pt x="28" y="3"/>
                    <a:pt x="24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3"/>
                    <a:pt x="22" y="3"/>
                    <a:pt x="2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5" y="3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ubicBezTo>
                    <a:pt x="8" y="5"/>
                    <a:pt x="2" y="2"/>
                    <a:pt x="1" y="1"/>
                  </a:cubicBezTo>
                  <a:cubicBezTo>
                    <a:pt x="0" y="0"/>
                    <a:pt x="0" y="10"/>
                    <a:pt x="0" y="12"/>
                  </a:cubicBezTo>
                  <a:cubicBezTo>
                    <a:pt x="0" y="13"/>
                    <a:pt x="9" y="15"/>
                    <a:pt x="15" y="16"/>
                  </a:cubicBezTo>
                  <a:cubicBezTo>
                    <a:pt x="15" y="17"/>
                    <a:pt x="17" y="18"/>
                    <a:pt x="18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2" y="18"/>
                    <a:pt x="24" y="17"/>
                    <a:pt x="24" y="15"/>
                  </a:cubicBezTo>
                  <a:cubicBezTo>
                    <a:pt x="31" y="14"/>
                    <a:pt x="38" y="11"/>
                    <a:pt x="39" y="10"/>
                  </a:cubicBezTo>
                  <a:cubicBezTo>
                    <a:pt x="41" y="10"/>
                    <a:pt x="36" y="2"/>
                    <a:pt x="36" y="1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179" name="Freeform 94"/>
          <p:cNvSpPr>
            <a:spLocks noEditPoints="1"/>
          </p:cNvSpPr>
          <p:nvPr>
            <p:custDataLst>
              <p:tags r:id="rId48"/>
            </p:custDataLst>
          </p:nvPr>
        </p:nvSpPr>
        <p:spPr bwMode="gray">
          <a:xfrm>
            <a:off x="7143818" y="1516852"/>
            <a:ext cx="106379" cy="451824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180" name="Gruppieren 32"/>
          <p:cNvGrpSpPr>
            <a:grpSpLocks noChangeAspect="1"/>
          </p:cNvGrpSpPr>
          <p:nvPr>
            <p:custDataLst>
              <p:tags r:id="rId49"/>
            </p:custDataLst>
          </p:nvPr>
        </p:nvGrpSpPr>
        <p:grpSpPr bwMode="gray">
          <a:xfrm>
            <a:off x="6811587" y="1680803"/>
            <a:ext cx="126380" cy="418817"/>
            <a:chOff x="11649075" y="3244850"/>
            <a:chExt cx="252413" cy="828675"/>
          </a:xfrm>
        </p:grpSpPr>
        <p:sp>
          <p:nvSpPr>
            <p:cNvPr id="183" name="Freeform 14"/>
            <p:cNvSpPr>
              <a:spLocks noChangeAspect="1" noEditPoints="1"/>
            </p:cNvSpPr>
            <p:nvPr/>
          </p:nvSpPr>
          <p:spPr bwMode="gray">
            <a:xfrm>
              <a:off x="11649075" y="3244850"/>
              <a:ext cx="252413" cy="828675"/>
            </a:xfrm>
            <a:custGeom>
              <a:avLst/>
              <a:gdLst>
                <a:gd name="T0" fmla="*/ 23 w 67"/>
                <a:gd name="T1" fmla="*/ 26 h 221"/>
                <a:gd name="T2" fmla="*/ 20 w 67"/>
                <a:gd name="T3" fmla="*/ 22 h 221"/>
                <a:gd name="T4" fmla="*/ 20 w 67"/>
                <a:gd name="T5" fmla="*/ 15 h 221"/>
                <a:gd name="T6" fmla="*/ 19 w 67"/>
                <a:gd name="T7" fmla="*/ 9 h 221"/>
                <a:gd name="T8" fmla="*/ 36 w 67"/>
                <a:gd name="T9" fmla="*/ 3 h 221"/>
                <a:gd name="T10" fmla="*/ 41 w 67"/>
                <a:gd name="T11" fmla="*/ 15 h 221"/>
                <a:gd name="T12" fmla="*/ 41 w 67"/>
                <a:gd name="T13" fmla="*/ 21 h 221"/>
                <a:gd name="T14" fmla="*/ 39 w 67"/>
                <a:gd name="T15" fmla="*/ 29 h 221"/>
                <a:gd name="T16" fmla="*/ 47 w 67"/>
                <a:gd name="T17" fmla="*/ 33 h 221"/>
                <a:gd name="T18" fmla="*/ 63 w 67"/>
                <a:gd name="T19" fmla="*/ 43 h 221"/>
                <a:gd name="T20" fmla="*/ 65 w 67"/>
                <a:gd name="T21" fmla="*/ 58 h 221"/>
                <a:gd name="T22" fmla="*/ 67 w 67"/>
                <a:gd name="T23" fmla="*/ 83 h 221"/>
                <a:gd name="T24" fmla="*/ 63 w 67"/>
                <a:gd name="T25" fmla="*/ 100 h 221"/>
                <a:gd name="T26" fmla="*/ 57 w 67"/>
                <a:gd name="T27" fmla="*/ 109 h 221"/>
                <a:gd name="T28" fmla="*/ 54 w 67"/>
                <a:gd name="T29" fmla="*/ 114 h 221"/>
                <a:gd name="T30" fmla="*/ 54 w 67"/>
                <a:gd name="T31" fmla="*/ 133 h 221"/>
                <a:gd name="T32" fmla="*/ 51 w 67"/>
                <a:gd name="T33" fmla="*/ 165 h 221"/>
                <a:gd name="T34" fmla="*/ 49 w 67"/>
                <a:gd name="T35" fmla="*/ 200 h 221"/>
                <a:gd name="T36" fmla="*/ 44 w 67"/>
                <a:gd name="T37" fmla="*/ 210 h 221"/>
                <a:gd name="T38" fmla="*/ 44 w 67"/>
                <a:gd name="T39" fmla="*/ 220 h 221"/>
                <a:gd name="T40" fmla="*/ 35 w 67"/>
                <a:gd name="T41" fmla="*/ 214 h 221"/>
                <a:gd name="T42" fmla="*/ 35 w 67"/>
                <a:gd name="T43" fmla="*/ 207 h 221"/>
                <a:gd name="T44" fmla="*/ 35 w 67"/>
                <a:gd name="T45" fmla="*/ 212 h 221"/>
                <a:gd name="T46" fmla="*/ 22 w 67"/>
                <a:gd name="T47" fmla="*/ 211 h 221"/>
                <a:gd name="T48" fmla="*/ 7 w 67"/>
                <a:gd name="T49" fmla="*/ 211 h 221"/>
                <a:gd name="T50" fmla="*/ 6 w 67"/>
                <a:gd name="T51" fmla="*/ 208 h 221"/>
                <a:gd name="T52" fmla="*/ 15 w 67"/>
                <a:gd name="T53" fmla="*/ 206 h 221"/>
                <a:gd name="T54" fmla="*/ 19 w 67"/>
                <a:gd name="T55" fmla="*/ 198 h 221"/>
                <a:gd name="T56" fmla="*/ 18 w 67"/>
                <a:gd name="T57" fmla="*/ 175 h 221"/>
                <a:gd name="T58" fmla="*/ 14 w 67"/>
                <a:gd name="T59" fmla="*/ 122 h 221"/>
                <a:gd name="T60" fmla="*/ 11 w 67"/>
                <a:gd name="T61" fmla="*/ 117 h 221"/>
                <a:gd name="T62" fmla="*/ 12 w 67"/>
                <a:gd name="T63" fmla="*/ 96 h 221"/>
                <a:gd name="T64" fmla="*/ 10 w 67"/>
                <a:gd name="T65" fmla="*/ 111 h 221"/>
                <a:gd name="T66" fmla="*/ 9 w 67"/>
                <a:gd name="T67" fmla="*/ 119 h 221"/>
                <a:gd name="T68" fmla="*/ 8 w 67"/>
                <a:gd name="T69" fmla="*/ 125 h 221"/>
                <a:gd name="T70" fmla="*/ 3 w 67"/>
                <a:gd name="T71" fmla="*/ 123 h 221"/>
                <a:gd name="T72" fmla="*/ 2 w 67"/>
                <a:gd name="T73" fmla="*/ 114 h 221"/>
                <a:gd name="T74" fmla="*/ 2 w 67"/>
                <a:gd name="T75" fmla="*/ 111 h 221"/>
                <a:gd name="T76" fmla="*/ 2 w 67"/>
                <a:gd name="T77" fmla="*/ 95 h 221"/>
                <a:gd name="T78" fmla="*/ 4 w 67"/>
                <a:gd name="T79" fmla="*/ 80 h 221"/>
                <a:gd name="T80" fmla="*/ 6 w 67"/>
                <a:gd name="T81" fmla="*/ 65 h 221"/>
                <a:gd name="T82" fmla="*/ 20 w 67"/>
                <a:gd name="T83" fmla="*/ 36 h 221"/>
                <a:gd name="T84" fmla="*/ 25 w 67"/>
                <a:gd name="T85" fmla="*/ 30 h 221"/>
                <a:gd name="T86" fmla="*/ 35 w 67"/>
                <a:gd name="T87" fmla="*/ 192 h 221"/>
                <a:gd name="T88" fmla="*/ 37 w 67"/>
                <a:gd name="T89" fmla="*/ 177 h 221"/>
                <a:gd name="T90" fmla="*/ 37 w 67"/>
                <a:gd name="T91" fmla="*/ 162 h 221"/>
                <a:gd name="T92" fmla="*/ 35 w 67"/>
                <a:gd name="T93" fmla="*/ 145 h 221"/>
                <a:gd name="T94" fmla="*/ 35 w 67"/>
                <a:gd name="T95" fmla="*/ 131 h 221"/>
                <a:gd name="T96" fmla="*/ 33 w 67"/>
                <a:gd name="T97" fmla="*/ 136 h 221"/>
                <a:gd name="T98" fmla="*/ 33 w 67"/>
                <a:gd name="T99" fmla="*/ 155 h 221"/>
                <a:gd name="T100" fmla="*/ 34 w 67"/>
                <a:gd name="T101" fmla="*/ 178 h 221"/>
                <a:gd name="T102" fmla="*/ 33 w 67"/>
                <a:gd name="T103" fmla="*/ 192 h 221"/>
                <a:gd name="T104" fmla="*/ 6 w 67"/>
                <a:gd name="T105" fmla="*/ 118 h 221"/>
                <a:gd name="T106" fmla="*/ 5 w 67"/>
                <a:gd name="T107" fmla="*/ 120 h 221"/>
                <a:gd name="T108" fmla="*/ 6 w 67"/>
                <a:gd name="T109" fmla="*/ 120 h 221"/>
                <a:gd name="T110" fmla="*/ 6 w 67"/>
                <a:gd name="T111" fmla="*/ 118 h 22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7"/>
                <a:gd name="T169" fmla="*/ 0 h 221"/>
                <a:gd name="T170" fmla="*/ 67 w 67"/>
                <a:gd name="T171" fmla="*/ 221 h 22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7" h="221">
                  <a:moveTo>
                    <a:pt x="25" y="30"/>
                  </a:moveTo>
                  <a:cubicBezTo>
                    <a:pt x="24" y="29"/>
                    <a:pt x="23" y="28"/>
                    <a:pt x="23" y="26"/>
                  </a:cubicBezTo>
                  <a:cubicBezTo>
                    <a:pt x="22" y="24"/>
                    <a:pt x="22" y="25"/>
                    <a:pt x="22" y="25"/>
                  </a:cubicBezTo>
                  <a:cubicBezTo>
                    <a:pt x="21" y="25"/>
                    <a:pt x="22" y="24"/>
                    <a:pt x="20" y="22"/>
                  </a:cubicBezTo>
                  <a:cubicBezTo>
                    <a:pt x="19" y="20"/>
                    <a:pt x="21" y="20"/>
                    <a:pt x="21" y="20"/>
                  </a:cubicBezTo>
                  <a:cubicBezTo>
                    <a:pt x="20" y="19"/>
                    <a:pt x="20" y="16"/>
                    <a:pt x="20" y="15"/>
                  </a:cubicBezTo>
                  <a:cubicBezTo>
                    <a:pt x="20" y="14"/>
                    <a:pt x="20" y="13"/>
                    <a:pt x="20" y="12"/>
                  </a:cubicBezTo>
                  <a:cubicBezTo>
                    <a:pt x="20" y="11"/>
                    <a:pt x="19" y="10"/>
                    <a:pt x="19" y="9"/>
                  </a:cubicBezTo>
                  <a:cubicBezTo>
                    <a:pt x="19" y="7"/>
                    <a:pt x="21" y="5"/>
                    <a:pt x="26" y="3"/>
                  </a:cubicBezTo>
                  <a:cubicBezTo>
                    <a:pt x="31" y="0"/>
                    <a:pt x="34" y="2"/>
                    <a:pt x="36" y="3"/>
                  </a:cubicBezTo>
                  <a:cubicBezTo>
                    <a:pt x="38" y="4"/>
                    <a:pt x="40" y="7"/>
                    <a:pt x="41" y="10"/>
                  </a:cubicBezTo>
                  <a:cubicBezTo>
                    <a:pt x="42" y="12"/>
                    <a:pt x="42" y="14"/>
                    <a:pt x="41" y="15"/>
                  </a:cubicBezTo>
                  <a:cubicBezTo>
                    <a:pt x="40" y="16"/>
                    <a:pt x="40" y="16"/>
                    <a:pt x="41" y="16"/>
                  </a:cubicBezTo>
                  <a:cubicBezTo>
                    <a:pt x="42" y="16"/>
                    <a:pt x="41" y="19"/>
                    <a:pt x="41" y="21"/>
                  </a:cubicBezTo>
                  <a:cubicBezTo>
                    <a:pt x="41" y="23"/>
                    <a:pt x="39" y="23"/>
                    <a:pt x="39" y="23"/>
                  </a:cubicBezTo>
                  <a:cubicBezTo>
                    <a:pt x="39" y="24"/>
                    <a:pt x="39" y="29"/>
                    <a:pt x="39" y="29"/>
                  </a:cubicBezTo>
                  <a:cubicBezTo>
                    <a:pt x="39" y="29"/>
                    <a:pt x="40" y="29"/>
                    <a:pt x="41" y="30"/>
                  </a:cubicBezTo>
                  <a:cubicBezTo>
                    <a:pt x="42" y="30"/>
                    <a:pt x="44" y="32"/>
                    <a:pt x="47" y="33"/>
                  </a:cubicBezTo>
                  <a:cubicBezTo>
                    <a:pt x="49" y="35"/>
                    <a:pt x="57" y="37"/>
                    <a:pt x="60" y="38"/>
                  </a:cubicBezTo>
                  <a:cubicBezTo>
                    <a:pt x="63" y="39"/>
                    <a:pt x="63" y="41"/>
                    <a:pt x="63" y="43"/>
                  </a:cubicBezTo>
                  <a:cubicBezTo>
                    <a:pt x="63" y="45"/>
                    <a:pt x="64" y="48"/>
                    <a:pt x="64" y="50"/>
                  </a:cubicBezTo>
                  <a:cubicBezTo>
                    <a:pt x="65" y="52"/>
                    <a:pt x="65" y="55"/>
                    <a:pt x="65" y="58"/>
                  </a:cubicBezTo>
                  <a:cubicBezTo>
                    <a:pt x="65" y="60"/>
                    <a:pt x="66" y="68"/>
                    <a:pt x="66" y="71"/>
                  </a:cubicBezTo>
                  <a:cubicBezTo>
                    <a:pt x="67" y="74"/>
                    <a:pt x="67" y="79"/>
                    <a:pt x="67" y="83"/>
                  </a:cubicBezTo>
                  <a:cubicBezTo>
                    <a:pt x="67" y="87"/>
                    <a:pt x="65" y="91"/>
                    <a:pt x="64" y="93"/>
                  </a:cubicBezTo>
                  <a:cubicBezTo>
                    <a:pt x="64" y="94"/>
                    <a:pt x="62" y="97"/>
                    <a:pt x="63" y="100"/>
                  </a:cubicBezTo>
                  <a:cubicBezTo>
                    <a:pt x="63" y="103"/>
                    <a:pt x="61" y="106"/>
                    <a:pt x="59" y="108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6" y="109"/>
                    <a:pt x="55" y="109"/>
                    <a:pt x="55" y="110"/>
                  </a:cubicBezTo>
                  <a:cubicBezTo>
                    <a:pt x="55" y="112"/>
                    <a:pt x="55" y="113"/>
                    <a:pt x="54" y="114"/>
                  </a:cubicBezTo>
                  <a:cubicBezTo>
                    <a:pt x="54" y="115"/>
                    <a:pt x="54" y="122"/>
                    <a:pt x="54" y="125"/>
                  </a:cubicBezTo>
                  <a:cubicBezTo>
                    <a:pt x="54" y="128"/>
                    <a:pt x="54" y="130"/>
                    <a:pt x="54" y="133"/>
                  </a:cubicBezTo>
                  <a:cubicBezTo>
                    <a:pt x="54" y="136"/>
                    <a:pt x="52" y="141"/>
                    <a:pt x="52" y="146"/>
                  </a:cubicBezTo>
                  <a:cubicBezTo>
                    <a:pt x="52" y="152"/>
                    <a:pt x="51" y="156"/>
                    <a:pt x="51" y="165"/>
                  </a:cubicBezTo>
                  <a:cubicBezTo>
                    <a:pt x="52" y="173"/>
                    <a:pt x="51" y="192"/>
                    <a:pt x="51" y="194"/>
                  </a:cubicBezTo>
                  <a:cubicBezTo>
                    <a:pt x="51" y="196"/>
                    <a:pt x="50" y="199"/>
                    <a:pt x="49" y="200"/>
                  </a:cubicBezTo>
                  <a:cubicBezTo>
                    <a:pt x="47" y="202"/>
                    <a:pt x="47" y="204"/>
                    <a:pt x="47" y="206"/>
                  </a:cubicBezTo>
                  <a:cubicBezTo>
                    <a:pt x="47" y="209"/>
                    <a:pt x="45" y="209"/>
                    <a:pt x="44" y="210"/>
                  </a:cubicBezTo>
                  <a:cubicBezTo>
                    <a:pt x="44" y="210"/>
                    <a:pt x="46" y="214"/>
                    <a:pt x="47" y="216"/>
                  </a:cubicBezTo>
                  <a:cubicBezTo>
                    <a:pt x="47" y="218"/>
                    <a:pt x="47" y="220"/>
                    <a:pt x="44" y="220"/>
                  </a:cubicBezTo>
                  <a:cubicBezTo>
                    <a:pt x="41" y="221"/>
                    <a:pt x="37" y="220"/>
                    <a:pt x="35" y="219"/>
                  </a:cubicBezTo>
                  <a:cubicBezTo>
                    <a:pt x="33" y="217"/>
                    <a:pt x="35" y="216"/>
                    <a:pt x="35" y="214"/>
                  </a:cubicBezTo>
                  <a:cubicBezTo>
                    <a:pt x="36" y="213"/>
                    <a:pt x="36" y="213"/>
                    <a:pt x="36" y="211"/>
                  </a:cubicBezTo>
                  <a:cubicBezTo>
                    <a:pt x="36" y="210"/>
                    <a:pt x="35" y="209"/>
                    <a:pt x="35" y="207"/>
                  </a:cubicBezTo>
                  <a:cubicBezTo>
                    <a:pt x="35" y="206"/>
                    <a:pt x="35" y="207"/>
                    <a:pt x="35" y="207"/>
                  </a:cubicBezTo>
                  <a:cubicBezTo>
                    <a:pt x="34" y="207"/>
                    <a:pt x="35" y="209"/>
                    <a:pt x="35" y="212"/>
                  </a:cubicBezTo>
                  <a:cubicBezTo>
                    <a:pt x="35" y="214"/>
                    <a:pt x="29" y="213"/>
                    <a:pt x="29" y="213"/>
                  </a:cubicBezTo>
                  <a:cubicBezTo>
                    <a:pt x="27" y="213"/>
                    <a:pt x="26" y="211"/>
                    <a:pt x="22" y="211"/>
                  </a:cubicBezTo>
                  <a:cubicBezTo>
                    <a:pt x="21" y="211"/>
                    <a:pt x="19" y="213"/>
                    <a:pt x="16" y="213"/>
                  </a:cubicBezTo>
                  <a:cubicBezTo>
                    <a:pt x="14" y="213"/>
                    <a:pt x="8" y="212"/>
                    <a:pt x="7" y="211"/>
                  </a:cubicBezTo>
                  <a:cubicBezTo>
                    <a:pt x="5" y="211"/>
                    <a:pt x="5" y="210"/>
                    <a:pt x="5" y="210"/>
                  </a:cubicBezTo>
                  <a:cubicBezTo>
                    <a:pt x="6" y="210"/>
                    <a:pt x="6" y="210"/>
                    <a:pt x="6" y="208"/>
                  </a:cubicBezTo>
                  <a:cubicBezTo>
                    <a:pt x="6" y="206"/>
                    <a:pt x="9" y="207"/>
                    <a:pt x="11" y="207"/>
                  </a:cubicBezTo>
                  <a:cubicBezTo>
                    <a:pt x="13" y="207"/>
                    <a:pt x="14" y="206"/>
                    <a:pt x="15" y="206"/>
                  </a:cubicBezTo>
                  <a:cubicBezTo>
                    <a:pt x="15" y="205"/>
                    <a:pt x="19" y="202"/>
                    <a:pt x="20" y="201"/>
                  </a:cubicBezTo>
                  <a:cubicBezTo>
                    <a:pt x="21" y="200"/>
                    <a:pt x="20" y="199"/>
                    <a:pt x="19" y="198"/>
                  </a:cubicBezTo>
                  <a:cubicBezTo>
                    <a:pt x="18" y="198"/>
                    <a:pt x="19" y="193"/>
                    <a:pt x="19" y="191"/>
                  </a:cubicBezTo>
                  <a:cubicBezTo>
                    <a:pt x="19" y="188"/>
                    <a:pt x="19" y="184"/>
                    <a:pt x="18" y="175"/>
                  </a:cubicBezTo>
                  <a:cubicBezTo>
                    <a:pt x="18" y="167"/>
                    <a:pt x="17" y="154"/>
                    <a:pt x="16" y="145"/>
                  </a:cubicBezTo>
                  <a:cubicBezTo>
                    <a:pt x="15" y="136"/>
                    <a:pt x="14" y="123"/>
                    <a:pt x="14" y="122"/>
                  </a:cubicBezTo>
                  <a:cubicBezTo>
                    <a:pt x="14" y="121"/>
                    <a:pt x="12" y="122"/>
                    <a:pt x="11" y="122"/>
                  </a:cubicBezTo>
                  <a:cubicBezTo>
                    <a:pt x="10" y="122"/>
                    <a:pt x="11" y="120"/>
                    <a:pt x="11" y="117"/>
                  </a:cubicBezTo>
                  <a:cubicBezTo>
                    <a:pt x="11" y="114"/>
                    <a:pt x="12" y="103"/>
                    <a:pt x="13" y="99"/>
                  </a:cubicBezTo>
                  <a:cubicBezTo>
                    <a:pt x="13" y="94"/>
                    <a:pt x="12" y="95"/>
                    <a:pt x="12" y="96"/>
                  </a:cubicBezTo>
                  <a:cubicBezTo>
                    <a:pt x="12" y="98"/>
                    <a:pt x="11" y="104"/>
                    <a:pt x="10" y="105"/>
                  </a:cubicBezTo>
                  <a:cubicBezTo>
                    <a:pt x="10" y="106"/>
                    <a:pt x="10" y="111"/>
                    <a:pt x="10" y="111"/>
                  </a:cubicBezTo>
                  <a:cubicBezTo>
                    <a:pt x="9" y="111"/>
                    <a:pt x="9" y="112"/>
                    <a:pt x="9" y="114"/>
                  </a:cubicBezTo>
                  <a:cubicBezTo>
                    <a:pt x="10" y="116"/>
                    <a:pt x="9" y="116"/>
                    <a:pt x="9" y="119"/>
                  </a:cubicBezTo>
                  <a:cubicBezTo>
                    <a:pt x="9" y="121"/>
                    <a:pt x="9" y="123"/>
                    <a:pt x="9" y="124"/>
                  </a:cubicBezTo>
                  <a:cubicBezTo>
                    <a:pt x="9" y="125"/>
                    <a:pt x="8" y="124"/>
                    <a:pt x="8" y="125"/>
                  </a:cubicBezTo>
                  <a:cubicBezTo>
                    <a:pt x="8" y="125"/>
                    <a:pt x="6" y="125"/>
                    <a:pt x="5" y="125"/>
                  </a:cubicBezTo>
                  <a:cubicBezTo>
                    <a:pt x="4" y="125"/>
                    <a:pt x="3" y="124"/>
                    <a:pt x="3" y="123"/>
                  </a:cubicBezTo>
                  <a:cubicBezTo>
                    <a:pt x="2" y="121"/>
                    <a:pt x="2" y="120"/>
                    <a:pt x="1" y="119"/>
                  </a:cubicBezTo>
                  <a:cubicBezTo>
                    <a:pt x="0" y="118"/>
                    <a:pt x="2" y="115"/>
                    <a:pt x="2" y="114"/>
                  </a:cubicBezTo>
                  <a:cubicBezTo>
                    <a:pt x="3" y="113"/>
                    <a:pt x="3" y="111"/>
                    <a:pt x="2" y="112"/>
                  </a:cubicBezTo>
                  <a:cubicBezTo>
                    <a:pt x="2" y="113"/>
                    <a:pt x="2" y="112"/>
                    <a:pt x="2" y="111"/>
                  </a:cubicBezTo>
                  <a:cubicBezTo>
                    <a:pt x="2" y="110"/>
                    <a:pt x="2" y="106"/>
                    <a:pt x="2" y="105"/>
                  </a:cubicBezTo>
                  <a:cubicBezTo>
                    <a:pt x="2" y="103"/>
                    <a:pt x="2" y="97"/>
                    <a:pt x="2" y="95"/>
                  </a:cubicBezTo>
                  <a:cubicBezTo>
                    <a:pt x="2" y="94"/>
                    <a:pt x="3" y="92"/>
                    <a:pt x="3" y="89"/>
                  </a:cubicBezTo>
                  <a:cubicBezTo>
                    <a:pt x="4" y="87"/>
                    <a:pt x="4" y="82"/>
                    <a:pt x="4" y="80"/>
                  </a:cubicBezTo>
                  <a:cubicBezTo>
                    <a:pt x="4" y="77"/>
                    <a:pt x="4" y="78"/>
                    <a:pt x="5" y="76"/>
                  </a:cubicBezTo>
                  <a:cubicBezTo>
                    <a:pt x="6" y="75"/>
                    <a:pt x="6" y="70"/>
                    <a:pt x="6" y="65"/>
                  </a:cubicBezTo>
                  <a:cubicBezTo>
                    <a:pt x="7" y="61"/>
                    <a:pt x="7" y="50"/>
                    <a:pt x="9" y="44"/>
                  </a:cubicBezTo>
                  <a:cubicBezTo>
                    <a:pt x="10" y="39"/>
                    <a:pt x="17" y="38"/>
                    <a:pt x="20" y="36"/>
                  </a:cubicBezTo>
                  <a:cubicBezTo>
                    <a:pt x="24" y="35"/>
                    <a:pt x="25" y="33"/>
                    <a:pt x="25" y="33"/>
                  </a:cubicBezTo>
                  <a:cubicBezTo>
                    <a:pt x="26" y="31"/>
                    <a:pt x="26" y="31"/>
                    <a:pt x="25" y="30"/>
                  </a:cubicBezTo>
                  <a:close/>
                  <a:moveTo>
                    <a:pt x="34" y="196"/>
                  </a:moveTo>
                  <a:cubicBezTo>
                    <a:pt x="34" y="196"/>
                    <a:pt x="35" y="195"/>
                    <a:pt x="35" y="192"/>
                  </a:cubicBezTo>
                  <a:cubicBezTo>
                    <a:pt x="36" y="189"/>
                    <a:pt x="35" y="188"/>
                    <a:pt x="36" y="185"/>
                  </a:cubicBezTo>
                  <a:cubicBezTo>
                    <a:pt x="37" y="182"/>
                    <a:pt x="37" y="180"/>
                    <a:pt x="37" y="177"/>
                  </a:cubicBezTo>
                  <a:cubicBezTo>
                    <a:pt x="37" y="175"/>
                    <a:pt x="37" y="169"/>
                    <a:pt x="37" y="167"/>
                  </a:cubicBezTo>
                  <a:cubicBezTo>
                    <a:pt x="38" y="166"/>
                    <a:pt x="38" y="165"/>
                    <a:pt x="37" y="162"/>
                  </a:cubicBezTo>
                  <a:cubicBezTo>
                    <a:pt x="37" y="160"/>
                    <a:pt x="36" y="157"/>
                    <a:pt x="36" y="155"/>
                  </a:cubicBezTo>
                  <a:cubicBezTo>
                    <a:pt x="36" y="154"/>
                    <a:pt x="35" y="147"/>
                    <a:pt x="35" y="145"/>
                  </a:cubicBezTo>
                  <a:cubicBezTo>
                    <a:pt x="35" y="143"/>
                    <a:pt x="35" y="138"/>
                    <a:pt x="35" y="136"/>
                  </a:cubicBezTo>
                  <a:cubicBezTo>
                    <a:pt x="35" y="135"/>
                    <a:pt x="35" y="133"/>
                    <a:pt x="35" y="131"/>
                  </a:cubicBezTo>
                  <a:cubicBezTo>
                    <a:pt x="35" y="129"/>
                    <a:pt x="34" y="127"/>
                    <a:pt x="34" y="127"/>
                  </a:cubicBezTo>
                  <a:cubicBezTo>
                    <a:pt x="34" y="127"/>
                    <a:pt x="34" y="135"/>
                    <a:pt x="33" y="136"/>
                  </a:cubicBezTo>
                  <a:cubicBezTo>
                    <a:pt x="33" y="138"/>
                    <a:pt x="33" y="144"/>
                    <a:pt x="33" y="146"/>
                  </a:cubicBezTo>
                  <a:cubicBezTo>
                    <a:pt x="33" y="148"/>
                    <a:pt x="33" y="153"/>
                    <a:pt x="33" y="155"/>
                  </a:cubicBezTo>
                  <a:cubicBezTo>
                    <a:pt x="33" y="157"/>
                    <a:pt x="34" y="160"/>
                    <a:pt x="34" y="162"/>
                  </a:cubicBezTo>
                  <a:cubicBezTo>
                    <a:pt x="33" y="165"/>
                    <a:pt x="34" y="175"/>
                    <a:pt x="34" y="178"/>
                  </a:cubicBezTo>
                  <a:cubicBezTo>
                    <a:pt x="34" y="180"/>
                    <a:pt x="34" y="183"/>
                    <a:pt x="34" y="185"/>
                  </a:cubicBezTo>
                  <a:cubicBezTo>
                    <a:pt x="33" y="187"/>
                    <a:pt x="33" y="190"/>
                    <a:pt x="33" y="192"/>
                  </a:cubicBezTo>
                  <a:cubicBezTo>
                    <a:pt x="33" y="193"/>
                    <a:pt x="33" y="195"/>
                    <a:pt x="34" y="196"/>
                  </a:cubicBezTo>
                  <a:close/>
                  <a:moveTo>
                    <a:pt x="6" y="118"/>
                  </a:moveTo>
                  <a:cubicBezTo>
                    <a:pt x="6" y="118"/>
                    <a:pt x="6" y="118"/>
                    <a:pt x="5" y="118"/>
                  </a:cubicBezTo>
                  <a:cubicBezTo>
                    <a:pt x="5" y="118"/>
                    <a:pt x="5" y="118"/>
                    <a:pt x="5" y="120"/>
                  </a:cubicBezTo>
                  <a:cubicBezTo>
                    <a:pt x="5" y="121"/>
                    <a:pt x="5" y="122"/>
                    <a:pt x="6" y="122"/>
                  </a:cubicBezTo>
                  <a:cubicBezTo>
                    <a:pt x="6" y="123"/>
                    <a:pt x="6" y="122"/>
                    <a:pt x="6" y="120"/>
                  </a:cubicBezTo>
                  <a:cubicBezTo>
                    <a:pt x="6" y="118"/>
                    <a:pt x="7" y="118"/>
                    <a:pt x="6" y="117"/>
                  </a:cubicBezTo>
                  <a:cubicBezTo>
                    <a:pt x="6" y="117"/>
                    <a:pt x="6" y="117"/>
                    <a:pt x="6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4" name="Freeform 15"/>
            <p:cNvSpPr>
              <a:spLocks noChangeAspect="1"/>
            </p:cNvSpPr>
            <p:nvPr/>
          </p:nvSpPr>
          <p:spPr bwMode="gray">
            <a:xfrm>
              <a:off x="11739563" y="3352800"/>
              <a:ext cx="55563" cy="150813"/>
            </a:xfrm>
            <a:custGeom>
              <a:avLst/>
              <a:gdLst>
                <a:gd name="T0" fmla="*/ 8 w 15"/>
                <a:gd name="T1" fmla="*/ 40 h 40"/>
                <a:gd name="T2" fmla="*/ 15 w 15"/>
                <a:gd name="T3" fmla="*/ 0 h 40"/>
                <a:gd name="T4" fmla="*/ 1 w 15"/>
                <a:gd name="T5" fmla="*/ 4 h 40"/>
                <a:gd name="T6" fmla="*/ 8 w 15"/>
                <a:gd name="T7" fmla="*/ 40 h 4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"/>
                <a:gd name="T13" fmla="*/ 0 h 40"/>
                <a:gd name="T14" fmla="*/ 15 w 15"/>
                <a:gd name="T15" fmla="*/ 40 h 4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" h="40">
                  <a:moveTo>
                    <a:pt x="8" y="40"/>
                  </a:moveTo>
                  <a:cubicBezTo>
                    <a:pt x="8" y="40"/>
                    <a:pt x="15" y="1"/>
                    <a:pt x="15" y="0"/>
                  </a:cubicBezTo>
                  <a:cubicBezTo>
                    <a:pt x="12" y="7"/>
                    <a:pt x="7" y="9"/>
                    <a:pt x="1" y="4"/>
                  </a:cubicBezTo>
                  <a:cubicBezTo>
                    <a:pt x="0" y="2"/>
                    <a:pt x="8" y="40"/>
                    <a:pt x="8" y="40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8" name="Freeform 16"/>
            <p:cNvSpPr>
              <a:spLocks noChangeAspect="1"/>
            </p:cNvSpPr>
            <p:nvPr/>
          </p:nvSpPr>
          <p:spPr bwMode="gray">
            <a:xfrm>
              <a:off x="11758613" y="3379788"/>
              <a:ext cx="19050" cy="123825"/>
            </a:xfrm>
            <a:custGeom>
              <a:avLst/>
              <a:gdLst>
                <a:gd name="T0" fmla="*/ 4 w 5"/>
                <a:gd name="T1" fmla="*/ 3 h 33"/>
                <a:gd name="T2" fmla="*/ 4 w 5"/>
                <a:gd name="T3" fmla="*/ 2 h 33"/>
                <a:gd name="T4" fmla="*/ 3 w 5"/>
                <a:gd name="T5" fmla="*/ 0 h 33"/>
                <a:gd name="T6" fmla="*/ 1 w 5"/>
                <a:gd name="T7" fmla="*/ 1 h 33"/>
                <a:gd name="T8" fmla="*/ 2 w 5"/>
                <a:gd name="T9" fmla="*/ 3 h 33"/>
                <a:gd name="T10" fmla="*/ 0 w 5"/>
                <a:gd name="T11" fmla="*/ 17 h 33"/>
                <a:gd name="T12" fmla="*/ 3 w 5"/>
                <a:gd name="T13" fmla="*/ 33 h 33"/>
                <a:gd name="T14" fmla="*/ 5 w 5"/>
                <a:gd name="T15" fmla="*/ 17 h 33"/>
                <a:gd name="T16" fmla="*/ 4 w 5"/>
                <a:gd name="T17" fmla="*/ 3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3"/>
                <a:gd name="T29" fmla="*/ 5 w 5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3">
                  <a:moveTo>
                    <a:pt x="4" y="3"/>
                  </a:move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1" y="5"/>
                    <a:pt x="0" y="10"/>
                    <a:pt x="0" y="17"/>
                  </a:cubicBezTo>
                  <a:cubicBezTo>
                    <a:pt x="1" y="26"/>
                    <a:pt x="2" y="33"/>
                    <a:pt x="3" y="33"/>
                  </a:cubicBezTo>
                  <a:cubicBezTo>
                    <a:pt x="3" y="33"/>
                    <a:pt x="4" y="25"/>
                    <a:pt x="5" y="17"/>
                  </a:cubicBezTo>
                  <a:cubicBezTo>
                    <a:pt x="5" y="10"/>
                    <a:pt x="5" y="5"/>
                    <a:pt x="4" y="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89" name="Freeform 17"/>
            <p:cNvSpPr>
              <a:spLocks noChangeAspect="1"/>
            </p:cNvSpPr>
            <p:nvPr/>
          </p:nvSpPr>
          <p:spPr bwMode="gray">
            <a:xfrm>
              <a:off x="11758613" y="3379788"/>
              <a:ext cx="11113" cy="14288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0 h 4"/>
                <a:gd name="T4" fmla="*/ 3 w 3"/>
                <a:gd name="T5" fmla="*/ 0 h 4"/>
                <a:gd name="T6" fmla="*/ 3 w 3"/>
                <a:gd name="T7" fmla="*/ 0 h 4"/>
                <a:gd name="T8" fmla="*/ 0 w 3"/>
                <a:gd name="T9" fmla="*/ 4 h 4"/>
                <a:gd name="T10" fmla="*/ 0 w 3"/>
                <a:gd name="T11" fmla="*/ 4 h 4"/>
                <a:gd name="T12" fmla="*/ 0 w 3"/>
                <a:gd name="T13" fmla="*/ 4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4"/>
                <a:gd name="T23" fmla="*/ 3 w 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4">
                  <a:moveTo>
                    <a:pt x="0" y="4"/>
                  </a:moveTo>
                  <a:cubicBezTo>
                    <a:pt x="0" y="2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0" name="Freeform 18"/>
            <p:cNvSpPr>
              <a:spLocks noChangeAspect="1"/>
            </p:cNvSpPr>
            <p:nvPr/>
          </p:nvSpPr>
          <p:spPr bwMode="gray">
            <a:xfrm>
              <a:off x="11769725" y="3379788"/>
              <a:ext cx="11113" cy="14288"/>
            </a:xfrm>
            <a:custGeom>
              <a:avLst/>
              <a:gdLst>
                <a:gd name="T0" fmla="*/ 3 w 3"/>
                <a:gd name="T1" fmla="*/ 4 h 4"/>
                <a:gd name="T2" fmla="*/ 0 w 3"/>
                <a:gd name="T3" fmla="*/ 0 h 4"/>
                <a:gd name="T4" fmla="*/ 0 w 3"/>
                <a:gd name="T5" fmla="*/ 0 h 4"/>
                <a:gd name="T6" fmla="*/ 0 w 3"/>
                <a:gd name="T7" fmla="*/ 0 h 4"/>
                <a:gd name="T8" fmla="*/ 3 w 3"/>
                <a:gd name="T9" fmla="*/ 4 h 4"/>
                <a:gd name="T10" fmla="*/ 3 w 3"/>
                <a:gd name="T11" fmla="*/ 4 h 4"/>
                <a:gd name="T12" fmla="*/ 3 w 3"/>
                <a:gd name="T13" fmla="*/ 4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4"/>
                <a:gd name="T23" fmla="*/ 3 w 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4">
                  <a:moveTo>
                    <a:pt x="3" y="4"/>
                  </a:moveTo>
                  <a:cubicBezTo>
                    <a:pt x="3" y="2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2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191" name="Freeform 19"/>
            <p:cNvSpPr>
              <a:spLocks noChangeAspect="1"/>
            </p:cNvSpPr>
            <p:nvPr/>
          </p:nvSpPr>
          <p:spPr bwMode="gray">
            <a:xfrm>
              <a:off x="11747500" y="3379788"/>
              <a:ext cx="11113" cy="14288"/>
            </a:xfrm>
            <a:custGeom>
              <a:avLst/>
              <a:gdLst>
                <a:gd name="T0" fmla="*/ 0 w 7"/>
                <a:gd name="T1" fmla="*/ 2 h 9"/>
                <a:gd name="T2" fmla="*/ 0 w 7"/>
                <a:gd name="T3" fmla="*/ 0 h 9"/>
                <a:gd name="T4" fmla="*/ 7 w 7"/>
                <a:gd name="T5" fmla="*/ 9 h 9"/>
                <a:gd name="T6" fmla="*/ 7 w 7"/>
                <a:gd name="T7" fmla="*/ 9 h 9"/>
                <a:gd name="T8" fmla="*/ 0 w 7"/>
                <a:gd name="T9" fmla="*/ 2 h 9"/>
                <a:gd name="T10" fmla="*/ 0 w 7"/>
                <a:gd name="T11" fmla="*/ 2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0" y="2"/>
                  </a:moveTo>
                  <a:lnTo>
                    <a:pt x="0" y="0"/>
                  </a:lnTo>
                  <a:lnTo>
                    <a:pt x="7" y="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1" name="Freeform 20"/>
            <p:cNvSpPr>
              <a:spLocks noChangeAspect="1"/>
            </p:cNvSpPr>
            <p:nvPr/>
          </p:nvSpPr>
          <p:spPr bwMode="gray">
            <a:xfrm>
              <a:off x="11780838" y="3375025"/>
              <a:ext cx="11113" cy="19050"/>
            </a:xfrm>
            <a:custGeom>
              <a:avLst/>
              <a:gdLst>
                <a:gd name="T0" fmla="*/ 0 w 7"/>
                <a:gd name="T1" fmla="*/ 12 h 12"/>
                <a:gd name="T2" fmla="*/ 7 w 7"/>
                <a:gd name="T3" fmla="*/ 0 h 12"/>
                <a:gd name="T4" fmla="*/ 7 w 7"/>
                <a:gd name="T5" fmla="*/ 3 h 12"/>
                <a:gd name="T6" fmla="*/ 0 w 7"/>
                <a:gd name="T7" fmla="*/ 12 h 12"/>
                <a:gd name="T8" fmla="*/ 0 w 7"/>
                <a:gd name="T9" fmla="*/ 12 h 12"/>
                <a:gd name="T10" fmla="*/ 0 w 7"/>
                <a:gd name="T11" fmla="*/ 12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2"/>
                <a:gd name="T20" fmla="*/ 7 w 7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2">
                  <a:moveTo>
                    <a:pt x="0" y="12"/>
                  </a:moveTo>
                  <a:lnTo>
                    <a:pt x="7" y="0"/>
                  </a:lnTo>
                  <a:lnTo>
                    <a:pt x="7" y="3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52" name="Freeform 77"/>
          <p:cNvSpPr>
            <a:spLocks noEditPoints="1"/>
          </p:cNvSpPr>
          <p:nvPr>
            <p:custDataLst>
              <p:tags r:id="rId50"/>
            </p:custDataLst>
          </p:nvPr>
        </p:nvSpPr>
        <p:spPr bwMode="gray">
          <a:xfrm flipH="1">
            <a:off x="6575316" y="1712970"/>
            <a:ext cx="107346" cy="454942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253" name="Gruppieren 60"/>
          <p:cNvGrpSpPr>
            <a:grpSpLocks noChangeAspect="1"/>
          </p:cNvGrpSpPr>
          <p:nvPr>
            <p:custDataLst>
              <p:tags r:id="rId51"/>
            </p:custDataLst>
          </p:nvPr>
        </p:nvGrpSpPr>
        <p:grpSpPr bwMode="gray">
          <a:xfrm flipH="1">
            <a:off x="6980737" y="1745409"/>
            <a:ext cx="201326" cy="549605"/>
            <a:chOff x="9969500" y="2562225"/>
            <a:chExt cx="277813" cy="625475"/>
          </a:xfrm>
        </p:grpSpPr>
        <p:sp>
          <p:nvSpPr>
            <p:cNvPr id="254" name="Freeform 37"/>
            <p:cNvSpPr>
              <a:spLocks noChangeAspect="1" noEditPoints="1"/>
            </p:cNvSpPr>
            <p:nvPr/>
          </p:nvSpPr>
          <p:spPr bwMode="gray">
            <a:xfrm>
              <a:off x="9969500" y="2562225"/>
              <a:ext cx="277813" cy="625475"/>
            </a:xfrm>
            <a:custGeom>
              <a:avLst/>
              <a:gdLst>
                <a:gd name="T0" fmla="*/ 23 w 74"/>
                <a:gd name="T1" fmla="*/ 88 h 167"/>
                <a:gd name="T2" fmla="*/ 21 w 74"/>
                <a:gd name="T3" fmla="*/ 84 h 167"/>
                <a:gd name="T4" fmla="*/ 12 w 74"/>
                <a:gd name="T5" fmla="*/ 85 h 167"/>
                <a:gd name="T6" fmla="*/ 14 w 74"/>
                <a:gd name="T7" fmla="*/ 71 h 167"/>
                <a:gd name="T8" fmla="*/ 4 w 74"/>
                <a:gd name="T9" fmla="*/ 45 h 167"/>
                <a:gd name="T10" fmla="*/ 12 w 74"/>
                <a:gd name="T11" fmla="*/ 35 h 167"/>
                <a:gd name="T12" fmla="*/ 16 w 74"/>
                <a:gd name="T13" fmla="*/ 27 h 167"/>
                <a:gd name="T14" fmla="*/ 32 w 74"/>
                <a:gd name="T15" fmla="*/ 23 h 167"/>
                <a:gd name="T16" fmla="*/ 30 w 74"/>
                <a:gd name="T17" fmla="*/ 14 h 167"/>
                <a:gd name="T18" fmla="*/ 39 w 74"/>
                <a:gd name="T19" fmla="*/ 1 h 167"/>
                <a:gd name="T20" fmla="*/ 48 w 74"/>
                <a:gd name="T21" fmla="*/ 13 h 167"/>
                <a:gd name="T22" fmla="*/ 46 w 74"/>
                <a:gd name="T23" fmla="*/ 19 h 167"/>
                <a:gd name="T24" fmla="*/ 45 w 74"/>
                <a:gd name="T25" fmla="*/ 25 h 167"/>
                <a:gd name="T26" fmla="*/ 60 w 74"/>
                <a:gd name="T27" fmla="*/ 31 h 167"/>
                <a:gd name="T28" fmla="*/ 67 w 74"/>
                <a:gd name="T29" fmla="*/ 38 h 167"/>
                <a:gd name="T30" fmla="*/ 72 w 74"/>
                <a:gd name="T31" fmla="*/ 50 h 167"/>
                <a:gd name="T32" fmla="*/ 60 w 74"/>
                <a:gd name="T33" fmla="*/ 67 h 167"/>
                <a:gd name="T34" fmla="*/ 55 w 74"/>
                <a:gd name="T35" fmla="*/ 88 h 167"/>
                <a:gd name="T36" fmla="*/ 53 w 74"/>
                <a:gd name="T37" fmla="*/ 122 h 167"/>
                <a:gd name="T38" fmla="*/ 50 w 74"/>
                <a:gd name="T39" fmla="*/ 138 h 167"/>
                <a:gd name="T40" fmla="*/ 48 w 74"/>
                <a:gd name="T41" fmla="*/ 144 h 167"/>
                <a:gd name="T42" fmla="*/ 56 w 74"/>
                <a:gd name="T43" fmla="*/ 155 h 167"/>
                <a:gd name="T44" fmla="*/ 44 w 74"/>
                <a:gd name="T45" fmla="*/ 151 h 167"/>
                <a:gd name="T46" fmla="*/ 39 w 74"/>
                <a:gd name="T47" fmla="*/ 148 h 167"/>
                <a:gd name="T48" fmla="*/ 39 w 74"/>
                <a:gd name="T49" fmla="*/ 139 h 167"/>
                <a:gd name="T50" fmla="*/ 40 w 74"/>
                <a:gd name="T51" fmla="*/ 125 h 167"/>
                <a:gd name="T52" fmla="*/ 40 w 74"/>
                <a:gd name="T53" fmla="*/ 120 h 167"/>
                <a:gd name="T54" fmla="*/ 40 w 74"/>
                <a:gd name="T55" fmla="*/ 116 h 167"/>
                <a:gd name="T56" fmla="*/ 40 w 74"/>
                <a:gd name="T57" fmla="*/ 105 h 167"/>
                <a:gd name="T58" fmla="*/ 39 w 74"/>
                <a:gd name="T59" fmla="*/ 97 h 167"/>
                <a:gd name="T60" fmla="*/ 36 w 74"/>
                <a:gd name="T61" fmla="*/ 104 h 167"/>
                <a:gd name="T62" fmla="*/ 33 w 74"/>
                <a:gd name="T63" fmla="*/ 117 h 167"/>
                <a:gd name="T64" fmla="*/ 27 w 74"/>
                <a:gd name="T65" fmla="*/ 146 h 167"/>
                <a:gd name="T66" fmla="*/ 26 w 74"/>
                <a:gd name="T67" fmla="*/ 152 h 167"/>
                <a:gd name="T68" fmla="*/ 22 w 74"/>
                <a:gd name="T69" fmla="*/ 167 h 167"/>
                <a:gd name="T70" fmla="*/ 17 w 74"/>
                <a:gd name="T71" fmla="*/ 154 h 167"/>
                <a:gd name="T72" fmla="*/ 18 w 74"/>
                <a:gd name="T73" fmla="*/ 141 h 167"/>
                <a:gd name="T74" fmla="*/ 20 w 74"/>
                <a:gd name="T75" fmla="*/ 122 h 167"/>
                <a:gd name="T76" fmla="*/ 23 w 74"/>
                <a:gd name="T77" fmla="*/ 113 h 167"/>
                <a:gd name="T78" fmla="*/ 23 w 74"/>
                <a:gd name="T79" fmla="*/ 106 h 167"/>
                <a:gd name="T80" fmla="*/ 18 w 74"/>
                <a:gd name="T81" fmla="*/ 42 h 167"/>
                <a:gd name="T82" fmla="*/ 13 w 74"/>
                <a:gd name="T83" fmla="*/ 53 h 167"/>
                <a:gd name="T84" fmla="*/ 16 w 74"/>
                <a:gd name="T85" fmla="*/ 59 h 167"/>
                <a:gd name="T86" fmla="*/ 18 w 74"/>
                <a:gd name="T87" fmla="*/ 42 h 167"/>
                <a:gd name="T88" fmla="*/ 59 w 74"/>
                <a:gd name="T89" fmla="*/ 53 h 167"/>
                <a:gd name="T90" fmla="*/ 63 w 74"/>
                <a:gd name="T91" fmla="*/ 48 h 167"/>
                <a:gd name="T92" fmla="*/ 59 w 74"/>
                <a:gd name="T93" fmla="*/ 45 h 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"/>
                <a:gd name="T142" fmla="*/ 0 h 167"/>
                <a:gd name="T143" fmla="*/ 74 w 74"/>
                <a:gd name="T144" fmla="*/ 167 h 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" h="167">
                  <a:moveTo>
                    <a:pt x="23" y="96"/>
                  </a:moveTo>
                  <a:cubicBezTo>
                    <a:pt x="23" y="95"/>
                    <a:pt x="23" y="94"/>
                    <a:pt x="23" y="93"/>
                  </a:cubicBezTo>
                  <a:cubicBezTo>
                    <a:pt x="23" y="92"/>
                    <a:pt x="23" y="89"/>
                    <a:pt x="23" y="88"/>
                  </a:cubicBezTo>
                  <a:cubicBezTo>
                    <a:pt x="24" y="88"/>
                    <a:pt x="23" y="88"/>
                    <a:pt x="23" y="88"/>
                  </a:cubicBezTo>
                  <a:cubicBezTo>
                    <a:pt x="23" y="87"/>
                    <a:pt x="23" y="86"/>
                    <a:pt x="23" y="85"/>
                  </a:cubicBezTo>
                  <a:cubicBezTo>
                    <a:pt x="23" y="85"/>
                    <a:pt x="22" y="84"/>
                    <a:pt x="21" y="84"/>
                  </a:cubicBezTo>
                  <a:cubicBezTo>
                    <a:pt x="21" y="84"/>
                    <a:pt x="21" y="86"/>
                    <a:pt x="19" y="87"/>
                  </a:cubicBezTo>
                  <a:cubicBezTo>
                    <a:pt x="17" y="88"/>
                    <a:pt x="15" y="86"/>
                    <a:pt x="13" y="86"/>
                  </a:cubicBezTo>
                  <a:cubicBezTo>
                    <a:pt x="12" y="85"/>
                    <a:pt x="13" y="85"/>
                    <a:pt x="12" y="85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1" y="84"/>
                    <a:pt x="12" y="82"/>
                    <a:pt x="13" y="80"/>
                  </a:cubicBezTo>
                  <a:cubicBezTo>
                    <a:pt x="13" y="79"/>
                    <a:pt x="14" y="72"/>
                    <a:pt x="14" y="71"/>
                  </a:cubicBezTo>
                  <a:cubicBezTo>
                    <a:pt x="14" y="71"/>
                    <a:pt x="11" y="67"/>
                    <a:pt x="10" y="65"/>
                  </a:cubicBezTo>
                  <a:cubicBezTo>
                    <a:pt x="8" y="64"/>
                    <a:pt x="3" y="56"/>
                    <a:pt x="1" y="53"/>
                  </a:cubicBezTo>
                  <a:cubicBezTo>
                    <a:pt x="0" y="51"/>
                    <a:pt x="2" y="48"/>
                    <a:pt x="4" y="45"/>
                  </a:cubicBezTo>
                  <a:cubicBezTo>
                    <a:pt x="6" y="42"/>
                    <a:pt x="8" y="40"/>
                    <a:pt x="9" y="40"/>
                  </a:cubicBezTo>
                  <a:cubicBezTo>
                    <a:pt x="10" y="39"/>
                    <a:pt x="11" y="37"/>
                    <a:pt x="11" y="37"/>
                  </a:cubicBezTo>
                  <a:cubicBezTo>
                    <a:pt x="11" y="36"/>
                    <a:pt x="12" y="36"/>
                    <a:pt x="12" y="35"/>
                  </a:cubicBezTo>
                  <a:cubicBezTo>
                    <a:pt x="13" y="35"/>
                    <a:pt x="13" y="34"/>
                    <a:pt x="14" y="33"/>
                  </a:cubicBezTo>
                  <a:cubicBezTo>
                    <a:pt x="14" y="33"/>
                    <a:pt x="14" y="32"/>
                    <a:pt x="15" y="31"/>
                  </a:cubicBezTo>
                  <a:cubicBezTo>
                    <a:pt x="15" y="31"/>
                    <a:pt x="15" y="29"/>
                    <a:pt x="16" y="27"/>
                  </a:cubicBezTo>
                  <a:cubicBezTo>
                    <a:pt x="16" y="26"/>
                    <a:pt x="20" y="25"/>
                    <a:pt x="22" y="25"/>
                  </a:cubicBezTo>
                  <a:cubicBezTo>
                    <a:pt x="24" y="25"/>
                    <a:pt x="27" y="24"/>
                    <a:pt x="29" y="25"/>
                  </a:cubicBezTo>
                  <a:cubicBezTo>
                    <a:pt x="30" y="25"/>
                    <a:pt x="30" y="24"/>
                    <a:pt x="32" y="23"/>
                  </a:cubicBezTo>
                  <a:cubicBezTo>
                    <a:pt x="34" y="21"/>
                    <a:pt x="33" y="19"/>
                    <a:pt x="33" y="18"/>
                  </a:cubicBezTo>
                  <a:cubicBezTo>
                    <a:pt x="33" y="18"/>
                    <a:pt x="33" y="18"/>
                    <a:pt x="32" y="18"/>
                  </a:cubicBezTo>
                  <a:cubicBezTo>
                    <a:pt x="31" y="17"/>
                    <a:pt x="31" y="15"/>
                    <a:pt x="30" y="14"/>
                  </a:cubicBezTo>
                  <a:cubicBezTo>
                    <a:pt x="30" y="13"/>
                    <a:pt x="30" y="12"/>
                    <a:pt x="31" y="12"/>
                  </a:cubicBezTo>
                  <a:cubicBezTo>
                    <a:pt x="31" y="12"/>
                    <a:pt x="30" y="8"/>
                    <a:pt x="31" y="5"/>
                  </a:cubicBezTo>
                  <a:cubicBezTo>
                    <a:pt x="32" y="2"/>
                    <a:pt x="37" y="1"/>
                    <a:pt x="39" y="1"/>
                  </a:cubicBezTo>
                  <a:cubicBezTo>
                    <a:pt x="42" y="0"/>
                    <a:pt x="45" y="3"/>
                    <a:pt x="47" y="5"/>
                  </a:cubicBezTo>
                  <a:cubicBezTo>
                    <a:pt x="48" y="7"/>
                    <a:pt x="48" y="11"/>
                    <a:pt x="47" y="12"/>
                  </a:cubicBezTo>
                  <a:cubicBezTo>
                    <a:pt x="47" y="13"/>
                    <a:pt x="47" y="13"/>
                    <a:pt x="48" y="13"/>
                  </a:cubicBezTo>
                  <a:cubicBezTo>
                    <a:pt x="48" y="13"/>
                    <a:pt x="48" y="14"/>
                    <a:pt x="47" y="16"/>
                  </a:cubicBezTo>
                  <a:cubicBezTo>
                    <a:pt x="47" y="18"/>
                    <a:pt x="47" y="18"/>
                    <a:pt x="46" y="18"/>
                  </a:cubicBezTo>
                  <a:cubicBezTo>
                    <a:pt x="46" y="18"/>
                    <a:pt x="46" y="18"/>
                    <a:pt x="46" y="19"/>
                  </a:cubicBezTo>
                  <a:cubicBezTo>
                    <a:pt x="46" y="20"/>
                    <a:pt x="45" y="22"/>
                    <a:pt x="44" y="23"/>
                  </a:cubicBezTo>
                  <a:cubicBezTo>
                    <a:pt x="44" y="23"/>
                    <a:pt x="44" y="24"/>
                    <a:pt x="44" y="24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6" y="24"/>
                    <a:pt x="52" y="24"/>
                    <a:pt x="55" y="24"/>
                  </a:cubicBezTo>
                  <a:cubicBezTo>
                    <a:pt x="57" y="24"/>
                    <a:pt x="57" y="26"/>
                    <a:pt x="58" y="27"/>
                  </a:cubicBezTo>
                  <a:cubicBezTo>
                    <a:pt x="59" y="28"/>
                    <a:pt x="60" y="30"/>
                    <a:pt x="60" y="31"/>
                  </a:cubicBezTo>
                  <a:cubicBezTo>
                    <a:pt x="61" y="31"/>
                    <a:pt x="61" y="32"/>
                    <a:pt x="62" y="33"/>
                  </a:cubicBezTo>
                  <a:cubicBezTo>
                    <a:pt x="62" y="33"/>
                    <a:pt x="64" y="35"/>
                    <a:pt x="64" y="36"/>
                  </a:cubicBezTo>
                  <a:cubicBezTo>
                    <a:pt x="65" y="36"/>
                    <a:pt x="66" y="38"/>
                    <a:pt x="67" y="38"/>
                  </a:cubicBezTo>
                  <a:cubicBezTo>
                    <a:pt x="67" y="38"/>
                    <a:pt x="68" y="40"/>
                    <a:pt x="69" y="41"/>
                  </a:cubicBezTo>
                  <a:cubicBezTo>
                    <a:pt x="70" y="41"/>
                    <a:pt x="72" y="43"/>
                    <a:pt x="73" y="45"/>
                  </a:cubicBezTo>
                  <a:cubicBezTo>
                    <a:pt x="74" y="47"/>
                    <a:pt x="73" y="49"/>
                    <a:pt x="72" y="50"/>
                  </a:cubicBezTo>
                  <a:cubicBezTo>
                    <a:pt x="71" y="51"/>
                    <a:pt x="69" y="55"/>
                    <a:pt x="68" y="57"/>
                  </a:cubicBezTo>
                  <a:cubicBezTo>
                    <a:pt x="67" y="58"/>
                    <a:pt x="63" y="62"/>
                    <a:pt x="63" y="63"/>
                  </a:cubicBezTo>
                  <a:cubicBezTo>
                    <a:pt x="62" y="63"/>
                    <a:pt x="60" y="67"/>
                    <a:pt x="60" y="67"/>
                  </a:cubicBezTo>
                  <a:cubicBezTo>
                    <a:pt x="59" y="67"/>
                    <a:pt x="61" y="77"/>
                    <a:pt x="62" y="79"/>
                  </a:cubicBezTo>
                  <a:cubicBezTo>
                    <a:pt x="62" y="82"/>
                    <a:pt x="56" y="82"/>
                    <a:pt x="56" y="81"/>
                  </a:cubicBezTo>
                  <a:cubicBezTo>
                    <a:pt x="55" y="81"/>
                    <a:pt x="55" y="86"/>
                    <a:pt x="55" y="88"/>
                  </a:cubicBezTo>
                  <a:cubicBezTo>
                    <a:pt x="55" y="90"/>
                    <a:pt x="55" y="93"/>
                    <a:pt x="55" y="94"/>
                  </a:cubicBezTo>
                  <a:cubicBezTo>
                    <a:pt x="54" y="96"/>
                    <a:pt x="53" y="113"/>
                    <a:pt x="53" y="115"/>
                  </a:cubicBezTo>
                  <a:cubicBezTo>
                    <a:pt x="53" y="118"/>
                    <a:pt x="53" y="120"/>
                    <a:pt x="53" y="122"/>
                  </a:cubicBezTo>
                  <a:cubicBezTo>
                    <a:pt x="53" y="123"/>
                    <a:pt x="53" y="124"/>
                    <a:pt x="53" y="125"/>
                  </a:cubicBezTo>
                  <a:cubicBezTo>
                    <a:pt x="52" y="126"/>
                    <a:pt x="50" y="130"/>
                    <a:pt x="50" y="133"/>
                  </a:cubicBezTo>
                  <a:cubicBezTo>
                    <a:pt x="49" y="135"/>
                    <a:pt x="50" y="136"/>
                    <a:pt x="50" y="138"/>
                  </a:cubicBezTo>
                  <a:cubicBezTo>
                    <a:pt x="50" y="139"/>
                    <a:pt x="49" y="140"/>
                    <a:pt x="49" y="140"/>
                  </a:cubicBezTo>
                  <a:cubicBezTo>
                    <a:pt x="49" y="141"/>
                    <a:pt x="49" y="141"/>
                    <a:pt x="48" y="142"/>
                  </a:cubicBezTo>
                  <a:cubicBezTo>
                    <a:pt x="47" y="143"/>
                    <a:pt x="48" y="143"/>
                    <a:pt x="48" y="144"/>
                  </a:cubicBezTo>
                  <a:cubicBezTo>
                    <a:pt x="49" y="144"/>
                    <a:pt x="49" y="145"/>
                    <a:pt x="48" y="146"/>
                  </a:cubicBezTo>
                  <a:cubicBezTo>
                    <a:pt x="48" y="146"/>
                    <a:pt x="54" y="152"/>
                    <a:pt x="55" y="153"/>
                  </a:cubicBezTo>
                  <a:cubicBezTo>
                    <a:pt x="57" y="153"/>
                    <a:pt x="57" y="154"/>
                    <a:pt x="56" y="155"/>
                  </a:cubicBezTo>
                  <a:cubicBezTo>
                    <a:pt x="56" y="155"/>
                    <a:pt x="53" y="156"/>
                    <a:pt x="51" y="156"/>
                  </a:cubicBezTo>
                  <a:cubicBezTo>
                    <a:pt x="49" y="156"/>
                    <a:pt x="45" y="154"/>
                    <a:pt x="45" y="153"/>
                  </a:cubicBezTo>
                  <a:cubicBezTo>
                    <a:pt x="45" y="153"/>
                    <a:pt x="44" y="152"/>
                    <a:pt x="44" y="151"/>
                  </a:cubicBezTo>
                  <a:cubicBezTo>
                    <a:pt x="43" y="150"/>
                    <a:pt x="43" y="151"/>
                    <a:pt x="42" y="151"/>
                  </a:cubicBezTo>
                  <a:cubicBezTo>
                    <a:pt x="42" y="151"/>
                    <a:pt x="39" y="150"/>
                    <a:pt x="39" y="150"/>
                  </a:cubicBezTo>
                  <a:cubicBezTo>
                    <a:pt x="38" y="149"/>
                    <a:pt x="39" y="149"/>
                    <a:pt x="39" y="148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38" y="145"/>
                    <a:pt x="38" y="144"/>
                  </a:cubicBezTo>
                  <a:cubicBezTo>
                    <a:pt x="37" y="143"/>
                    <a:pt x="38" y="140"/>
                    <a:pt x="39" y="139"/>
                  </a:cubicBezTo>
                  <a:cubicBezTo>
                    <a:pt x="40" y="138"/>
                    <a:pt x="40" y="137"/>
                    <a:pt x="40" y="136"/>
                  </a:cubicBezTo>
                  <a:cubicBezTo>
                    <a:pt x="40" y="135"/>
                    <a:pt x="40" y="130"/>
                    <a:pt x="40" y="129"/>
                  </a:cubicBezTo>
                  <a:cubicBezTo>
                    <a:pt x="40" y="127"/>
                    <a:pt x="40" y="126"/>
                    <a:pt x="40" y="125"/>
                  </a:cubicBezTo>
                  <a:cubicBezTo>
                    <a:pt x="40" y="125"/>
                    <a:pt x="40" y="125"/>
                    <a:pt x="40" y="124"/>
                  </a:cubicBezTo>
                  <a:cubicBezTo>
                    <a:pt x="40" y="124"/>
                    <a:pt x="40" y="123"/>
                    <a:pt x="40" y="122"/>
                  </a:cubicBezTo>
                  <a:cubicBezTo>
                    <a:pt x="39" y="121"/>
                    <a:pt x="40" y="121"/>
                    <a:pt x="40" y="120"/>
                  </a:cubicBezTo>
                  <a:cubicBezTo>
                    <a:pt x="40" y="120"/>
                    <a:pt x="40" y="120"/>
                    <a:pt x="40" y="119"/>
                  </a:cubicBezTo>
                  <a:cubicBezTo>
                    <a:pt x="40" y="119"/>
                    <a:pt x="40" y="119"/>
                    <a:pt x="40" y="118"/>
                  </a:cubicBezTo>
                  <a:cubicBezTo>
                    <a:pt x="41" y="117"/>
                    <a:pt x="41" y="117"/>
                    <a:pt x="40" y="116"/>
                  </a:cubicBezTo>
                  <a:cubicBezTo>
                    <a:pt x="40" y="116"/>
                    <a:pt x="40" y="115"/>
                    <a:pt x="41" y="114"/>
                  </a:cubicBezTo>
                  <a:cubicBezTo>
                    <a:pt x="41" y="113"/>
                    <a:pt x="40" y="110"/>
                    <a:pt x="40" y="108"/>
                  </a:cubicBezTo>
                  <a:cubicBezTo>
                    <a:pt x="40" y="107"/>
                    <a:pt x="40" y="105"/>
                    <a:pt x="40" y="105"/>
                  </a:cubicBezTo>
                  <a:cubicBezTo>
                    <a:pt x="40" y="104"/>
                    <a:pt x="40" y="104"/>
                    <a:pt x="39" y="104"/>
                  </a:cubicBezTo>
                  <a:cubicBezTo>
                    <a:pt x="39" y="103"/>
                    <a:pt x="39" y="97"/>
                    <a:pt x="39" y="96"/>
                  </a:cubicBezTo>
                  <a:cubicBezTo>
                    <a:pt x="39" y="96"/>
                    <a:pt x="39" y="96"/>
                    <a:pt x="39" y="97"/>
                  </a:cubicBezTo>
                  <a:cubicBezTo>
                    <a:pt x="39" y="98"/>
                    <a:pt x="37" y="100"/>
                    <a:pt x="38" y="101"/>
                  </a:cubicBezTo>
                  <a:cubicBezTo>
                    <a:pt x="38" y="101"/>
                    <a:pt x="38" y="101"/>
                    <a:pt x="37" y="102"/>
                  </a:cubicBezTo>
                  <a:cubicBezTo>
                    <a:pt x="37" y="102"/>
                    <a:pt x="37" y="104"/>
                    <a:pt x="36" y="104"/>
                  </a:cubicBezTo>
                  <a:cubicBezTo>
                    <a:pt x="36" y="105"/>
                    <a:pt x="36" y="105"/>
                    <a:pt x="36" y="106"/>
                  </a:cubicBezTo>
                  <a:cubicBezTo>
                    <a:pt x="36" y="106"/>
                    <a:pt x="35" y="107"/>
                    <a:pt x="35" y="108"/>
                  </a:cubicBezTo>
                  <a:cubicBezTo>
                    <a:pt x="35" y="108"/>
                    <a:pt x="33" y="116"/>
                    <a:pt x="33" y="117"/>
                  </a:cubicBezTo>
                  <a:cubicBezTo>
                    <a:pt x="33" y="119"/>
                    <a:pt x="33" y="119"/>
                    <a:pt x="33" y="120"/>
                  </a:cubicBezTo>
                  <a:cubicBezTo>
                    <a:pt x="33" y="121"/>
                    <a:pt x="30" y="134"/>
                    <a:pt x="29" y="136"/>
                  </a:cubicBezTo>
                  <a:cubicBezTo>
                    <a:pt x="29" y="139"/>
                    <a:pt x="28" y="145"/>
                    <a:pt x="27" y="146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48"/>
                    <a:pt x="28" y="148"/>
                    <a:pt x="27" y="149"/>
                  </a:cubicBezTo>
                  <a:cubicBezTo>
                    <a:pt x="27" y="151"/>
                    <a:pt x="26" y="151"/>
                    <a:pt x="26" y="152"/>
                  </a:cubicBezTo>
                  <a:cubicBezTo>
                    <a:pt x="26" y="153"/>
                    <a:pt x="26" y="155"/>
                    <a:pt x="25" y="155"/>
                  </a:cubicBezTo>
                  <a:cubicBezTo>
                    <a:pt x="24" y="156"/>
                    <a:pt x="26" y="158"/>
                    <a:pt x="27" y="162"/>
                  </a:cubicBezTo>
                  <a:cubicBezTo>
                    <a:pt x="28" y="166"/>
                    <a:pt x="25" y="167"/>
                    <a:pt x="22" y="167"/>
                  </a:cubicBezTo>
                  <a:cubicBezTo>
                    <a:pt x="19" y="167"/>
                    <a:pt x="17" y="163"/>
                    <a:pt x="17" y="161"/>
                  </a:cubicBezTo>
                  <a:cubicBezTo>
                    <a:pt x="17" y="160"/>
                    <a:pt x="17" y="158"/>
                    <a:pt x="17" y="156"/>
                  </a:cubicBezTo>
                  <a:cubicBezTo>
                    <a:pt x="16" y="155"/>
                    <a:pt x="17" y="155"/>
                    <a:pt x="17" y="154"/>
                  </a:cubicBezTo>
                  <a:cubicBezTo>
                    <a:pt x="16" y="154"/>
                    <a:pt x="16" y="151"/>
                    <a:pt x="15" y="150"/>
                  </a:cubicBezTo>
                  <a:cubicBezTo>
                    <a:pt x="15" y="148"/>
                    <a:pt x="18" y="146"/>
                    <a:pt x="18" y="146"/>
                  </a:cubicBezTo>
                  <a:cubicBezTo>
                    <a:pt x="19" y="145"/>
                    <a:pt x="19" y="143"/>
                    <a:pt x="18" y="141"/>
                  </a:cubicBezTo>
                  <a:cubicBezTo>
                    <a:pt x="17" y="140"/>
                    <a:pt x="18" y="131"/>
                    <a:pt x="18" y="129"/>
                  </a:cubicBezTo>
                  <a:cubicBezTo>
                    <a:pt x="19" y="127"/>
                    <a:pt x="19" y="126"/>
                    <a:pt x="19" y="125"/>
                  </a:cubicBezTo>
                  <a:cubicBezTo>
                    <a:pt x="19" y="124"/>
                    <a:pt x="19" y="124"/>
                    <a:pt x="20" y="122"/>
                  </a:cubicBezTo>
                  <a:cubicBezTo>
                    <a:pt x="20" y="121"/>
                    <a:pt x="21" y="119"/>
                    <a:pt x="21" y="118"/>
                  </a:cubicBezTo>
                  <a:cubicBezTo>
                    <a:pt x="22" y="117"/>
                    <a:pt x="22" y="117"/>
                    <a:pt x="22" y="115"/>
                  </a:cubicBezTo>
                  <a:cubicBezTo>
                    <a:pt x="22" y="114"/>
                    <a:pt x="22" y="114"/>
                    <a:pt x="23" y="113"/>
                  </a:cubicBezTo>
                  <a:cubicBezTo>
                    <a:pt x="23" y="112"/>
                    <a:pt x="23" y="112"/>
                    <a:pt x="23" y="111"/>
                  </a:cubicBezTo>
                  <a:cubicBezTo>
                    <a:pt x="23" y="110"/>
                    <a:pt x="23" y="109"/>
                    <a:pt x="23" y="108"/>
                  </a:cubicBezTo>
                  <a:cubicBezTo>
                    <a:pt x="23" y="107"/>
                    <a:pt x="23" y="107"/>
                    <a:pt x="23" y="106"/>
                  </a:cubicBezTo>
                  <a:cubicBezTo>
                    <a:pt x="23" y="105"/>
                    <a:pt x="23" y="100"/>
                    <a:pt x="23" y="99"/>
                  </a:cubicBezTo>
                  <a:cubicBezTo>
                    <a:pt x="23" y="99"/>
                    <a:pt x="23" y="97"/>
                    <a:pt x="23" y="96"/>
                  </a:cubicBezTo>
                  <a:close/>
                  <a:moveTo>
                    <a:pt x="18" y="42"/>
                  </a:moveTo>
                  <a:cubicBezTo>
                    <a:pt x="18" y="41"/>
                    <a:pt x="16" y="46"/>
                    <a:pt x="15" y="47"/>
                  </a:cubicBezTo>
                  <a:cubicBezTo>
                    <a:pt x="15" y="48"/>
                    <a:pt x="14" y="50"/>
                    <a:pt x="13" y="51"/>
                  </a:cubicBezTo>
                  <a:cubicBezTo>
                    <a:pt x="13" y="52"/>
                    <a:pt x="13" y="52"/>
                    <a:pt x="13" y="53"/>
                  </a:cubicBezTo>
                  <a:cubicBezTo>
                    <a:pt x="14" y="53"/>
                    <a:pt x="14" y="54"/>
                    <a:pt x="14" y="55"/>
                  </a:cubicBezTo>
                  <a:cubicBezTo>
                    <a:pt x="14" y="56"/>
                    <a:pt x="14" y="56"/>
                    <a:pt x="15" y="56"/>
                  </a:cubicBezTo>
                  <a:cubicBezTo>
                    <a:pt x="16" y="57"/>
                    <a:pt x="16" y="58"/>
                    <a:pt x="16" y="59"/>
                  </a:cubicBezTo>
                  <a:cubicBezTo>
                    <a:pt x="16" y="60"/>
                    <a:pt x="17" y="58"/>
                    <a:pt x="18" y="57"/>
                  </a:cubicBezTo>
                  <a:cubicBezTo>
                    <a:pt x="18" y="56"/>
                    <a:pt x="18" y="53"/>
                    <a:pt x="18" y="52"/>
                  </a:cubicBezTo>
                  <a:cubicBezTo>
                    <a:pt x="18" y="52"/>
                    <a:pt x="18" y="43"/>
                    <a:pt x="18" y="42"/>
                  </a:cubicBezTo>
                  <a:close/>
                  <a:moveTo>
                    <a:pt x="59" y="49"/>
                  </a:moveTo>
                  <a:cubicBezTo>
                    <a:pt x="59" y="50"/>
                    <a:pt x="58" y="56"/>
                    <a:pt x="58" y="55"/>
                  </a:cubicBezTo>
                  <a:cubicBezTo>
                    <a:pt x="59" y="55"/>
                    <a:pt x="58" y="53"/>
                    <a:pt x="59" y="53"/>
                  </a:cubicBezTo>
                  <a:cubicBezTo>
                    <a:pt x="60" y="53"/>
                    <a:pt x="61" y="52"/>
                    <a:pt x="61" y="51"/>
                  </a:cubicBezTo>
                  <a:cubicBezTo>
                    <a:pt x="61" y="50"/>
                    <a:pt x="62" y="50"/>
                    <a:pt x="62" y="50"/>
                  </a:cubicBezTo>
                  <a:cubicBezTo>
                    <a:pt x="63" y="49"/>
                    <a:pt x="63" y="49"/>
                    <a:pt x="63" y="48"/>
                  </a:cubicBezTo>
                  <a:cubicBezTo>
                    <a:pt x="63" y="48"/>
                    <a:pt x="62" y="47"/>
                    <a:pt x="62" y="47"/>
                  </a:cubicBezTo>
                  <a:cubicBezTo>
                    <a:pt x="62" y="47"/>
                    <a:pt x="61" y="47"/>
                    <a:pt x="61" y="46"/>
                  </a:cubicBezTo>
                  <a:cubicBezTo>
                    <a:pt x="61" y="46"/>
                    <a:pt x="59" y="44"/>
                    <a:pt x="59" y="45"/>
                  </a:cubicBezTo>
                  <a:cubicBezTo>
                    <a:pt x="59" y="46"/>
                    <a:pt x="59" y="49"/>
                    <a:pt x="59" y="4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5" name="Freeform 38"/>
            <p:cNvSpPr>
              <a:spLocks noChangeAspect="1"/>
            </p:cNvSpPr>
            <p:nvPr/>
          </p:nvSpPr>
          <p:spPr bwMode="gray">
            <a:xfrm>
              <a:off x="10063163" y="2636838"/>
              <a:ext cx="104775" cy="201613"/>
            </a:xfrm>
            <a:custGeom>
              <a:avLst/>
              <a:gdLst>
                <a:gd name="T0" fmla="*/ 7 w 28"/>
                <a:gd name="T1" fmla="*/ 25 h 54"/>
                <a:gd name="T2" fmla="*/ 4 w 28"/>
                <a:gd name="T3" fmla="*/ 36 h 54"/>
                <a:gd name="T4" fmla="*/ 1 w 28"/>
                <a:gd name="T5" fmla="*/ 45 h 54"/>
                <a:gd name="T6" fmla="*/ 2 w 28"/>
                <a:gd name="T7" fmla="*/ 46 h 54"/>
                <a:gd name="T8" fmla="*/ 5 w 28"/>
                <a:gd name="T9" fmla="*/ 48 h 54"/>
                <a:gd name="T10" fmla="*/ 10 w 28"/>
                <a:gd name="T11" fmla="*/ 51 h 54"/>
                <a:gd name="T12" fmla="*/ 9 w 28"/>
                <a:gd name="T13" fmla="*/ 52 h 54"/>
                <a:gd name="T14" fmla="*/ 4 w 28"/>
                <a:gd name="T15" fmla="*/ 50 h 54"/>
                <a:gd name="T16" fmla="*/ 5 w 28"/>
                <a:gd name="T17" fmla="*/ 50 h 54"/>
                <a:gd name="T18" fmla="*/ 8 w 28"/>
                <a:gd name="T19" fmla="*/ 53 h 54"/>
                <a:gd name="T20" fmla="*/ 9 w 28"/>
                <a:gd name="T21" fmla="*/ 54 h 54"/>
                <a:gd name="T22" fmla="*/ 17 w 28"/>
                <a:gd name="T23" fmla="*/ 54 h 54"/>
                <a:gd name="T24" fmla="*/ 19 w 28"/>
                <a:gd name="T25" fmla="*/ 54 h 54"/>
                <a:gd name="T26" fmla="*/ 25 w 28"/>
                <a:gd name="T27" fmla="*/ 51 h 54"/>
                <a:gd name="T28" fmla="*/ 25 w 28"/>
                <a:gd name="T29" fmla="*/ 44 h 54"/>
                <a:gd name="T30" fmla="*/ 26 w 28"/>
                <a:gd name="T31" fmla="*/ 42 h 54"/>
                <a:gd name="T32" fmla="*/ 27 w 28"/>
                <a:gd name="T33" fmla="*/ 39 h 54"/>
                <a:gd name="T34" fmla="*/ 27 w 28"/>
                <a:gd name="T35" fmla="*/ 35 h 54"/>
                <a:gd name="T36" fmla="*/ 25 w 28"/>
                <a:gd name="T37" fmla="*/ 23 h 54"/>
                <a:gd name="T38" fmla="*/ 21 w 28"/>
                <a:gd name="T39" fmla="*/ 14 h 54"/>
                <a:gd name="T40" fmla="*/ 20 w 28"/>
                <a:gd name="T41" fmla="*/ 6 h 54"/>
                <a:gd name="T42" fmla="*/ 19 w 28"/>
                <a:gd name="T43" fmla="*/ 3 h 54"/>
                <a:gd name="T44" fmla="*/ 15 w 28"/>
                <a:gd name="T45" fmla="*/ 6 h 54"/>
                <a:gd name="T46" fmla="*/ 9 w 28"/>
                <a:gd name="T47" fmla="*/ 2 h 54"/>
                <a:gd name="T48" fmla="*/ 8 w 28"/>
                <a:gd name="T49" fmla="*/ 1 h 54"/>
                <a:gd name="T50" fmla="*/ 7 w 28"/>
                <a:gd name="T51" fmla="*/ 2 h 54"/>
                <a:gd name="T52" fmla="*/ 7 w 28"/>
                <a:gd name="T53" fmla="*/ 3 h 54"/>
                <a:gd name="T54" fmla="*/ 8 w 28"/>
                <a:gd name="T55" fmla="*/ 14 h 54"/>
                <a:gd name="T56" fmla="*/ 7 w 28"/>
                <a:gd name="T57" fmla="*/ 25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8"/>
                <a:gd name="T88" fmla="*/ 0 h 54"/>
                <a:gd name="T89" fmla="*/ 28 w 28"/>
                <a:gd name="T90" fmla="*/ 54 h 5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8" h="54">
                  <a:moveTo>
                    <a:pt x="7" y="25"/>
                  </a:moveTo>
                  <a:cubicBezTo>
                    <a:pt x="6" y="27"/>
                    <a:pt x="5" y="33"/>
                    <a:pt x="4" y="36"/>
                  </a:cubicBezTo>
                  <a:cubicBezTo>
                    <a:pt x="2" y="40"/>
                    <a:pt x="0" y="44"/>
                    <a:pt x="1" y="45"/>
                  </a:cubicBezTo>
                  <a:cubicBezTo>
                    <a:pt x="1" y="45"/>
                    <a:pt x="1" y="46"/>
                    <a:pt x="2" y="46"/>
                  </a:cubicBezTo>
                  <a:cubicBezTo>
                    <a:pt x="2" y="47"/>
                    <a:pt x="3" y="47"/>
                    <a:pt x="5" y="48"/>
                  </a:cubicBezTo>
                  <a:cubicBezTo>
                    <a:pt x="7" y="49"/>
                    <a:pt x="10" y="50"/>
                    <a:pt x="10" y="51"/>
                  </a:cubicBezTo>
                  <a:cubicBezTo>
                    <a:pt x="10" y="52"/>
                    <a:pt x="9" y="52"/>
                    <a:pt x="9" y="52"/>
                  </a:cubicBezTo>
                  <a:cubicBezTo>
                    <a:pt x="8" y="51"/>
                    <a:pt x="5" y="49"/>
                    <a:pt x="4" y="50"/>
                  </a:cubicBezTo>
                  <a:cubicBezTo>
                    <a:pt x="4" y="50"/>
                    <a:pt x="4" y="50"/>
                    <a:pt x="5" y="50"/>
                  </a:cubicBezTo>
                  <a:cubicBezTo>
                    <a:pt x="5" y="51"/>
                    <a:pt x="7" y="53"/>
                    <a:pt x="8" y="53"/>
                  </a:cubicBezTo>
                  <a:cubicBezTo>
                    <a:pt x="8" y="54"/>
                    <a:pt x="8" y="54"/>
                    <a:pt x="9" y="54"/>
                  </a:cubicBezTo>
                  <a:cubicBezTo>
                    <a:pt x="10" y="54"/>
                    <a:pt x="16" y="54"/>
                    <a:pt x="17" y="54"/>
                  </a:cubicBezTo>
                  <a:cubicBezTo>
                    <a:pt x="18" y="54"/>
                    <a:pt x="18" y="54"/>
                    <a:pt x="19" y="54"/>
                  </a:cubicBezTo>
                  <a:cubicBezTo>
                    <a:pt x="20" y="54"/>
                    <a:pt x="25" y="52"/>
                    <a:pt x="25" y="51"/>
                  </a:cubicBezTo>
                  <a:cubicBezTo>
                    <a:pt x="25" y="51"/>
                    <a:pt x="25" y="45"/>
                    <a:pt x="25" y="44"/>
                  </a:cubicBezTo>
                  <a:cubicBezTo>
                    <a:pt x="26" y="43"/>
                    <a:pt x="26" y="42"/>
                    <a:pt x="26" y="42"/>
                  </a:cubicBezTo>
                  <a:cubicBezTo>
                    <a:pt x="26" y="41"/>
                    <a:pt x="26" y="40"/>
                    <a:pt x="27" y="39"/>
                  </a:cubicBezTo>
                  <a:cubicBezTo>
                    <a:pt x="27" y="38"/>
                    <a:pt x="28" y="37"/>
                    <a:pt x="27" y="35"/>
                  </a:cubicBezTo>
                  <a:cubicBezTo>
                    <a:pt x="27" y="34"/>
                    <a:pt x="26" y="25"/>
                    <a:pt x="25" y="23"/>
                  </a:cubicBezTo>
                  <a:cubicBezTo>
                    <a:pt x="25" y="21"/>
                    <a:pt x="22" y="17"/>
                    <a:pt x="21" y="14"/>
                  </a:cubicBezTo>
                  <a:cubicBezTo>
                    <a:pt x="21" y="10"/>
                    <a:pt x="20" y="7"/>
                    <a:pt x="20" y="6"/>
                  </a:cubicBezTo>
                  <a:cubicBezTo>
                    <a:pt x="20" y="4"/>
                    <a:pt x="20" y="2"/>
                    <a:pt x="19" y="3"/>
                  </a:cubicBezTo>
                  <a:cubicBezTo>
                    <a:pt x="18" y="4"/>
                    <a:pt x="15" y="7"/>
                    <a:pt x="15" y="6"/>
                  </a:cubicBezTo>
                  <a:cubicBezTo>
                    <a:pt x="14" y="5"/>
                    <a:pt x="10" y="3"/>
                    <a:pt x="9" y="2"/>
                  </a:cubicBezTo>
                  <a:cubicBezTo>
                    <a:pt x="8" y="1"/>
                    <a:pt x="8" y="0"/>
                    <a:pt x="8" y="1"/>
                  </a:cubicBezTo>
                  <a:cubicBezTo>
                    <a:pt x="8" y="1"/>
                    <a:pt x="8" y="2"/>
                    <a:pt x="7" y="2"/>
                  </a:cubicBezTo>
                  <a:cubicBezTo>
                    <a:pt x="7" y="3"/>
                    <a:pt x="7" y="2"/>
                    <a:pt x="7" y="3"/>
                  </a:cubicBezTo>
                  <a:cubicBezTo>
                    <a:pt x="7" y="3"/>
                    <a:pt x="8" y="9"/>
                    <a:pt x="8" y="14"/>
                  </a:cubicBezTo>
                  <a:cubicBezTo>
                    <a:pt x="7" y="18"/>
                    <a:pt x="7" y="25"/>
                    <a:pt x="7" y="25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6" name="Freeform 39"/>
            <p:cNvSpPr>
              <a:spLocks noChangeAspect="1"/>
            </p:cNvSpPr>
            <p:nvPr/>
          </p:nvSpPr>
          <p:spPr bwMode="gray">
            <a:xfrm>
              <a:off x="10107613" y="2659063"/>
              <a:ext cx="57150" cy="184150"/>
            </a:xfrm>
            <a:custGeom>
              <a:avLst/>
              <a:gdLst>
                <a:gd name="T0" fmla="*/ 1 w 15"/>
                <a:gd name="T1" fmla="*/ 2 h 49"/>
                <a:gd name="T2" fmla="*/ 2 w 15"/>
                <a:gd name="T3" fmla="*/ 3 h 49"/>
                <a:gd name="T4" fmla="*/ 2 w 15"/>
                <a:gd name="T5" fmla="*/ 5 h 49"/>
                <a:gd name="T6" fmla="*/ 2 w 15"/>
                <a:gd name="T7" fmla="*/ 10 h 49"/>
                <a:gd name="T8" fmla="*/ 4 w 15"/>
                <a:gd name="T9" fmla="*/ 29 h 49"/>
                <a:gd name="T10" fmla="*/ 6 w 15"/>
                <a:gd name="T11" fmla="*/ 45 h 49"/>
                <a:gd name="T12" fmla="*/ 10 w 15"/>
                <a:gd name="T13" fmla="*/ 48 h 49"/>
                <a:gd name="T14" fmla="*/ 14 w 15"/>
                <a:gd name="T15" fmla="*/ 42 h 49"/>
                <a:gd name="T16" fmla="*/ 11 w 15"/>
                <a:gd name="T17" fmla="*/ 24 h 49"/>
                <a:gd name="T18" fmla="*/ 8 w 15"/>
                <a:gd name="T19" fmla="*/ 9 h 49"/>
                <a:gd name="T20" fmla="*/ 6 w 15"/>
                <a:gd name="T21" fmla="*/ 5 h 49"/>
                <a:gd name="T22" fmla="*/ 5 w 15"/>
                <a:gd name="T23" fmla="*/ 3 h 49"/>
                <a:gd name="T24" fmla="*/ 6 w 15"/>
                <a:gd name="T25" fmla="*/ 1 h 49"/>
                <a:gd name="T26" fmla="*/ 2 w 15"/>
                <a:gd name="T27" fmla="*/ 0 h 49"/>
                <a:gd name="T28" fmla="*/ 0 w 15"/>
                <a:gd name="T29" fmla="*/ 1 h 49"/>
                <a:gd name="T30" fmla="*/ 1 w 15"/>
                <a:gd name="T31" fmla="*/ 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"/>
                <a:gd name="T49" fmla="*/ 0 h 49"/>
                <a:gd name="T50" fmla="*/ 15 w 15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" h="49">
                  <a:moveTo>
                    <a:pt x="1" y="2"/>
                  </a:moveTo>
                  <a:cubicBezTo>
                    <a:pt x="1" y="2"/>
                    <a:pt x="2" y="3"/>
                    <a:pt x="2" y="3"/>
                  </a:cubicBezTo>
                  <a:cubicBezTo>
                    <a:pt x="3" y="3"/>
                    <a:pt x="3" y="4"/>
                    <a:pt x="2" y="5"/>
                  </a:cubicBezTo>
                  <a:cubicBezTo>
                    <a:pt x="2" y="6"/>
                    <a:pt x="1" y="7"/>
                    <a:pt x="2" y="10"/>
                  </a:cubicBezTo>
                  <a:cubicBezTo>
                    <a:pt x="2" y="14"/>
                    <a:pt x="4" y="27"/>
                    <a:pt x="4" y="29"/>
                  </a:cubicBezTo>
                  <a:cubicBezTo>
                    <a:pt x="4" y="31"/>
                    <a:pt x="4" y="43"/>
                    <a:pt x="6" y="45"/>
                  </a:cubicBezTo>
                  <a:cubicBezTo>
                    <a:pt x="7" y="46"/>
                    <a:pt x="10" y="49"/>
                    <a:pt x="10" y="48"/>
                  </a:cubicBezTo>
                  <a:cubicBezTo>
                    <a:pt x="11" y="47"/>
                    <a:pt x="15" y="45"/>
                    <a:pt x="14" y="42"/>
                  </a:cubicBezTo>
                  <a:cubicBezTo>
                    <a:pt x="14" y="39"/>
                    <a:pt x="12" y="26"/>
                    <a:pt x="11" y="24"/>
                  </a:cubicBezTo>
                  <a:cubicBezTo>
                    <a:pt x="10" y="21"/>
                    <a:pt x="8" y="10"/>
                    <a:pt x="8" y="9"/>
                  </a:cubicBezTo>
                  <a:cubicBezTo>
                    <a:pt x="8" y="8"/>
                    <a:pt x="6" y="5"/>
                    <a:pt x="6" y="5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2"/>
                    <a:pt x="7" y="1"/>
                    <a:pt x="6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7" name="Freeform 40"/>
            <p:cNvSpPr>
              <a:spLocks noChangeAspect="1"/>
            </p:cNvSpPr>
            <p:nvPr/>
          </p:nvSpPr>
          <p:spPr bwMode="gray">
            <a:xfrm>
              <a:off x="10088563" y="2647950"/>
              <a:ext cx="19050" cy="14288"/>
            </a:xfrm>
            <a:custGeom>
              <a:avLst/>
              <a:gdLst>
                <a:gd name="T0" fmla="*/ 12 w 12"/>
                <a:gd name="T1" fmla="*/ 9 h 9"/>
                <a:gd name="T2" fmla="*/ 0 w 12"/>
                <a:gd name="T3" fmla="*/ 0 h 9"/>
                <a:gd name="T4" fmla="*/ 0 w 12"/>
                <a:gd name="T5" fmla="*/ 0 h 9"/>
                <a:gd name="T6" fmla="*/ 12 w 12"/>
                <a:gd name="T7" fmla="*/ 9 h 9"/>
                <a:gd name="T8" fmla="*/ 12 w 12"/>
                <a:gd name="T9" fmla="*/ 9 h 9"/>
                <a:gd name="T10" fmla="*/ 12 w 12"/>
                <a:gd name="T11" fmla="*/ 9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12" y="9"/>
                  </a:moveTo>
                  <a:lnTo>
                    <a:pt x="0" y="0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8" name="Freeform 41"/>
            <p:cNvSpPr>
              <a:spLocks noChangeAspect="1"/>
            </p:cNvSpPr>
            <p:nvPr/>
          </p:nvSpPr>
          <p:spPr bwMode="gray">
            <a:xfrm>
              <a:off x="10129838" y="2655888"/>
              <a:ext cx="7938" cy="6350"/>
            </a:xfrm>
            <a:custGeom>
              <a:avLst/>
              <a:gdLst>
                <a:gd name="T0" fmla="*/ 5 w 5"/>
                <a:gd name="T1" fmla="*/ 0 h 4"/>
                <a:gd name="T2" fmla="*/ 5 w 5"/>
                <a:gd name="T3" fmla="*/ 0 h 4"/>
                <a:gd name="T4" fmla="*/ 0 w 5"/>
                <a:gd name="T5" fmla="*/ 4 h 4"/>
                <a:gd name="T6" fmla="*/ 0 w 5"/>
                <a:gd name="T7" fmla="*/ 4 h 4"/>
                <a:gd name="T8" fmla="*/ 5 w 5"/>
                <a:gd name="T9" fmla="*/ 0 h 4"/>
                <a:gd name="T10" fmla="*/ 5 w 5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4"/>
                <a:gd name="T20" fmla="*/ 5 w 5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4">
                  <a:moveTo>
                    <a:pt x="5" y="0"/>
                  </a:moveTo>
                  <a:lnTo>
                    <a:pt x="5" y="0"/>
                  </a:lnTo>
                  <a:lnTo>
                    <a:pt x="0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59" name="Freeform 42"/>
            <p:cNvSpPr>
              <a:spLocks noChangeAspect="1"/>
            </p:cNvSpPr>
            <p:nvPr/>
          </p:nvSpPr>
          <p:spPr bwMode="gray">
            <a:xfrm>
              <a:off x="10074275" y="2832100"/>
              <a:ext cx="11113" cy="6350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2 h 2"/>
                <a:gd name="T4" fmla="*/ 2 w 3"/>
                <a:gd name="T5" fmla="*/ 2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cubicBezTo>
                    <a:pt x="0" y="0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0" name="Freeform 43"/>
            <p:cNvSpPr>
              <a:spLocks noChangeAspect="1"/>
            </p:cNvSpPr>
            <p:nvPr/>
          </p:nvSpPr>
          <p:spPr bwMode="gray">
            <a:xfrm>
              <a:off x="10069513" y="2835275"/>
              <a:ext cx="4763" cy="31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0 w 1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"/>
                <a:gd name="T14" fmla="*/ 1 w 1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">
                  <a:moveTo>
                    <a:pt x="0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61" name="Freeform 75"/>
          <p:cNvSpPr>
            <a:spLocks noEditPoints="1"/>
          </p:cNvSpPr>
          <p:nvPr>
            <p:custDataLst>
              <p:tags r:id="rId52"/>
            </p:custDataLst>
          </p:nvPr>
        </p:nvSpPr>
        <p:spPr bwMode="gray">
          <a:xfrm>
            <a:off x="7102517" y="2061588"/>
            <a:ext cx="146050" cy="620712"/>
          </a:xfrm>
          <a:custGeom>
            <a:avLst/>
            <a:gdLst>
              <a:gd name="T0" fmla="*/ 916 w 960"/>
              <a:gd name="T1" fmla="*/ 979 h 4067"/>
              <a:gd name="T2" fmla="*/ 823 w 960"/>
              <a:gd name="T3" fmla="*/ 712 h 4067"/>
              <a:gd name="T4" fmla="*/ 660 w 960"/>
              <a:gd name="T5" fmla="*/ 627 h 4067"/>
              <a:gd name="T6" fmla="*/ 641 w 960"/>
              <a:gd name="T7" fmla="*/ 586 h 4067"/>
              <a:gd name="T8" fmla="*/ 704 w 960"/>
              <a:gd name="T9" fmla="*/ 530 h 4067"/>
              <a:gd name="T10" fmla="*/ 715 w 960"/>
              <a:gd name="T11" fmla="*/ 515 h 4067"/>
              <a:gd name="T12" fmla="*/ 701 w 960"/>
              <a:gd name="T13" fmla="*/ 415 h 4067"/>
              <a:gd name="T14" fmla="*/ 701 w 960"/>
              <a:gd name="T15" fmla="*/ 374 h 4067"/>
              <a:gd name="T16" fmla="*/ 685 w 960"/>
              <a:gd name="T17" fmla="*/ 241 h 4067"/>
              <a:gd name="T18" fmla="*/ 637 w 960"/>
              <a:gd name="T19" fmla="*/ 55 h 4067"/>
              <a:gd name="T20" fmla="*/ 489 w 960"/>
              <a:gd name="T21" fmla="*/ 0 h 4067"/>
              <a:gd name="T22" fmla="*/ 337 w 960"/>
              <a:gd name="T23" fmla="*/ 59 h 4067"/>
              <a:gd name="T24" fmla="*/ 278 w 960"/>
              <a:gd name="T25" fmla="*/ 222 h 4067"/>
              <a:gd name="T26" fmla="*/ 240 w 960"/>
              <a:gd name="T27" fmla="*/ 378 h 4067"/>
              <a:gd name="T28" fmla="*/ 211 w 960"/>
              <a:gd name="T29" fmla="*/ 441 h 4067"/>
              <a:gd name="T30" fmla="*/ 207 w 960"/>
              <a:gd name="T31" fmla="*/ 519 h 4067"/>
              <a:gd name="T32" fmla="*/ 233 w 960"/>
              <a:gd name="T33" fmla="*/ 426 h 4067"/>
              <a:gd name="T34" fmla="*/ 229 w 960"/>
              <a:gd name="T35" fmla="*/ 545 h 4067"/>
              <a:gd name="T36" fmla="*/ 281 w 960"/>
              <a:gd name="T37" fmla="*/ 593 h 4067"/>
              <a:gd name="T38" fmla="*/ 155 w 960"/>
              <a:gd name="T39" fmla="*/ 652 h 4067"/>
              <a:gd name="T40" fmla="*/ 22 w 960"/>
              <a:gd name="T41" fmla="*/ 768 h 4067"/>
              <a:gd name="T42" fmla="*/ 151 w 960"/>
              <a:gd name="T43" fmla="*/ 1877 h 4067"/>
              <a:gd name="T44" fmla="*/ 126 w 960"/>
              <a:gd name="T45" fmla="*/ 2285 h 4067"/>
              <a:gd name="T46" fmla="*/ 103 w 960"/>
              <a:gd name="T47" fmla="*/ 2534 h 4067"/>
              <a:gd name="T48" fmla="*/ 96 w 960"/>
              <a:gd name="T49" fmla="*/ 2690 h 4067"/>
              <a:gd name="T50" fmla="*/ 232 w 960"/>
              <a:gd name="T51" fmla="*/ 2827 h 4067"/>
              <a:gd name="T52" fmla="*/ 218 w 960"/>
              <a:gd name="T53" fmla="*/ 3369 h 4067"/>
              <a:gd name="T54" fmla="*/ 170 w 960"/>
              <a:gd name="T55" fmla="*/ 3885 h 4067"/>
              <a:gd name="T56" fmla="*/ 207 w 960"/>
              <a:gd name="T57" fmla="*/ 4056 h 4067"/>
              <a:gd name="T58" fmla="*/ 274 w 960"/>
              <a:gd name="T59" fmla="*/ 4041 h 4067"/>
              <a:gd name="T60" fmla="*/ 293 w 960"/>
              <a:gd name="T61" fmla="*/ 3644 h 4067"/>
              <a:gd name="T62" fmla="*/ 400 w 960"/>
              <a:gd name="T63" fmla="*/ 2968 h 4067"/>
              <a:gd name="T64" fmla="*/ 545 w 960"/>
              <a:gd name="T65" fmla="*/ 2716 h 4067"/>
              <a:gd name="T66" fmla="*/ 563 w 960"/>
              <a:gd name="T67" fmla="*/ 3143 h 4067"/>
              <a:gd name="T68" fmla="*/ 593 w 960"/>
              <a:gd name="T69" fmla="*/ 3614 h 4067"/>
              <a:gd name="T70" fmla="*/ 564 w 960"/>
              <a:gd name="T71" fmla="*/ 3874 h 4067"/>
              <a:gd name="T72" fmla="*/ 623 w 960"/>
              <a:gd name="T73" fmla="*/ 3930 h 4067"/>
              <a:gd name="T74" fmla="*/ 693 w 960"/>
              <a:gd name="T75" fmla="*/ 4026 h 4067"/>
              <a:gd name="T76" fmla="*/ 797 w 960"/>
              <a:gd name="T77" fmla="*/ 4030 h 4067"/>
              <a:gd name="T78" fmla="*/ 712 w 960"/>
              <a:gd name="T79" fmla="*/ 3836 h 4067"/>
              <a:gd name="T80" fmla="*/ 726 w 960"/>
              <a:gd name="T81" fmla="*/ 3087 h 4067"/>
              <a:gd name="T82" fmla="*/ 726 w 960"/>
              <a:gd name="T83" fmla="*/ 2694 h 4067"/>
              <a:gd name="T84" fmla="*/ 834 w 960"/>
              <a:gd name="T85" fmla="*/ 2664 h 4067"/>
              <a:gd name="T86" fmla="*/ 671 w 960"/>
              <a:gd name="T87" fmla="*/ 835 h 4067"/>
              <a:gd name="T88" fmla="*/ 596 w 960"/>
              <a:gd name="T89" fmla="*/ 782 h 4067"/>
              <a:gd name="T90" fmla="*/ 530 w 960"/>
              <a:gd name="T91" fmla="*/ 794 h 4067"/>
              <a:gd name="T92" fmla="*/ 519 w 960"/>
              <a:gd name="T93" fmla="*/ 972 h 4067"/>
              <a:gd name="T94" fmla="*/ 467 w 960"/>
              <a:gd name="T95" fmla="*/ 1410 h 4067"/>
              <a:gd name="T96" fmla="*/ 426 w 960"/>
              <a:gd name="T97" fmla="*/ 998 h 4067"/>
              <a:gd name="T98" fmla="*/ 359 w 960"/>
              <a:gd name="T99" fmla="*/ 782 h 4067"/>
              <a:gd name="T100" fmla="*/ 285 w 960"/>
              <a:gd name="T101" fmla="*/ 805 h 4067"/>
              <a:gd name="T102" fmla="*/ 285 w 960"/>
              <a:gd name="T103" fmla="*/ 727 h 4067"/>
              <a:gd name="T104" fmla="*/ 318 w 960"/>
              <a:gd name="T105" fmla="*/ 623 h 4067"/>
              <a:gd name="T106" fmla="*/ 456 w 960"/>
              <a:gd name="T107" fmla="*/ 838 h 4067"/>
              <a:gd name="T108" fmla="*/ 500 w 960"/>
              <a:gd name="T109" fmla="*/ 734 h 4067"/>
              <a:gd name="T110" fmla="*/ 619 w 960"/>
              <a:gd name="T111" fmla="*/ 623 h 4067"/>
              <a:gd name="T112" fmla="*/ 634 w 960"/>
              <a:gd name="T113" fmla="*/ 742 h 4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60" h="4067">
                <a:moveTo>
                  <a:pt x="960" y="1432"/>
                </a:moveTo>
                <a:cubicBezTo>
                  <a:pt x="960" y="1388"/>
                  <a:pt x="956" y="1343"/>
                  <a:pt x="956" y="1343"/>
                </a:cubicBezTo>
                <a:cubicBezTo>
                  <a:pt x="949" y="1250"/>
                  <a:pt x="949" y="1250"/>
                  <a:pt x="949" y="1250"/>
                </a:cubicBezTo>
                <a:cubicBezTo>
                  <a:pt x="938" y="1153"/>
                  <a:pt x="938" y="1153"/>
                  <a:pt x="938" y="1153"/>
                </a:cubicBezTo>
                <a:cubicBezTo>
                  <a:pt x="927" y="1061"/>
                  <a:pt x="927" y="1061"/>
                  <a:pt x="927" y="1061"/>
                </a:cubicBezTo>
                <a:cubicBezTo>
                  <a:pt x="916" y="979"/>
                  <a:pt x="916" y="979"/>
                  <a:pt x="916" y="979"/>
                </a:cubicBezTo>
                <a:cubicBezTo>
                  <a:pt x="901" y="913"/>
                  <a:pt x="901" y="913"/>
                  <a:pt x="901" y="913"/>
                </a:cubicBezTo>
                <a:cubicBezTo>
                  <a:pt x="890" y="864"/>
                  <a:pt x="890" y="864"/>
                  <a:pt x="890" y="864"/>
                </a:cubicBezTo>
                <a:cubicBezTo>
                  <a:pt x="867" y="805"/>
                  <a:pt x="867" y="805"/>
                  <a:pt x="867" y="805"/>
                </a:cubicBezTo>
                <a:cubicBezTo>
                  <a:pt x="849" y="757"/>
                  <a:pt x="849" y="757"/>
                  <a:pt x="849" y="757"/>
                </a:cubicBezTo>
                <a:cubicBezTo>
                  <a:pt x="838" y="734"/>
                  <a:pt x="838" y="734"/>
                  <a:pt x="838" y="734"/>
                </a:cubicBezTo>
                <a:cubicBezTo>
                  <a:pt x="823" y="712"/>
                  <a:pt x="823" y="712"/>
                  <a:pt x="823" y="712"/>
                </a:cubicBezTo>
                <a:cubicBezTo>
                  <a:pt x="804" y="690"/>
                  <a:pt x="804" y="690"/>
                  <a:pt x="804" y="690"/>
                </a:cubicBezTo>
                <a:cubicBezTo>
                  <a:pt x="782" y="671"/>
                  <a:pt x="782" y="671"/>
                  <a:pt x="782" y="671"/>
                </a:cubicBezTo>
                <a:cubicBezTo>
                  <a:pt x="760" y="656"/>
                  <a:pt x="760" y="656"/>
                  <a:pt x="760" y="656"/>
                </a:cubicBezTo>
                <a:cubicBezTo>
                  <a:pt x="738" y="645"/>
                  <a:pt x="738" y="645"/>
                  <a:pt x="738" y="645"/>
                </a:cubicBezTo>
                <a:cubicBezTo>
                  <a:pt x="689" y="634"/>
                  <a:pt x="689" y="634"/>
                  <a:pt x="689" y="634"/>
                </a:cubicBezTo>
                <a:cubicBezTo>
                  <a:pt x="660" y="627"/>
                  <a:pt x="660" y="627"/>
                  <a:pt x="660" y="627"/>
                </a:cubicBezTo>
                <a:cubicBezTo>
                  <a:pt x="641" y="615"/>
                  <a:pt x="641" y="615"/>
                  <a:pt x="641" y="615"/>
                </a:cubicBezTo>
                <a:cubicBezTo>
                  <a:pt x="630" y="608"/>
                  <a:pt x="630" y="608"/>
                  <a:pt x="630" y="608"/>
                </a:cubicBezTo>
                <a:cubicBezTo>
                  <a:pt x="626" y="601"/>
                  <a:pt x="626" y="601"/>
                  <a:pt x="626" y="601"/>
                </a:cubicBezTo>
                <a:cubicBezTo>
                  <a:pt x="630" y="593"/>
                  <a:pt x="630" y="593"/>
                  <a:pt x="630" y="593"/>
                </a:cubicBezTo>
                <a:cubicBezTo>
                  <a:pt x="634" y="586"/>
                  <a:pt x="634" y="586"/>
                  <a:pt x="634" y="586"/>
                </a:cubicBezTo>
                <a:cubicBezTo>
                  <a:pt x="641" y="586"/>
                  <a:pt x="641" y="586"/>
                  <a:pt x="641" y="586"/>
                </a:cubicBezTo>
                <a:cubicBezTo>
                  <a:pt x="652" y="586"/>
                  <a:pt x="652" y="586"/>
                  <a:pt x="652" y="586"/>
                </a:cubicBezTo>
                <a:cubicBezTo>
                  <a:pt x="663" y="582"/>
                  <a:pt x="663" y="582"/>
                  <a:pt x="663" y="582"/>
                </a:cubicBezTo>
                <a:cubicBezTo>
                  <a:pt x="678" y="579"/>
                  <a:pt x="678" y="579"/>
                  <a:pt x="678" y="579"/>
                </a:cubicBezTo>
                <a:cubicBezTo>
                  <a:pt x="689" y="567"/>
                  <a:pt x="689" y="567"/>
                  <a:pt x="689" y="567"/>
                </a:cubicBezTo>
                <a:cubicBezTo>
                  <a:pt x="701" y="552"/>
                  <a:pt x="701" y="552"/>
                  <a:pt x="701" y="552"/>
                </a:cubicBezTo>
                <a:cubicBezTo>
                  <a:pt x="704" y="530"/>
                  <a:pt x="704" y="530"/>
                  <a:pt x="704" y="530"/>
                </a:cubicBezTo>
                <a:cubicBezTo>
                  <a:pt x="708" y="504"/>
                  <a:pt x="708" y="504"/>
                  <a:pt x="708" y="504"/>
                </a:cubicBezTo>
                <a:cubicBezTo>
                  <a:pt x="704" y="474"/>
                  <a:pt x="704" y="474"/>
                  <a:pt x="704" y="474"/>
                </a:cubicBezTo>
                <a:cubicBezTo>
                  <a:pt x="700" y="439"/>
                  <a:pt x="700" y="439"/>
                  <a:pt x="700" y="439"/>
                </a:cubicBezTo>
                <a:cubicBezTo>
                  <a:pt x="704" y="449"/>
                  <a:pt x="704" y="449"/>
                  <a:pt x="704" y="449"/>
                </a:cubicBezTo>
                <a:cubicBezTo>
                  <a:pt x="712" y="482"/>
                  <a:pt x="712" y="482"/>
                  <a:pt x="712" y="482"/>
                </a:cubicBezTo>
                <a:cubicBezTo>
                  <a:pt x="715" y="515"/>
                  <a:pt x="715" y="515"/>
                  <a:pt x="715" y="515"/>
                </a:cubicBezTo>
                <a:cubicBezTo>
                  <a:pt x="712" y="530"/>
                  <a:pt x="712" y="530"/>
                  <a:pt x="712" y="530"/>
                </a:cubicBezTo>
                <a:cubicBezTo>
                  <a:pt x="712" y="545"/>
                  <a:pt x="712" y="545"/>
                  <a:pt x="712" y="545"/>
                </a:cubicBezTo>
                <a:cubicBezTo>
                  <a:pt x="719" y="523"/>
                  <a:pt x="719" y="523"/>
                  <a:pt x="719" y="523"/>
                </a:cubicBezTo>
                <a:cubicBezTo>
                  <a:pt x="719" y="497"/>
                  <a:pt x="719" y="497"/>
                  <a:pt x="719" y="497"/>
                </a:cubicBezTo>
                <a:cubicBezTo>
                  <a:pt x="715" y="460"/>
                  <a:pt x="715" y="460"/>
                  <a:pt x="715" y="460"/>
                </a:cubicBezTo>
                <a:cubicBezTo>
                  <a:pt x="701" y="415"/>
                  <a:pt x="701" y="415"/>
                  <a:pt x="701" y="415"/>
                </a:cubicBezTo>
                <a:cubicBezTo>
                  <a:pt x="696" y="406"/>
                  <a:pt x="696" y="406"/>
                  <a:pt x="696" y="406"/>
                </a:cubicBezTo>
                <a:cubicBezTo>
                  <a:pt x="695" y="389"/>
                  <a:pt x="695" y="389"/>
                  <a:pt x="695" y="389"/>
                </a:cubicBezTo>
                <a:cubicBezTo>
                  <a:pt x="701" y="400"/>
                  <a:pt x="701" y="400"/>
                  <a:pt x="701" y="400"/>
                </a:cubicBezTo>
                <a:cubicBezTo>
                  <a:pt x="723" y="445"/>
                  <a:pt x="723" y="445"/>
                  <a:pt x="723" y="445"/>
                </a:cubicBezTo>
                <a:cubicBezTo>
                  <a:pt x="715" y="426"/>
                  <a:pt x="715" y="426"/>
                  <a:pt x="715" y="426"/>
                </a:cubicBezTo>
                <a:cubicBezTo>
                  <a:pt x="701" y="374"/>
                  <a:pt x="701" y="374"/>
                  <a:pt x="701" y="374"/>
                </a:cubicBezTo>
                <a:cubicBezTo>
                  <a:pt x="693" y="341"/>
                  <a:pt x="693" y="341"/>
                  <a:pt x="693" y="341"/>
                </a:cubicBezTo>
                <a:cubicBezTo>
                  <a:pt x="685" y="300"/>
                  <a:pt x="685" y="300"/>
                  <a:pt x="685" y="300"/>
                </a:cubicBezTo>
                <a:cubicBezTo>
                  <a:pt x="685" y="267"/>
                  <a:pt x="685" y="267"/>
                  <a:pt x="685" y="267"/>
                </a:cubicBezTo>
                <a:cubicBezTo>
                  <a:pt x="685" y="248"/>
                  <a:pt x="685" y="248"/>
                  <a:pt x="685" y="248"/>
                </a:cubicBezTo>
                <a:cubicBezTo>
                  <a:pt x="685" y="247"/>
                  <a:pt x="685" y="247"/>
                  <a:pt x="685" y="247"/>
                </a:cubicBezTo>
                <a:cubicBezTo>
                  <a:pt x="685" y="241"/>
                  <a:pt x="685" y="241"/>
                  <a:pt x="685" y="241"/>
                </a:cubicBezTo>
                <a:cubicBezTo>
                  <a:pt x="682" y="185"/>
                  <a:pt x="682" y="185"/>
                  <a:pt x="682" y="185"/>
                </a:cubicBezTo>
                <a:cubicBezTo>
                  <a:pt x="678" y="137"/>
                  <a:pt x="678" y="137"/>
                  <a:pt x="678" y="137"/>
                </a:cubicBezTo>
                <a:cubicBezTo>
                  <a:pt x="674" y="118"/>
                  <a:pt x="674" y="118"/>
                  <a:pt x="674" y="118"/>
                </a:cubicBezTo>
                <a:cubicBezTo>
                  <a:pt x="667" y="103"/>
                  <a:pt x="667" y="103"/>
                  <a:pt x="667" y="103"/>
                </a:cubicBezTo>
                <a:cubicBezTo>
                  <a:pt x="652" y="74"/>
                  <a:pt x="652" y="74"/>
                  <a:pt x="652" y="74"/>
                </a:cubicBezTo>
                <a:cubicBezTo>
                  <a:pt x="637" y="55"/>
                  <a:pt x="637" y="55"/>
                  <a:pt x="637" y="55"/>
                </a:cubicBezTo>
                <a:cubicBezTo>
                  <a:pt x="623" y="37"/>
                  <a:pt x="623" y="37"/>
                  <a:pt x="623" y="37"/>
                </a:cubicBezTo>
                <a:cubicBezTo>
                  <a:pt x="604" y="22"/>
                  <a:pt x="604" y="22"/>
                  <a:pt x="604" y="22"/>
                </a:cubicBezTo>
                <a:cubicBezTo>
                  <a:pt x="582" y="11"/>
                  <a:pt x="582" y="11"/>
                  <a:pt x="582" y="11"/>
                </a:cubicBezTo>
                <a:cubicBezTo>
                  <a:pt x="556" y="0"/>
                  <a:pt x="556" y="0"/>
                  <a:pt x="556" y="0"/>
                </a:cubicBezTo>
                <a:cubicBezTo>
                  <a:pt x="526" y="0"/>
                  <a:pt x="526" y="0"/>
                  <a:pt x="526" y="0"/>
                </a:cubicBezTo>
                <a:cubicBezTo>
                  <a:pt x="489" y="0"/>
                  <a:pt x="489" y="0"/>
                  <a:pt x="489" y="0"/>
                </a:cubicBezTo>
                <a:cubicBezTo>
                  <a:pt x="452" y="3"/>
                  <a:pt x="452" y="3"/>
                  <a:pt x="452" y="3"/>
                </a:cubicBezTo>
                <a:cubicBezTo>
                  <a:pt x="411" y="14"/>
                  <a:pt x="411" y="14"/>
                  <a:pt x="411" y="14"/>
                </a:cubicBezTo>
                <a:cubicBezTo>
                  <a:pt x="393" y="22"/>
                  <a:pt x="393" y="22"/>
                  <a:pt x="393" y="22"/>
                </a:cubicBezTo>
                <a:cubicBezTo>
                  <a:pt x="374" y="33"/>
                  <a:pt x="374" y="33"/>
                  <a:pt x="374" y="33"/>
                </a:cubicBezTo>
                <a:cubicBezTo>
                  <a:pt x="356" y="44"/>
                  <a:pt x="356" y="44"/>
                  <a:pt x="356" y="44"/>
                </a:cubicBezTo>
                <a:cubicBezTo>
                  <a:pt x="337" y="59"/>
                  <a:pt x="337" y="59"/>
                  <a:pt x="337" y="59"/>
                </a:cubicBezTo>
                <a:cubicBezTo>
                  <a:pt x="322" y="78"/>
                  <a:pt x="322" y="78"/>
                  <a:pt x="322" y="78"/>
                </a:cubicBezTo>
                <a:cubicBezTo>
                  <a:pt x="307" y="100"/>
                  <a:pt x="307" y="100"/>
                  <a:pt x="307" y="100"/>
                </a:cubicBezTo>
                <a:cubicBezTo>
                  <a:pt x="296" y="126"/>
                  <a:pt x="296" y="126"/>
                  <a:pt x="296" y="126"/>
                </a:cubicBezTo>
                <a:cubicBezTo>
                  <a:pt x="289" y="151"/>
                  <a:pt x="289" y="151"/>
                  <a:pt x="289" y="151"/>
                </a:cubicBezTo>
                <a:cubicBezTo>
                  <a:pt x="281" y="185"/>
                  <a:pt x="281" y="185"/>
                  <a:pt x="281" y="185"/>
                </a:cubicBezTo>
                <a:cubicBezTo>
                  <a:pt x="278" y="222"/>
                  <a:pt x="278" y="222"/>
                  <a:pt x="278" y="222"/>
                </a:cubicBezTo>
                <a:cubicBezTo>
                  <a:pt x="275" y="295"/>
                  <a:pt x="275" y="295"/>
                  <a:pt x="275" y="295"/>
                </a:cubicBezTo>
                <a:cubicBezTo>
                  <a:pt x="274" y="315"/>
                  <a:pt x="274" y="315"/>
                  <a:pt x="274" y="315"/>
                </a:cubicBezTo>
                <a:cubicBezTo>
                  <a:pt x="263" y="337"/>
                  <a:pt x="263" y="337"/>
                  <a:pt x="263" y="337"/>
                </a:cubicBezTo>
                <a:cubicBezTo>
                  <a:pt x="252" y="359"/>
                  <a:pt x="252" y="359"/>
                  <a:pt x="252" y="359"/>
                </a:cubicBezTo>
                <a:cubicBezTo>
                  <a:pt x="233" y="378"/>
                  <a:pt x="233" y="378"/>
                  <a:pt x="233" y="378"/>
                </a:cubicBezTo>
                <a:cubicBezTo>
                  <a:pt x="240" y="378"/>
                  <a:pt x="240" y="378"/>
                  <a:pt x="240" y="378"/>
                </a:cubicBezTo>
                <a:cubicBezTo>
                  <a:pt x="248" y="371"/>
                  <a:pt x="248" y="371"/>
                  <a:pt x="248" y="371"/>
                </a:cubicBezTo>
                <a:cubicBezTo>
                  <a:pt x="256" y="365"/>
                  <a:pt x="256" y="365"/>
                  <a:pt x="256" y="365"/>
                </a:cubicBezTo>
                <a:cubicBezTo>
                  <a:pt x="252" y="371"/>
                  <a:pt x="252" y="371"/>
                  <a:pt x="252" y="371"/>
                </a:cubicBezTo>
                <a:cubicBezTo>
                  <a:pt x="240" y="389"/>
                  <a:pt x="240" y="389"/>
                  <a:pt x="240" y="389"/>
                </a:cubicBezTo>
                <a:cubicBezTo>
                  <a:pt x="226" y="412"/>
                  <a:pt x="226" y="412"/>
                  <a:pt x="226" y="412"/>
                </a:cubicBezTo>
                <a:cubicBezTo>
                  <a:pt x="211" y="441"/>
                  <a:pt x="211" y="441"/>
                  <a:pt x="211" y="441"/>
                </a:cubicBezTo>
                <a:cubicBezTo>
                  <a:pt x="204" y="471"/>
                  <a:pt x="204" y="471"/>
                  <a:pt x="204" y="471"/>
                </a:cubicBezTo>
                <a:cubicBezTo>
                  <a:pt x="200" y="485"/>
                  <a:pt x="200" y="485"/>
                  <a:pt x="200" y="485"/>
                </a:cubicBezTo>
                <a:cubicBezTo>
                  <a:pt x="204" y="504"/>
                  <a:pt x="204" y="504"/>
                  <a:pt x="204" y="504"/>
                </a:cubicBezTo>
                <a:cubicBezTo>
                  <a:pt x="204" y="519"/>
                  <a:pt x="204" y="519"/>
                  <a:pt x="204" y="519"/>
                </a:cubicBezTo>
                <a:cubicBezTo>
                  <a:pt x="211" y="534"/>
                  <a:pt x="211" y="534"/>
                  <a:pt x="211" y="534"/>
                </a:cubicBezTo>
                <a:cubicBezTo>
                  <a:pt x="207" y="519"/>
                  <a:pt x="207" y="519"/>
                  <a:pt x="207" y="519"/>
                </a:cubicBezTo>
                <a:cubicBezTo>
                  <a:pt x="207" y="504"/>
                  <a:pt x="207" y="504"/>
                  <a:pt x="207" y="504"/>
                </a:cubicBezTo>
                <a:cubicBezTo>
                  <a:pt x="207" y="482"/>
                  <a:pt x="207" y="482"/>
                  <a:pt x="207" y="482"/>
                </a:cubicBezTo>
                <a:cubicBezTo>
                  <a:pt x="215" y="456"/>
                  <a:pt x="215" y="456"/>
                  <a:pt x="215" y="456"/>
                </a:cubicBezTo>
                <a:cubicBezTo>
                  <a:pt x="226" y="430"/>
                  <a:pt x="226" y="430"/>
                  <a:pt x="226" y="430"/>
                </a:cubicBezTo>
                <a:cubicBezTo>
                  <a:pt x="242" y="404"/>
                  <a:pt x="242" y="404"/>
                  <a:pt x="242" y="404"/>
                </a:cubicBezTo>
                <a:cubicBezTo>
                  <a:pt x="233" y="426"/>
                  <a:pt x="233" y="426"/>
                  <a:pt x="233" y="426"/>
                </a:cubicBezTo>
                <a:cubicBezTo>
                  <a:pt x="222" y="456"/>
                  <a:pt x="222" y="456"/>
                  <a:pt x="222" y="456"/>
                </a:cubicBezTo>
                <a:cubicBezTo>
                  <a:pt x="218" y="485"/>
                  <a:pt x="218" y="485"/>
                  <a:pt x="218" y="485"/>
                </a:cubicBezTo>
                <a:cubicBezTo>
                  <a:pt x="218" y="501"/>
                  <a:pt x="218" y="501"/>
                  <a:pt x="218" y="501"/>
                </a:cubicBezTo>
                <a:cubicBezTo>
                  <a:pt x="218" y="515"/>
                  <a:pt x="218" y="515"/>
                  <a:pt x="218" y="515"/>
                </a:cubicBezTo>
                <a:cubicBezTo>
                  <a:pt x="222" y="530"/>
                  <a:pt x="222" y="530"/>
                  <a:pt x="222" y="530"/>
                </a:cubicBezTo>
                <a:cubicBezTo>
                  <a:pt x="229" y="545"/>
                  <a:pt x="229" y="545"/>
                  <a:pt x="229" y="545"/>
                </a:cubicBezTo>
                <a:cubicBezTo>
                  <a:pt x="240" y="556"/>
                  <a:pt x="240" y="556"/>
                  <a:pt x="240" y="556"/>
                </a:cubicBezTo>
                <a:cubicBezTo>
                  <a:pt x="256" y="571"/>
                  <a:pt x="256" y="571"/>
                  <a:pt x="256" y="571"/>
                </a:cubicBezTo>
                <a:cubicBezTo>
                  <a:pt x="274" y="582"/>
                  <a:pt x="274" y="582"/>
                  <a:pt x="274" y="582"/>
                </a:cubicBezTo>
                <a:cubicBezTo>
                  <a:pt x="275" y="583"/>
                  <a:pt x="275" y="583"/>
                  <a:pt x="275" y="583"/>
                </a:cubicBezTo>
                <a:cubicBezTo>
                  <a:pt x="278" y="586"/>
                  <a:pt x="278" y="586"/>
                  <a:pt x="278" y="586"/>
                </a:cubicBezTo>
                <a:cubicBezTo>
                  <a:pt x="281" y="593"/>
                  <a:pt x="281" y="593"/>
                  <a:pt x="281" y="593"/>
                </a:cubicBezTo>
                <a:cubicBezTo>
                  <a:pt x="281" y="604"/>
                  <a:pt x="281" y="604"/>
                  <a:pt x="281" y="604"/>
                </a:cubicBezTo>
                <a:cubicBezTo>
                  <a:pt x="278" y="612"/>
                  <a:pt x="278" y="612"/>
                  <a:pt x="278" y="612"/>
                </a:cubicBezTo>
                <a:cubicBezTo>
                  <a:pt x="274" y="619"/>
                  <a:pt x="274" y="619"/>
                  <a:pt x="274" y="619"/>
                </a:cubicBezTo>
                <a:cubicBezTo>
                  <a:pt x="252" y="630"/>
                  <a:pt x="252" y="630"/>
                  <a:pt x="252" y="630"/>
                </a:cubicBezTo>
                <a:cubicBezTo>
                  <a:pt x="215" y="641"/>
                  <a:pt x="215" y="641"/>
                  <a:pt x="215" y="641"/>
                </a:cubicBezTo>
                <a:cubicBezTo>
                  <a:pt x="155" y="652"/>
                  <a:pt x="155" y="652"/>
                  <a:pt x="155" y="652"/>
                </a:cubicBezTo>
                <a:cubicBezTo>
                  <a:pt x="122" y="656"/>
                  <a:pt x="122" y="656"/>
                  <a:pt x="122" y="656"/>
                </a:cubicBezTo>
                <a:cubicBezTo>
                  <a:pt x="92" y="671"/>
                  <a:pt x="92" y="671"/>
                  <a:pt x="92" y="671"/>
                </a:cubicBezTo>
                <a:cubicBezTo>
                  <a:pt x="70" y="690"/>
                  <a:pt x="70" y="690"/>
                  <a:pt x="70" y="690"/>
                </a:cubicBezTo>
                <a:cubicBezTo>
                  <a:pt x="51" y="712"/>
                  <a:pt x="51" y="712"/>
                  <a:pt x="51" y="712"/>
                </a:cubicBezTo>
                <a:cubicBezTo>
                  <a:pt x="33" y="738"/>
                  <a:pt x="33" y="738"/>
                  <a:pt x="33" y="738"/>
                </a:cubicBezTo>
                <a:cubicBezTo>
                  <a:pt x="22" y="768"/>
                  <a:pt x="22" y="768"/>
                  <a:pt x="22" y="768"/>
                </a:cubicBezTo>
                <a:cubicBezTo>
                  <a:pt x="18" y="801"/>
                  <a:pt x="18" y="801"/>
                  <a:pt x="18" y="801"/>
                </a:cubicBezTo>
                <a:cubicBezTo>
                  <a:pt x="14" y="835"/>
                  <a:pt x="14" y="835"/>
                  <a:pt x="14" y="835"/>
                </a:cubicBezTo>
                <a:cubicBezTo>
                  <a:pt x="11" y="1002"/>
                  <a:pt x="11" y="1002"/>
                  <a:pt x="11" y="1002"/>
                </a:cubicBezTo>
                <a:cubicBezTo>
                  <a:pt x="11" y="1002"/>
                  <a:pt x="0" y="1352"/>
                  <a:pt x="0" y="1416"/>
                </a:cubicBezTo>
                <a:cubicBezTo>
                  <a:pt x="0" y="1480"/>
                  <a:pt x="148" y="1751"/>
                  <a:pt x="148" y="1751"/>
                </a:cubicBezTo>
                <a:cubicBezTo>
                  <a:pt x="151" y="1877"/>
                  <a:pt x="151" y="1877"/>
                  <a:pt x="151" y="1877"/>
                </a:cubicBezTo>
                <a:cubicBezTo>
                  <a:pt x="155" y="1963"/>
                  <a:pt x="155" y="1963"/>
                  <a:pt x="155" y="1963"/>
                </a:cubicBezTo>
                <a:cubicBezTo>
                  <a:pt x="151" y="2033"/>
                  <a:pt x="151" y="2033"/>
                  <a:pt x="151" y="2033"/>
                </a:cubicBezTo>
                <a:cubicBezTo>
                  <a:pt x="137" y="2122"/>
                  <a:pt x="137" y="2122"/>
                  <a:pt x="137" y="2122"/>
                </a:cubicBezTo>
                <a:cubicBezTo>
                  <a:pt x="133" y="2167"/>
                  <a:pt x="133" y="2167"/>
                  <a:pt x="133" y="2167"/>
                </a:cubicBezTo>
                <a:cubicBezTo>
                  <a:pt x="129" y="2211"/>
                  <a:pt x="129" y="2211"/>
                  <a:pt x="129" y="2211"/>
                </a:cubicBezTo>
                <a:cubicBezTo>
                  <a:pt x="126" y="2285"/>
                  <a:pt x="126" y="2285"/>
                  <a:pt x="126" y="2285"/>
                </a:cubicBezTo>
                <a:cubicBezTo>
                  <a:pt x="126" y="2341"/>
                  <a:pt x="126" y="2341"/>
                  <a:pt x="126" y="2341"/>
                </a:cubicBezTo>
                <a:cubicBezTo>
                  <a:pt x="122" y="2374"/>
                  <a:pt x="122" y="2374"/>
                  <a:pt x="122" y="2374"/>
                </a:cubicBezTo>
                <a:cubicBezTo>
                  <a:pt x="118" y="2400"/>
                  <a:pt x="118" y="2400"/>
                  <a:pt x="118" y="2400"/>
                </a:cubicBezTo>
                <a:cubicBezTo>
                  <a:pt x="118" y="2430"/>
                  <a:pt x="118" y="2430"/>
                  <a:pt x="118" y="2430"/>
                </a:cubicBezTo>
                <a:cubicBezTo>
                  <a:pt x="111" y="2475"/>
                  <a:pt x="111" y="2475"/>
                  <a:pt x="111" y="2475"/>
                </a:cubicBezTo>
                <a:cubicBezTo>
                  <a:pt x="103" y="2534"/>
                  <a:pt x="103" y="2534"/>
                  <a:pt x="103" y="2534"/>
                </a:cubicBezTo>
                <a:cubicBezTo>
                  <a:pt x="89" y="2594"/>
                  <a:pt x="89" y="2594"/>
                  <a:pt x="89" y="2594"/>
                </a:cubicBezTo>
                <a:cubicBezTo>
                  <a:pt x="85" y="2642"/>
                  <a:pt x="85" y="2642"/>
                  <a:pt x="85" y="2642"/>
                </a:cubicBezTo>
                <a:cubicBezTo>
                  <a:pt x="85" y="2660"/>
                  <a:pt x="85" y="2660"/>
                  <a:pt x="85" y="2660"/>
                </a:cubicBezTo>
                <a:cubicBezTo>
                  <a:pt x="85" y="2675"/>
                  <a:pt x="85" y="2675"/>
                  <a:pt x="85" y="2675"/>
                </a:cubicBezTo>
                <a:cubicBezTo>
                  <a:pt x="89" y="2683"/>
                  <a:pt x="89" y="2683"/>
                  <a:pt x="89" y="2683"/>
                </a:cubicBezTo>
                <a:cubicBezTo>
                  <a:pt x="96" y="2690"/>
                  <a:pt x="96" y="2690"/>
                  <a:pt x="96" y="2690"/>
                </a:cubicBezTo>
                <a:cubicBezTo>
                  <a:pt x="159" y="2694"/>
                  <a:pt x="159" y="2694"/>
                  <a:pt x="159" y="2694"/>
                </a:cubicBezTo>
                <a:cubicBezTo>
                  <a:pt x="200" y="2697"/>
                  <a:pt x="200" y="2697"/>
                  <a:pt x="200" y="2697"/>
                </a:cubicBezTo>
                <a:cubicBezTo>
                  <a:pt x="207" y="2716"/>
                  <a:pt x="207" y="2716"/>
                  <a:pt x="207" y="2716"/>
                </a:cubicBezTo>
                <a:cubicBezTo>
                  <a:pt x="226" y="2764"/>
                  <a:pt x="226" y="2764"/>
                  <a:pt x="226" y="2764"/>
                </a:cubicBezTo>
                <a:cubicBezTo>
                  <a:pt x="229" y="2798"/>
                  <a:pt x="229" y="2798"/>
                  <a:pt x="229" y="2798"/>
                </a:cubicBezTo>
                <a:cubicBezTo>
                  <a:pt x="232" y="2827"/>
                  <a:pt x="232" y="2827"/>
                  <a:pt x="232" y="2827"/>
                </a:cubicBezTo>
                <a:cubicBezTo>
                  <a:pt x="232" y="2857"/>
                  <a:pt x="232" y="2857"/>
                  <a:pt x="232" y="2857"/>
                </a:cubicBezTo>
                <a:cubicBezTo>
                  <a:pt x="232" y="2883"/>
                  <a:pt x="232" y="2883"/>
                  <a:pt x="232" y="2883"/>
                </a:cubicBezTo>
                <a:cubicBezTo>
                  <a:pt x="226" y="2998"/>
                  <a:pt x="226" y="2998"/>
                  <a:pt x="226" y="2998"/>
                </a:cubicBezTo>
                <a:cubicBezTo>
                  <a:pt x="215" y="3068"/>
                  <a:pt x="215" y="3068"/>
                  <a:pt x="215" y="3068"/>
                </a:cubicBezTo>
                <a:cubicBezTo>
                  <a:pt x="215" y="3143"/>
                  <a:pt x="215" y="3143"/>
                  <a:pt x="215" y="3143"/>
                </a:cubicBezTo>
                <a:cubicBezTo>
                  <a:pt x="218" y="3369"/>
                  <a:pt x="218" y="3369"/>
                  <a:pt x="218" y="3369"/>
                </a:cubicBezTo>
                <a:cubicBezTo>
                  <a:pt x="218" y="3488"/>
                  <a:pt x="218" y="3488"/>
                  <a:pt x="218" y="3488"/>
                </a:cubicBezTo>
                <a:cubicBezTo>
                  <a:pt x="215" y="3562"/>
                  <a:pt x="215" y="3562"/>
                  <a:pt x="215" y="3562"/>
                </a:cubicBezTo>
                <a:cubicBezTo>
                  <a:pt x="200" y="3707"/>
                  <a:pt x="200" y="3707"/>
                  <a:pt x="200" y="3707"/>
                </a:cubicBezTo>
                <a:cubicBezTo>
                  <a:pt x="189" y="3792"/>
                  <a:pt x="189" y="3792"/>
                  <a:pt x="189" y="3792"/>
                </a:cubicBezTo>
                <a:cubicBezTo>
                  <a:pt x="178" y="3855"/>
                  <a:pt x="178" y="3855"/>
                  <a:pt x="178" y="3855"/>
                </a:cubicBezTo>
                <a:cubicBezTo>
                  <a:pt x="170" y="3885"/>
                  <a:pt x="170" y="3885"/>
                  <a:pt x="170" y="3885"/>
                </a:cubicBezTo>
                <a:cubicBezTo>
                  <a:pt x="170" y="3918"/>
                  <a:pt x="170" y="3918"/>
                  <a:pt x="170" y="3918"/>
                </a:cubicBezTo>
                <a:cubicBezTo>
                  <a:pt x="170" y="3955"/>
                  <a:pt x="170" y="3955"/>
                  <a:pt x="170" y="3955"/>
                </a:cubicBezTo>
                <a:cubicBezTo>
                  <a:pt x="174" y="3989"/>
                  <a:pt x="174" y="3989"/>
                  <a:pt x="174" y="3989"/>
                </a:cubicBezTo>
                <a:cubicBezTo>
                  <a:pt x="185" y="4022"/>
                  <a:pt x="185" y="4022"/>
                  <a:pt x="185" y="4022"/>
                </a:cubicBezTo>
                <a:cubicBezTo>
                  <a:pt x="200" y="4044"/>
                  <a:pt x="200" y="4044"/>
                  <a:pt x="200" y="4044"/>
                </a:cubicBezTo>
                <a:cubicBezTo>
                  <a:pt x="207" y="4056"/>
                  <a:pt x="207" y="4056"/>
                  <a:pt x="207" y="4056"/>
                </a:cubicBezTo>
                <a:cubicBezTo>
                  <a:pt x="218" y="4063"/>
                  <a:pt x="218" y="4063"/>
                  <a:pt x="218" y="4063"/>
                </a:cubicBezTo>
                <a:cubicBezTo>
                  <a:pt x="229" y="4067"/>
                  <a:pt x="229" y="4067"/>
                  <a:pt x="229" y="4067"/>
                </a:cubicBezTo>
                <a:cubicBezTo>
                  <a:pt x="244" y="4067"/>
                  <a:pt x="244" y="4067"/>
                  <a:pt x="244" y="4067"/>
                </a:cubicBezTo>
                <a:cubicBezTo>
                  <a:pt x="256" y="4063"/>
                  <a:pt x="256" y="4063"/>
                  <a:pt x="256" y="4063"/>
                </a:cubicBezTo>
                <a:cubicBezTo>
                  <a:pt x="267" y="4052"/>
                  <a:pt x="267" y="4052"/>
                  <a:pt x="267" y="4052"/>
                </a:cubicBezTo>
                <a:cubicBezTo>
                  <a:pt x="274" y="4041"/>
                  <a:pt x="274" y="4041"/>
                  <a:pt x="274" y="4041"/>
                </a:cubicBezTo>
                <a:cubicBezTo>
                  <a:pt x="281" y="4026"/>
                  <a:pt x="281" y="4026"/>
                  <a:pt x="281" y="4026"/>
                </a:cubicBezTo>
                <a:cubicBezTo>
                  <a:pt x="293" y="3989"/>
                  <a:pt x="293" y="3989"/>
                  <a:pt x="293" y="3989"/>
                </a:cubicBezTo>
                <a:cubicBezTo>
                  <a:pt x="296" y="3948"/>
                  <a:pt x="296" y="3948"/>
                  <a:pt x="296" y="3948"/>
                </a:cubicBezTo>
                <a:cubicBezTo>
                  <a:pt x="289" y="3803"/>
                  <a:pt x="289" y="3803"/>
                  <a:pt x="289" y="3803"/>
                </a:cubicBezTo>
                <a:cubicBezTo>
                  <a:pt x="289" y="3696"/>
                  <a:pt x="289" y="3696"/>
                  <a:pt x="289" y="3696"/>
                </a:cubicBezTo>
                <a:cubicBezTo>
                  <a:pt x="293" y="3644"/>
                  <a:pt x="293" y="3644"/>
                  <a:pt x="293" y="3644"/>
                </a:cubicBezTo>
                <a:cubicBezTo>
                  <a:pt x="300" y="3592"/>
                  <a:pt x="300" y="3592"/>
                  <a:pt x="300" y="3592"/>
                </a:cubicBezTo>
                <a:cubicBezTo>
                  <a:pt x="356" y="3291"/>
                  <a:pt x="356" y="3291"/>
                  <a:pt x="356" y="3291"/>
                </a:cubicBezTo>
                <a:cubicBezTo>
                  <a:pt x="385" y="3135"/>
                  <a:pt x="385" y="3135"/>
                  <a:pt x="385" y="3135"/>
                </a:cubicBezTo>
                <a:cubicBezTo>
                  <a:pt x="393" y="3079"/>
                  <a:pt x="393" y="3079"/>
                  <a:pt x="393" y="3079"/>
                </a:cubicBezTo>
                <a:cubicBezTo>
                  <a:pt x="396" y="3042"/>
                  <a:pt x="396" y="3042"/>
                  <a:pt x="396" y="3042"/>
                </a:cubicBezTo>
                <a:cubicBezTo>
                  <a:pt x="400" y="2968"/>
                  <a:pt x="400" y="2968"/>
                  <a:pt x="400" y="2968"/>
                </a:cubicBezTo>
                <a:cubicBezTo>
                  <a:pt x="404" y="2872"/>
                  <a:pt x="404" y="2872"/>
                  <a:pt x="404" y="2872"/>
                </a:cubicBezTo>
                <a:cubicBezTo>
                  <a:pt x="411" y="2779"/>
                  <a:pt x="411" y="2779"/>
                  <a:pt x="411" y="2779"/>
                </a:cubicBezTo>
                <a:cubicBezTo>
                  <a:pt x="411" y="2720"/>
                  <a:pt x="411" y="2720"/>
                  <a:pt x="411" y="2720"/>
                </a:cubicBezTo>
                <a:cubicBezTo>
                  <a:pt x="467" y="2723"/>
                  <a:pt x="467" y="2723"/>
                  <a:pt x="467" y="2723"/>
                </a:cubicBezTo>
                <a:cubicBezTo>
                  <a:pt x="504" y="2720"/>
                  <a:pt x="504" y="2720"/>
                  <a:pt x="504" y="2720"/>
                </a:cubicBezTo>
                <a:cubicBezTo>
                  <a:pt x="545" y="2716"/>
                  <a:pt x="545" y="2716"/>
                  <a:pt x="545" y="2716"/>
                </a:cubicBezTo>
                <a:cubicBezTo>
                  <a:pt x="565" y="2715"/>
                  <a:pt x="565" y="2715"/>
                  <a:pt x="565" y="2715"/>
                </a:cubicBezTo>
                <a:cubicBezTo>
                  <a:pt x="574" y="2757"/>
                  <a:pt x="574" y="2757"/>
                  <a:pt x="574" y="2757"/>
                </a:cubicBezTo>
                <a:cubicBezTo>
                  <a:pt x="578" y="2783"/>
                  <a:pt x="578" y="2783"/>
                  <a:pt x="578" y="2783"/>
                </a:cubicBezTo>
                <a:cubicBezTo>
                  <a:pt x="578" y="2823"/>
                  <a:pt x="578" y="2823"/>
                  <a:pt x="578" y="2823"/>
                </a:cubicBezTo>
                <a:cubicBezTo>
                  <a:pt x="567" y="3039"/>
                  <a:pt x="567" y="3039"/>
                  <a:pt x="567" y="3039"/>
                </a:cubicBezTo>
                <a:cubicBezTo>
                  <a:pt x="563" y="3143"/>
                  <a:pt x="563" y="3143"/>
                  <a:pt x="563" y="3143"/>
                </a:cubicBezTo>
                <a:cubicBezTo>
                  <a:pt x="563" y="3184"/>
                  <a:pt x="563" y="3184"/>
                  <a:pt x="563" y="3184"/>
                </a:cubicBezTo>
                <a:cubicBezTo>
                  <a:pt x="567" y="3217"/>
                  <a:pt x="567" y="3217"/>
                  <a:pt x="567" y="3217"/>
                </a:cubicBezTo>
                <a:cubicBezTo>
                  <a:pt x="578" y="3306"/>
                  <a:pt x="578" y="3306"/>
                  <a:pt x="578" y="3306"/>
                </a:cubicBezTo>
                <a:cubicBezTo>
                  <a:pt x="589" y="3432"/>
                  <a:pt x="589" y="3432"/>
                  <a:pt x="589" y="3432"/>
                </a:cubicBezTo>
                <a:cubicBezTo>
                  <a:pt x="593" y="3562"/>
                  <a:pt x="593" y="3562"/>
                  <a:pt x="593" y="3562"/>
                </a:cubicBezTo>
                <a:cubicBezTo>
                  <a:pt x="593" y="3614"/>
                  <a:pt x="593" y="3614"/>
                  <a:pt x="593" y="3614"/>
                </a:cubicBezTo>
                <a:cubicBezTo>
                  <a:pt x="593" y="3658"/>
                  <a:pt x="593" y="3658"/>
                  <a:pt x="593" y="3658"/>
                </a:cubicBezTo>
                <a:cubicBezTo>
                  <a:pt x="589" y="3688"/>
                  <a:pt x="589" y="3688"/>
                  <a:pt x="589" y="3688"/>
                </a:cubicBezTo>
                <a:cubicBezTo>
                  <a:pt x="582" y="3714"/>
                  <a:pt x="582" y="3714"/>
                  <a:pt x="582" y="3714"/>
                </a:cubicBezTo>
                <a:cubicBezTo>
                  <a:pt x="571" y="3755"/>
                  <a:pt x="571" y="3755"/>
                  <a:pt x="571" y="3755"/>
                </a:cubicBezTo>
                <a:cubicBezTo>
                  <a:pt x="563" y="3785"/>
                  <a:pt x="563" y="3785"/>
                  <a:pt x="563" y="3785"/>
                </a:cubicBezTo>
                <a:cubicBezTo>
                  <a:pt x="564" y="3874"/>
                  <a:pt x="564" y="3874"/>
                  <a:pt x="564" y="3874"/>
                </a:cubicBezTo>
                <a:cubicBezTo>
                  <a:pt x="581" y="3874"/>
                  <a:pt x="581" y="3874"/>
                  <a:pt x="581" y="3874"/>
                </a:cubicBezTo>
                <a:cubicBezTo>
                  <a:pt x="589" y="3839"/>
                  <a:pt x="589" y="3839"/>
                  <a:pt x="589" y="3839"/>
                </a:cubicBezTo>
                <a:cubicBezTo>
                  <a:pt x="604" y="3866"/>
                  <a:pt x="604" y="3866"/>
                  <a:pt x="604" y="3866"/>
                </a:cubicBezTo>
                <a:cubicBezTo>
                  <a:pt x="619" y="3900"/>
                  <a:pt x="619" y="3900"/>
                  <a:pt x="619" y="3900"/>
                </a:cubicBezTo>
                <a:cubicBezTo>
                  <a:pt x="623" y="3914"/>
                  <a:pt x="623" y="3914"/>
                  <a:pt x="623" y="3914"/>
                </a:cubicBezTo>
                <a:cubicBezTo>
                  <a:pt x="623" y="3930"/>
                  <a:pt x="623" y="3930"/>
                  <a:pt x="623" y="3930"/>
                </a:cubicBezTo>
                <a:cubicBezTo>
                  <a:pt x="623" y="3944"/>
                  <a:pt x="623" y="3944"/>
                  <a:pt x="623" y="3944"/>
                </a:cubicBezTo>
                <a:cubicBezTo>
                  <a:pt x="626" y="3963"/>
                  <a:pt x="626" y="3963"/>
                  <a:pt x="626" y="3963"/>
                </a:cubicBezTo>
                <a:cubicBezTo>
                  <a:pt x="634" y="3981"/>
                  <a:pt x="634" y="3981"/>
                  <a:pt x="634" y="3981"/>
                </a:cubicBezTo>
                <a:cubicBezTo>
                  <a:pt x="645" y="3996"/>
                  <a:pt x="645" y="3996"/>
                  <a:pt x="645" y="3996"/>
                </a:cubicBezTo>
                <a:cubicBezTo>
                  <a:pt x="667" y="4015"/>
                  <a:pt x="667" y="4015"/>
                  <a:pt x="667" y="4015"/>
                </a:cubicBezTo>
                <a:cubicBezTo>
                  <a:pt x="693" y="4026"/>
                  <a:pt x="693" y="4026"/>
                  <a:pt x="693" y="4026"/>
                </a:cubicBezTo>
                <a:cubicBezTo>
                  <a:pt x="726" y="4037"/>
                  <a:pt x="726" y="4037"/>
                  <a:pt x="726" y="4037"/>
                </a:cubicBezTo>
                <a:cubicBezTo>
                  <a:pt x="771" y="4041"/>
                  <a:pt x="771" y="4041"/>
                  <a:pt x="771" y="4041"/>
                </a:cubicBezTo>
                <a:cubicBezTo>
                  <a:pt x="782" y="4041"/>
                  <a:pt x="782" y="4041"/>
                  <a:pt x="782" y="4041"/>
                </a:cubicBezTo>
                <a:cubicBezTo>
                  <a:pt x="790" y="4037"/>
                  <a:pt x="790" y="4037"/>
                  <a:pt x="790" y="4037"/>
                </a:cubicBezTo>
                <a:cubicBezTo>
                  <a:pt x="793" y="4033"/>
                  <a:pt x="793" y="4033"/>
                  <a:pt x="793" y="4033"/>
                </a:cubicBezTo>
                <a:cubicBezTo>
                  <a:pt x="797" y="4030"/>
                  <a:pt x="797" y="4030"/>
                  <a:pt x="797" y="4030"/>
                </a:cubicBezTo>
                <a:cubicBezTo>
                  <a:pt x="797" y="4015"/>
                  <a:pt x="797" y="4015"/>
                  <a:pt x="797" y="4015"/>
                </a:cubicBezTo>
                <a:cubicBezTo>
                  <a:pt x="790" y="3992"/>
                  <a:pt x="790" y="3992"/>
                  <a:pt x="790" y="3992"/>
                </a:cubicBezTo>
                <a:cubicBezTo>
                  <a:pt x="763" y="3944"/>
                  <a:pt x="763" y="3944"/>
                  <a:pt x="763" y="3944"/>
                </a:cubicBezTo>
                <a:cubicBezTo>
                  <a:pt x="734" y="3892"/>
                  <a:pt x="734" y="3892"/>
                  <a:pt x="734" y="3892"/>
                </a:cubicBezTo>
                <a:cubicBezTo>
                  <a:pt x="723" y="3866"/>
                  <a:pt x="723" y="3866"/>
                  <a:pt x="723" y="3866"/>
                </a:cubicBezTo>
                <a:cubicBezTo>
                  <a:pt x="712" y="3836"/>
                  <a:pt x="712" y="3836"/>
                  <a:pt x="712" y="3836"/>
                </a:cubicBezTo>
                <a:cubicBezTo>
                  <a:pt x="693" y="3770"/>
                  <a:pt x="693" y="3770"/>
                  <a:pt x="693" y="3770"/>
                </a:cubicBezTo>
                <a:cubicBezTo>
                  <a:pt x="682" y="3710"/>
                  <a:pt x="682" y="3710"/>
                  <a:pt x="682" y="3710"/>
                </a:cubicBezTo>
                <a:cubicBezTo>
                  <a:pt x="678" y="3658"/>
                  <a:pt x="678" y="3658"/>
                  <a:pt x="678" y="3658"/>
                </a:cubicBezTo>
                <a:cubicBezTo>
                  <a:pt x="704" y="3376"/>
                  <a:pt x="704" y="3376"/>
                  <a:pt x="704" y="3376"/>
                </a:cubicBezTo>
                <a:cubicBezTo>
                  <a:pt x="723" y="3176"/>
                  <a:pt x="723" y="3176"/>
                  <a:pt x="723" y="3176"/>
                </a:cubicBezTo>
                <a:cubicBezTo>
                  <a:pt x="726" y="3087"/>
                  <a:pt x="726" y="3087"/>
                  <a:pt x="726" y="3087"/>
                </a:cubicBezTo>
                <a:cubicBezTo>
                  <a:pt x="730" y="3013"/>
                  <a:pt x="730" y="3013"/>
                  <a:pt x="730" y="3013"/>
                </a:cubicBezTo>
                <a:cubicBezTo>
                  <a:pt x="730" y="2894"/>
                  <a:pt x="730" y="2894"/>
                  <a:pt x="730" y="2894"/>
                </a:cubicBezTo>
                <a:cubicBezTo>
                  <a:pt x="726" y="2790"/>
                  <a:pt x="726" y="2790"/>
                  <a:pt x="726" y="2790"/>
                </a:cubicBezTo>
                <a:cubicBezTo>
                  <a:pt x="726" y="2720"/>
                  <a:pt x="726" y="2720"/>
                  <a:pt x="726" y="2720"/>
                </a:cubicBezTo>
                <a:cubicBezTo>
                  <a:pt x="726" y="2701"/>
                  <a:pt x="726" y="2701"/>
                  <a:pt x="726" y="2701"/>
                </a:cubicBezTo>
                <a:cubicBezTo>
                  <a:pt x="726" y="2694"/>
                  <a:pt x="726" y="2694"/>
                  <a:pt x="726" y="2694"/>
                </a:cubicBezTo>
                <a:cubicBezTo>
                  <a:pt x="734" y="2694"/>
                  <a:pt x="734" y="2694"/>
                  <a:pt x="734" y="2694"/>
                </a:cubicBezTo>
                <a:cubicBezTo>
                  <a:pt x="790" y="2690"/>
                  <a:pt x="790" y="2690"/>
                  <a:pt x="790" y="2690"/>
                </a:cubicBezTo>
                <a:cubicBezTo>
                  <a:pt x="808" y="2686"/>
                  <a:pt x="808" y="2686"/>
                  <a:pt x="808" y="2686"/>
                </a:cubicBezTo>
                <a:cubicBezTo>
                  <a:pt x="823" y="2683"/>
                  <a:pt x="823" y="2683"/>
                  <a:pt x="823" y="2683"/>
                </a:cubicBezTo>
                <a:cubicBezTo>
                  <a:pt x="830" y="2675"/>
                  <a:pt x="830" y="2675"/>
                  <a:pt x="830" y="2675"/>
                </a:cubicBezTo>
                <a:cubicBezTo>
                  <a:pt x="834" y="2664"/>
                  <a:pt x="834" y="2664"/>
                  <a:pt x="834" y="2664"/>
                </a:cubicBezTo>
                <a:cubicBezTo>
                  <a:pt x="852" y="2293"/>
                  <a:pt x="852" y="2293"/>
                  <a:pt x="852" y="2293"/>
                </a:cubicBezTo>
                <a:cubicBezTo>
                  <a:pt x="860" y="2029"/>
                  <a:pt x="860" y="2029"/>
                  <a:pt x="860" y="2029"/>
                </a:cubicBezTo>
                <a:cubicBezTo>
                  <a:pt x="860" y="1926"/>
                  <a:pt x="860" y="1926"/>
                  <a:pt x="860" y="1926"/>
                </a:cubicBezTo>
                <a:cubicBezTo>
                  <a:pt x="852" y="1862"/>
                  <a:pt x="852" y="1862"/>
                  <a:pt x="852" y="1862"/>
                </a:cubicBezTo>
                <a:cubicBezTo>
                  <a:pt x="852" y="1862"/>
                  <a:pt x="960" y="1496"/>
                  <a:pt x="960" y="1432"/>
                </a:cubicBezTo>
                <a:close/>
                <a:moveTo>
                  <a:pt x="671" y="835"/>
                </a:moveTo>
                <a:cubicBezTo>
                  <a:pt x="671" y="846"/>
                  <a:pt x="671" y="846"/>
                  <a:pt x="671" y="846"/>
                </a:cubicBezTo>
                <a:cubicBezTo>
                  <a:pt x="656" y="838"/>
                  <a:pt x="656" y="838"/>
                  <a:pt x="656" y="838"/>
                </a:cubicBezTo>
                <a:cubicBezTo>
                  <a:pt x="641" y="831"/>
                  <a:pt x="641" y="831"/>
                  <a:pt x="641" y="831"/>
                </a:cubicBezTo>
                <a:cubicBezTo>
                  <a:pt x="623" y="812"/>
                  <a:pt x="623" y="812"/>
                  <a:pt x="623" y="812"/>
                </a:cubicBezTo>
                <a:cubicBezTo>
                  <a:pt x="604" y="794"/>
                  <a:pt x="604" y="794"/>
                  <a:pt x="604" y="794"/>
                </a:cubicBezTo>
                <a:cubicBezTo>
                  <a:pt x="596" y="782"/>
                  <a:pt x="596" y="782"/>
                  <a:pt x="596" y="782"/>
                </a:cubicBezTo>
                <a:cubicBezTo>
                  <a:pt x="585" y="779"/>
                  <a:pt x="585" y="779"/>
                  <a:pt x="585" y="779"/>
                </a:cubicBezTo>
                <a:cubicBezTo>
                  <a:pt x="567" y="771"/>
                  <a:pt x="567" y="771"/>
                  <a:pt x="567" y="771"/>
                </a:cubicBezTo>
                <a:cubicBezTo>
                  <a:pt x="556" y="771"/>
                  <a:pt x="556" y="771"/>
                  <a:pt x="556" y="771"/>
                </a:cubicBezTo>
                <a:cubicBezTo>
                  <a:pt x="545" y="775"/>
                  <a:pt x="545" y="775"/>
                  <a:pt x="545" y="775"/>
                </a:cubicBezTo>
                <a:cubicBezTo>
                  <a:pt x="534" y="782"/>
                  <a:pt x="534" y="782"/>
                  <a:pt x="534" y="782"/>
                </a:cubicBezTo>
                <a:cubicBezTo>
                  <a:pt x="530" y="794"/>
                  <a:pt x="530" y="794"/>
                  <a:pt x="530" y="794"/>
                </a:cubicBezTo>
                <a:cubicBezTo>
                  <a:pt x="523" y="808"/>
                  <a:pt x="523" y="808"/>
                  <a:pt x="523" y="808"/>
                </a:cubicBezTo>
                <a:cubicBezTo>
                  <a:pt x="519" y="838"/>
                  <a:pt x="519" y="838"/>
                  <a:pt x="519" y="838"/>
                </a:cubicBezTo>
                <a:cubicBezTo>
                  <a:pt x="519" y="875"/>
                  <a:pt x="519" y="875"/>
                  <a:pt x="519" y="875"/>
                </a:cubicBezTo>
                <a:cubicBezTo>
                  <a:pt x="519" y="913"/>
                  <a:pt x="519" y="913"/>
                  <a:pt x="519" y="913"/>
                </a:cubicBezTo>
                <a:cubicBezTo>
                  <a:pt x="519" y="946"/>
                  <a:pt x="519" y="946"/>
                  <a:pt x="519" y="946"/>
                </a:cubicBezTo>
                <a:cubicBezTo>
                  <a:pt x="519" y="972"/>
                  <a:pt x="519" y="972"/>
                  <a:pt x="519" y="972"/>
                </a:cubicBezTo>
                <a:cubicBezTo>
                  <a:pt x="500" y="1087"/>
                  <a:pt x="500" y="1087"/>
                  <a:pt x="500" y="1087"/>
                </a:cubicBezTo>
                <a:cubicBezTo>
                  <a:pt x="493" y="1142"/>
                  <a:pt x="493" y="1142"/>
                  <a:pt x="493" y="1142"/>
                </a:cubicBezTo>
                <a:cubicBezTo>
                  <a:pt x="493" y="1202"/>
                  <a:pt x="493" y="1202"/>
                  <a:pt x="493" y="1202"/>
                </a:cubicBezTo>
                <a:cubicBezTo>
                  <a:pt x="489" y="1254"/>
                  <a:pt x="489" y="1254"/>
                  <a:pt x="489" y="1254"/>
                </a:cubicBezTo>
                <a:cubicBezTo>
                  <a:pt x="482" y="1306"/>
                  <a:pt x="482" y="1306"/>
                  <a:pt x="482" y="1306"/>
                </a:cubicBezTo>
                <a:cubicBezTo>
                  <a:pt x="467" y="1410"/>
                  <a:pt x="467" y="1410"/>
                  <a:pt x="467" y="1410"/>
                </a:cubicBezTo>
                <a:cubicBezTo>
                  <a:pt x="452" y="1343"/>
                  <a:pt x="452" y="1343"/>
                  <a:pt x="452" y="1343"/>
                </a:cubicBezTo>
                <a:cubicBezTo>
                  <a:pt x="441" y="1276"/>
                  <a:pt x="441" y="1276"/>
                  <a:pt x="441" y="1276"/>
                </a:cubicBezTo>
                <a:cubicBezTo>
                  <a:pt x="434" y="1206"/>
                  <a:pt x="434" y="1206"/>
                  <a:pt x="434" y="1206"/>
                </a:cubicBezTo>
                <a:cubicBezTo>
                  <a:pt x="434" y="1135"/>
                  <a:pt x="434" y="1135"/>
                  <a:pt x="434" y="1135"/>
                </a:cubicBezTo>
                <a:cubicBezTo>
                  <a:pt x="430" y="1064"/>
                  <a:pt x="430" y="1064"/>
                  <a:pt x="430" y="1064"/>
                </a:cubicBezTo>
                <a:cubicBezTo>
                  <a:pt x="426" y="998"/>
                  <a:pt x="426" y="998"/>
                  <a:pt x="426" y="998"/>
                </a:cubicBezTo>
                <a:cubicBezTo>
                  <a:pt x="415" y="931"/>
                  <a:pt x="415" y="931"/>
                  <a:pt x="415" y="931"/>
                </a:cubicBezTo>
                <a:cubicBezTo>
                  <a:pt x="400" y="864"/>
                  <a:pt x="400" y="864"/>
                  <a:pt x="400" y="864"/>
                </a:cubicBezTo>
                <a:cubicBezTo>
                  <a:pt x="393" y="835"/>
                  <a:pt x="393" y="835"/>
                  <a:pt x="393" y="835"/>
                </a:cubicBezTo>
                <a:cubicBezTo>
                  <a:pt x="382" y="805"/>
                  <a:pt x="382" y="805"/>
                  <a:pt x="382" y="805"/>
                </a:cubicBezTo>
                <a:cubicBezTo>
                  <a:pt x="370" y="790"/>
                  <a:pt x="370" y="790"/>
                  <a:pt x="370" y="790"/>
                </a:cubicBezTo>
                <a:cubicBezTo>
                  <a:pt x="359" y="782"/>
                  <a:pt x="359" y="782"/>
                  <a:pt x="359" y="782"/>
                </a:cubicBezTo>
                <a:cubicBezTo>
                  <a:pt x="348" y="775"/>
                  <a:pt x="348" y="775"/>
                  <a:pt x="348" y="775"/>
                </a:cubicBezTo>
                <a:cubicBezTo>
                  <a:pt x="329" y="779"/>
                  <a:pt x="329" y="779"/>
                  <a:pt x="329" y="779"/>
                </a:cubicBezTo>
                <a:cubicBezTo>
                  <a:pt x="315" y="782"/>
                  <a:pt x="315" y="782"/>
                  <a:pt x="315" y="782"/>
                </a:cubicBezTo>
                <a:cubicBezTo>
                  <a:pt x="304" y="786"/>
                  <a:pt x="304" y="786"/>
                  <a:pt x="304" y="786"/>
                </a:cubicBezTo>
                <a:cubicBezTo>
                  <a:pt x="293" y="797"/>
                  <a:pt x="293" y="797"/>
                  <a:pt x="293" y="797"/>
                </a:cubicBezTo>
                <a:cubicBezTo>
                  <a:pt x="285" y="805"/>
                  <a:pt x="285" y="805"/>
                  <a:pt x="285" y="805"/>
                </a:cubicBezTo>
                <a:cubicBezTo>
                  <a:pt x="278" y="808"/>
                  <a:pt x="278" y="808"/>
                  <a:pt x="278" y="808"/>
                </a:cubicBezTo>
                <a:cubicBezTo>
                  <a:pt x="263" y="808"/>
                  <a:pt x="263" y="808"/>
                  <a:pt x="263" y="808"/>
                </a:cubicBezTo>
                <a:cubicBezTo>
                  <a:pt x="244" y="808"/>
                  <a:pt x="244" y="808"/>
                  <a:pt x="244" y="808"/>
                </a:cubicBezTo>
                <a:cubicBezTo>
                  <a:pt x="252" y="786"/>
                  <a:pt x="252" y="786"/>
                  <a:pt x="252" y="786"/>
                </a:cubicBezTo>
                <a:cubicBezTo>
                  <a:pt x="263" y="764"/>
                  <a:pt x="263" y="764"/>
                  <a:pt x="263" y="764"/>
                </a:cubicBezTo>
                <a:cubicBezTo>
                  <a:pt x="285" y="727"/>
                  <a:pt x="285" y="727"/>
                  <a:pt x="285" y="727"/>
                </a:cubicBezTo>
                <a:cubicBezTo>
                  <a:pt x="293" y="708"/>
                  <a:pt x="293" y="708"/>
                  <a:pt x="293" y="708"/>
                </a:cubicBezTo>
                <a:cubicBezTo>
                  <a:pt x="296" y="686"/>
                  <a:pt x="296" y="686"/>
                  <a:pt x="296" y="686"/>
                </a:cubicBezTo>
                <a:cubicBezTo>
                  <a:pt x="296" y="664"/>
                  <a:pt x="296" y="664"/>
                  <a:pt x="296" y="664"/>
                </a:cubicBezTo>
                <a:cubicBezTo>
                  <a:pt x="293" y="638"/>
                  <a:pt x="293" y="638"/>
                  <a:pt x="293" y="638"/>
                </a:cubicBezTo>
                <a:cubicBezTo>
                  <a:pt x="304" y="604"/>
                  <a:pt x="304" y="604"/>
                  <a:pt x="304" y="604"/>
                </a:cubicBezTo>
                <a:cubicBezTo>
                  <a:pt x="318" y="623"/>
                  <a:pt x="318" y="623"/>
                  <a:pt x="318" y="623"/>
                </a:cubicBezTo>
                <a:cubicBezTo>
                  <a:pt x="337" y="649"/>
                  <a:pt x="337" y="649"/>
                  <a:pt x="337" y="649"/>
                </a:cubicBezTo>
                <a:cubicBezTo>
                  <a:pt x="374" y="716"/>
                  <a:pt x="374" y="716"/>
                  <a:pt x="374" y="716"/>
                </a:cubicBezTo>
                <a:cubicBezTo>
                  <a:pt x="415" y="782"/>
                  <a:pt x="415" y="782"/>
                  <a:pt x="415" y="782"/>
                </a:cubicBezTo>
                <a:cubicBezTo>
                  <a:pt x="434" y="812"/>
                  <a:pt x="434" y="812"/>
                  <a:pt x="434" y="812"/>
                </a:cubicBezTo>
                <a:cubicBezTo>
                  <a:pt x="452" y="835"/>
                  <a:pt x="452" y="835"/>
                  <a:pt x="452" y="835"/>
                </a:cubicBezTo>
                <a:cubicBezTo>
                  <a:pt x="456" y="838"/>
                  <a:pt x="456" y="838"/>
                  <a:pt x="456" y="838"/>
                </a:cubicBezTo>
                <a:cubicBezTo>
                  <a:pt x="463" y="838"/>
                  <a:pt x="463" y="838"/>
                  <a:pt x="463" y="838"/>
                </a:cubicBezTo>
                <a:cubicBezTo>
                  <a:pt x="471" y="831"/>
                  <a:pt x="471" y="831"/>
                  <a:pt x="471" y="831"/>
                </a:cubicBezTo>
                <a:cubicBezTo>
                  <a:pt x="478" y="816"/>
                  <a:pt x="478" y="816"/>
                  <a:pt x="478" y="816"/>
                </a:cubicBezTo>
                <a:cubicBezTo>
                  <a:pt x="482" y="794"/>
                  <a:pt x="482" y="794"/>
                  <a:pt x="482" y="794"/>
                </a:cubicBezTo>
                <a:cubicBezTo>
                  <a:pt x="496" y="749"/>
                  <a:pt x="496" y="749"/>
                  <a:pt x="496" y="749"/>
                </a:cubicBezTo>
                <a:cubicBezTo>
                  <a:pt x="500" y="734"/>
                  <a:pt x="500" y="734"/>
                  <a:pt x="500" y="734"/>
                </a:cubicBezTo>
                <a:cubicBezTo>
                  <a:pt x="507" y="723"/>
                  <a:pt x="507" y="723"/>
                  <a:pt x="507" y="723"/>
                </a:cubicBezTo>
                <a:cubicBezTo>
                  <a:pt x="556" y="664"/>
                  <a:pt x="556" y="664"/>
                  <a:pt x="556" y="664"/>
                </a:cubicBezTo>
                <a:cubicBezTo>
                  <a:pt x="589" y="630"/>
                  <a:pt x="589" y="630"/>
                  <a:pt x="589" y="630"/>
                </a:cubicBezTo>
                <a:cubicBezTo>
                  <a:pt x="600" y="623"/>
                  <a:pt x="600" y="623"/>
                  <a:pt x="600" y="623"/>
                </a:cubicBezTo>
                <a:cubicBezTo>
                  <a:pt x="612" y="619"/>
                  <a:pt x="612" y="619"/>
                  <a:pt x="612" y="619"/>
                </a:cubicBezTo>
                <a:cubicBezTo>
                  <a:pt x="619" y="623"/>
                  <a:pt x="619" y="623"/>
                  <a:pt x="619" y="623"/>
                </a:cubicBezTo>
                <a:cubicBezTo>
                  <a:pt x="623" y="630"/>
                  <a:pt x="623" y="630"/>
                  <a:pt x="623" y="630"/>
                </a:cubicBezTo>
                <a:cubicBezTo>
                  <a:pt x="630" y="649"/>
                  <a:pt x="630" y="649"/>
                  <a:pt x="630" y="649"/>
                </a:cubicBezTo>
                <a:cubicBezTo>
                  <a:pt x="634" y="686"/>
                  <a:pt x="634" y="686"/>
                  <a:pt x="634" y="686"/>
                </a:cubicBezTo>
                <a:cubicBezTo>
                  <a:pt x="634" y="708"/>
                  <a:pt x="634" y="708"/>
                  <a:pt x="634" y="708"/>
                </a:cubicBezTo>
                <a:cubicBezTo>
                  <a:pt x="634" y="727"/>
                  <a:pt x="634" y="727"/>
                  <a:pt x="634" y="727"/>
                </a:cubicBezTo>
                <a:cubicBezTo>
                  <a:pt x="634" y="742"/>
                  <a:pt x="634" y="742"/>
                  <a:pt x="634" y="742"/>
                </a:cubicBezTo>
                <a:cubicBezTo>
                  <a:pt x="641" y="764"/>
                  <a:pt x="641" y="764"/>
                  <a:pt x="641" y="764"/>
                </a:cubicBezTo>
                <a:cubicBezTo>
                  <a:pt x="652" y="782"/>
                  <a:pt x="652" y="782"/>
                  <a:pt x="652" y="782"/>
                </a:cubicBezTo>
                <a:cubicBezTo>
                  <a:pt x="663" y="801"/>
                  <a:pt x="663" y="801"/>
                  <a:pt x="663" y="801"/>
                </a:cubicBezTo>
                <a:cubicBezTo>
                  <a:pt x="671" y="823"/>
                  <a:pt x="671" y="823"/>
                  <a:pt x="671" y="823"/>
                </a:cubicBezTo>
                <a:lnTo>
                  <a:pt x="671" y="83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62" name="Freeform 88"/>
          <p:cNvSpPr>
            <a:spLocks noChangeAspect="1"/>
          </p:cNvSpPr>
          <p:nvPr>
            <p:custDataLst>
              <p:tags r:id="rId53"/>
            </p:custDataLst>
          </p:nvPr>
        </p:nvSpPr>
        <p:spPr bwMode="gray">
          <a:xfrm flipH="1">
            <a:off x="6835980" y="1995857"/>
            <a:ext cx="211137" cy="581025"/>
          </a:xfrm>
          <a:custGeom>
            <a:avLst/>
            <a:gdLst>
              <a:gd name="T0" fmla="*/ 699 w 741"/>
              <a:gd name="T1" fmla="*/ 1191 h 2046"/>
              <a:gd name="T2" fmla="*/ 642 w 741"/>
              <a:gd name="T3" fmla="*/ 1149 h 2046"/>
              <a:gd name="T4" fmla="*/ 652 w 741"/>
              <a:gd name="T5" fmla="*/ 1033 h 2046"/>
              <a:gd name="T6" fmla="*/ 623 w 741"/>
              <a:gd name="T7" fmla="*/ 553 h 2046"/>
              <a:gd name="T8" fmla="*/ 581 w 741"/>
              <a:gd name="T9" fmla="*/ 374 h 2046"/>
              <a:gd name="T10" fmla="*/ 408 w 741"/>
              <a:gd name="T11" fmla="*/ 298 h 2046"/>
              <a:gd name="T12" fmla="*/ 321 w 741"/>
              <a:gd name="T13" fmla="*/ 504 h 2046"/>
              <a:gd name="T14" fmla="*/ 307 w 741"/>
              <a:gd name="T15" fmla="*/ 350 h 2046"/>
              <a:gd name="T16" fmla="*/ 340 w 741"/>
              <a:gd name="T17" fmla="*/ 305 h 2046"/>
              <a:gd name="T18" fmla="*/ 392 w 741"/>
              <a:gd name="T19" fmla="*/ 260 h 2046"/>
              <a:gd name="T20" fmla="*/ 420 w 741"/>
              <a:gd name="T21" fmla="*/ 175 h 2046"/>
              <a:gd name="T22" fmla="*/ 432 w 741"/>
              <a:gd name="T23" fmla="*/ 71 h 2046"/>
              <a:gd name="T24" fmla="*/ 359 w 741"/>
              <a:gd name="T25" fmla="*/ 3 h 2046"/>
              <a:gd name="T26" fmla="*/ 224 w 741"/>
              <a:gd name="T27" fmla="*/ 52 h 2046"/>
              <a:gd name="T28" fmla="*/ 198 w 741"/>
              <a:gd name="T29" fmla="*/ 126 h 2046"/>
              <a:gd name="T30" fmla="*/ 186 w 741"/>
              <a:gd name="T31" fmla="*/ 189 h 2046"/>
              <a:gd name="T32" fmla="*/ 196 w 741"/>
              <a:gd name="T33" fmla="*/ 230 h 2046"/>
              <a:gd name="T34" fmla="*/ 205 w 741"/>
              <a:gd name="T35" fmla="*/ 277 h 2046"/>
              <a:gd name="T36" fmla="*/ 257 w 741"/>
              <a:gd name="T37" fmla="*/ 308 h 2046"/>
              <a:gd name="T38" fmla="*/ 283 w 741"/>
              <a:gd name="T39" fmla="*/ 329 h 2046"/>
              <a:gd name="T40" fmla="*/ 278 w 741"/>
              <a:gd name="T41" fmla="*/ 367 h 2046"/>
              <a:gd name="T42" fmla="*/ 245 w 741"/>
              <a:gd name="T43" fmla="*/ 317 h 2046"/>
              <a:gd name="T44" fmla="*/ 78 w 741"/>
              <a:gd name="T45" fmla="*/ 390 h 2046"/>
              <a:gd name="T46" fmla="*/ 52 w 741"/>
              <a:gd name="T47" fmla="*/ 489 h 2046"/>
              <a:gd name="T48" fmla="*/ 0 w 741"/>
              <a:gd name="T49" fmla="*/ 1073 h 2046"/>
              <a:gd name="T50" fmla="*/ 16 w 741"/>
              <a:gd name="T51" fmla="*/ 1123 h 2046"/>
              <a:gd name="T52" fmla="*/ 30 w 741"/>
              <a:gd name="T53" fmla="*/ 1229 h 2046"/>
              <a:gd name="T54" fmla="*/ 54 w 741"/>
              <a:gd name="T55" fmla="*/ 1227 h 2046"/>
              <a:gd name="T56" fmla="*/ 94 w 741"/>
              <a:gd name="T57" fmla="*/ 1238 h 2046"/>
              <a:gd name="T58" fmla="*/ 82 w 741"/>
              <a:gd name="T59" fmla="*/ 1208 h 2046"/>
              <a:gd name="T60" fmla="*/ 68 w 741"/>
              <a:gd name="T61" fmla="*/ 1153 h 2046"/>
              <a:gd name="T62" fmla="*/ 85 w 741"/>
              <a:gd name="T63" fmla="*/ 1196 h 2046"/>
              <a:gd name="T64" fmla="*/ 99 w 741"/>
              <a:gd name="T65" fmla="*/ 1094 h 2046"/>
              <a:gd name="T66" fmla="*/ 96 w 741"/>
              <a:gd name="T67" fmla="*/ 1021 h 2046"/>
              <a:gd name="T68" fmla="*/ 125 w 741"/>
              <a:gd name="T69" fmla="*/ 1255 h 2046"/>
              <a:gd name="T70" fmla="*/ 148 w 741"/>
              <a:gd name="T71" fmla="*/ 1817 h 2046"/>
              <a:gd name="T72" fmla="*/ 139 w 741"/>
              <a:gd name="T73" fmla="*/ 1923 h 2046"/>
              <a:gd name="T74" fmla="*/ 120 w 741"/>
              <a:gd name="T75" fmla="*/ 1990 h 2046"/>
              <a:gd name="T76" fmla="*/ 132 w 741"/>
              <a:gd name="T77" fmla="*/ 2030 h 2046"/>
              <a:gd name="T78" fmla="*/ 224 w 741"/>
              <a:gd name="T79" fmla="*/ 2030 h 2046"/>
              <a:gd name="T80" fmla="*/ 259 w 741"/>
              <a:gd name="T81" fmla="*/ 1973 h 2046"/>
              <a:gd name="T82" fmla="*/ 269 w 741"/>
              <a:gd name="T83" fmla="*/ 1897 h 2046"/>
              <a:gd name="T84" fmla="*/ 257 w 741"/>
              <a:gd name="T85" fmla="*/ 1775 h 2046"/>
              <a:gd name="T86" fmla="*/ 293 w 741"/>
              <a:gd name="T87" fmla="*/ 1373 h 2046"/>
              <a:gd name="T88" fmla="*/ 316 w 741"/>
              <a:gd name="T89" fmla="*/ 1224 h 2046"/>
              <a:gd name="T90" fmla="*/ 352 w 741"/>
              <a:gd name="T91" fmla="*/ 1458 h 2046"/>
              <a:gd name="T92" fmla="*/ 382 w 741"/>
              <a:gd name="T93" fmla="*/ 1697 h 2046"/>
              <a:gd name="T94" fmla="*/ 363 w 741"/>
              <a:gd name="T95" fmla="*/ 1810 h 2046"/>
              <a:gd name="T96" fmla="*/ 349 w 741"/>
              <a:gd name="T97" fmla="*/ 1921 h 2046"/>
              <a:gd name="T98" fmla="*/ 368 w 741"/>
              <a:gd name="T99" fmla="*/ 1966 h 2046"/>
              <a:gd name="T100" fmla="*/ 352 w 741"/>
              <a:gd name="T101" fmla="*/ 2030 h 2046"/>
              <a:gd name="T102" fmla="*/ 427 w 741"/>
              <a:gd name="T103" fmla="*/ 2044 h 2046"/>
              <a:gd name="T104" fmla="*/ 474 w 741"/>
              <a:gd name="T105" fmla="*/ 1997 h 2046"/>
              <a:gd name="T106" fmla="*/ 491 w 741"/>
              <a:gd name="T107" fmla="*/ 1919 h 2046"/>
              <a:gd name="T108" fmla="*/ 503 w 741"/>
              <a:gd name="T109" fmla="*/ 1824 h 2046"/>
              <a:gd name="T110" fmla="*/ 635 w 741"/>
              <a:gd name="T111" fmla="*/ 1597 h 2046"/>
              <a:gd name="T112" fmla="*/ 741 w 741"/>
              <a:gd name="T113" fmla="*/ 1491 h 2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41" h="2046">
                <a:moveTo>
                  <a:pt x="739" y="1375"/>
                </a:moveTo>
                <a:lnTo>
                  <a:pt x="732" y="1205"/>
                </a:lnTo>
                <a:lnTo>
                  <a:pt x="730" y="1203"/>
                </a:lnTo>
                <a:lnTo>
                  <a:pt x="725" y="1198"/>
                </a:lnTo>
                <a:lnTo>
                  <a:pt x="713" y="1193"/>
                </a:lnTo>
                <a:lnTo>
                  <a:pt x="699" y="1191"/>
                </a:lnTo>
                <a:lnTo>
                  <a:pt x="687" y="1191"/>
                </a:lnTo>
                <a:lnTo>
                  <a:pt x="635" y="1193"/>
                </a:lnTo>
                <a:lnTo>
                  <a:pt x="633" y="1179"/>
                </a:lnTo>
                <a:lnTo>
                  <a:pt x="628" y="1165"/>
                </a:lnTo>
                <a:lnTo>
                  <a:pt x="640" y="1156"/>
                </a:lnTo>
                <a:lnTo>
                  <a:pt x="642" y="1149"/>
                </a:lnTo>
                <a:lnTo>
                  <a:pt x="645" y="1139"/>
                </a:lnTo>
                <a:lnTo>
                  <a:pt x="647" y="1113"/>
                </a:lnTo>
                <a:lnTo>
                  <a:pt x="647" y="1080"/>
                </a:lnTo>
                <a:lnTo>
                  <a:pt x="649" y="1066"/>
                </a:lnTo>
                <a:lnTo>
                  <a:pt x="652" y="1052"/>
                </a:lnTo>
                <a:lnTo>
                  <a:pt x="652" y="1033"/>
                </a:lnTo>
                <a:lnTo>
                  <a:pt x="652" y="957"/>
                </a:lnTo>
                <a:lnTo>
                  <a:pt x="649" y="846"/>
                </a:lnTo>
                <a:lnTo>
                  <a:pt x="642" y="730"/>
                </a:lnTo>
                <a:lnTo>
                  <a:pt x="637" y="676"/>
                </a:lnTo>
                <a:lnTo>
                  <a:pt x="633" y="629"/>
                </a:lnTo>
                <a:lnTo>
                  <a:pt x="623" y="553"/>
                </a:lnTo>
                <a:lnTo>
                  <a:pt x="619" y="494"/>
                </a:lnTo>
                <a:lnTo>
                  <a:pt x="614" y="423"/>
                </a:lnTo>
                <a:lnTo>
                  <a:pt x="611" y="409"/>
                </a:lnTo>
                <a:lnTo>
                  <a:pt x="604" y="395"/>
                </a:lnTo>
                <a:lnTo>
                  <a:pt x="595" y="386"/>
                </a:lnTo>
                <a:lnTo>
                  <a:pt x="581" y="374"/>
                </a:lnTo>
                <a:lnTo>
                  <a:pt x="567" y="367"/>
                </a:lnTo>
                <a:lnTo>
                  <a:pt x="550" y="357"/>
                </a:lnTo>
                <a:lnTo>
                  <a:pt x="512" y="345"/>
                </a:lnTo>
                <a:lnTo>
                  <a:pt x="477" y="334"/>
                </a:lnTo>
                <a:lnTo>
                  <a:pt x="444" y="317"/>
                </a:lnTo>
                <a:lnTo>
                  <a:pt x="408" y="298"/>
                </a:lnTo>
                <a:lnTo>
                  <a:pt x="399" y="310"/>
                </a:lnTo>
                <a:lnTo>
                  <a:pt x="389" y="326"/>
                </a:lnTo>
                <a:lnTo>
                  <a:pt x="373" y="360"/>
                </a:lnTo>
                <a:lnTo>
                  <a:pt x="356" y="400"/>
                </a:lnTo>
                <a:lnTo>
                  <a:pt x="340" y="445"/>
                </a:lnTo>
                <a:lnTo>
                  <a:pt x="321" y="504"/>
                </a:lnTo>
                <a:lnTo>
                  <a:pt x="300" y="369"/>
                </a:lnTo>
                <a:lnTo>
                  <a:pt x="300" y="367"/>
                </a:lnTo>
                <a:lnTo>
                  <a:pt x="304" y="364"/>
                </a:lnTo>
                <a:lnTo>
                  <a:pt x="309" y="360"/>
                </a:lnTo>
                <a:lnTo>
                  <a:pt x="309" y="355"/>
                </a:lnTo>
                <a:lnTo>
                  <a:pt x="307" y="350"/>
                </a:lnTo>
                <a:lnTo>
                  <a:pt x="304" y="341"/>
                </a:lnTo>
                <a:lnTo>
                  <a:pt x="302" y="334"/>
                </a:lnTo>
                <a:lnTo>
                  <a:pt x="297" y="326"/>
                </a:lnTo>
                <a:lnTo>
                  <a:pt x="309" y="322"/>
                </a:lnTo>
                <a:lnTo>
                  <a:pt x="326" y="315"/>
                </a:lnTo>
                <a:lnTo>
                  <a:pt x="340" y="305"/>
                </a:lnTo>
                <a:lnTo>
                  <a:pt x="356" y="293"/>
                </a:lnTo>
                <a:lnTo>
                  <a:pt x="361" y="289"/>
                </a:lnTo>
                <a:lnTo>
                  <a:pt x="370" y="284"/>
                </a:lnTo>
                <a:lnTo>
                  <a:pt x="385" y="277"/>
                </a:lnTo>
                <a:lnTo>
                  <a:pt x="389" y="270"/>
                </a:lnTo>
                <a:lnTo>
                  <a:pt x="392" y="260"/>
                </a:lnTo>
                <a:lnTo>
                  <a:pt x="392" y="234"/>
                </a:lnTo>
                <a:lnTo>
                  <a:pt x="394" y="223"/>
                </a:lnTo>
                <a:lnTo>
                  <a:pt x="396" y="213"/>
                </a:lnTo>
                <a:lnTo>
                  <a:pt x="401" y="201"/>
                </a:lnTo>
                <a:lnTo>
                  <a:pt x="411" y="189"/>
                </a:lnTo>
                <a:lnTo>
                  <a:pt x="420" y="175"/>
                </a:lnTo>
                <a:lnTo>
                  <a:pt x="430" y="159"/>
                </a:lnTo>
                <a:lnTo>
                  <a:pt x="434" y="135"/>
                </a:lnTo>
                <a:lnTo>
                  <a:pt x="439" y="111"/>
                </a:lnTo>
                <a:lnTo>
                  <a:pt x="439" y="97"/>
                </a:lnTo>
                <a:lnTo>
                  <a:pt x="437" y="85"/>
                </a:lnTo>
                <a:lnTo>
                  <a:pt x="432" y="71"/>
                </a:lnTo>
                <a:lnTo>
                  <a:pt x="425" y="57"/>
                </a:lnTo>
                <a:lnTo>
                  <a:pt x="420" y="48"/>
                </a:lnTo>
                <a:lnTo>
                  <a:pt x="401" y="29"/>
                </a:lnTo>
                <a:lnTo>
                  <a:pt x="389" y="19"/>
                </a:lnTo>
                <a:lnTo>
                  <a:pt x="375" y="10"/>
                </a:lnTo>
                <a:lnTo>
                  <a:pt x="359" y="3"/>
                </a:lnTo>
                <a:lnTo>
                  <a:pt x="342" y="0"/>
                </a:lnTo>
                <a:lnTo>
                  <a:pt x="255" y="15"/>
                </a:lnTo>
                <a:lnTo>
                  <a:pt x="233" y="26"/>
                </a:lnTo>
                <a:lnTo>
                  <a:pt x="224" y="34"/>
                </a:lnTo>
                <a:lnTo>
                  <a:pt x="222" y="41"/>
                </a:lnTo>
                <a:lnTo>
                  <a:pt x="224" y="52"/>
                </a:lnTo>
                <a:lnTo>
                  <a:pt x="226" y="60"/>
                </a:lnTo>
                <a:lnTo>
                  <a:pt x="226" y="64"/>
                </a:lnTo>
                <a:lnTo>
                  <a:pt x="224" y="69"/>
                </a:lnTo>
                <a:lnTo>
                  <a:pt x="205" y="107"/>
                </a:lnTo>
                <a:lnTo>
                  <a:pt x="200" y="116"/>
                </a:lnTo>
                <a:lnTo>
                  <a:pt x="198" y="126"/>
                </a:lnTo>
                <a:lnTo>
                  <a:pt x="198" y="133"/>
                </a:lnTo>
                <a:lnTo>
                  <a:pt x="198" y="142"/>
                </a:lnTo>
                <a:lnTo>
                  <a:pt x="184" y="173"/>
                </a:lnTo>
                <a:lnTo>
                  <a:pt x="181" y="182"/>
                </a:lnTo>
                <a:lnTo>
                  <a:pt x="181" y="187"/>
                </a:lnTo>
                <a:lnTo>
                  <a:pt x="186" y="189"/>
                </a:lnTo>
                <a:lnTo>
                  <a:pt x="193" y="192"/>
                </a:lnTo>
                <a:lnTo>
                  <a:pt x="196" y="194"/>
                </a:lnTo>
                <a:lnTo>
                  <a:pt x="198" y="199"/>
                </a:lnTo>
                <a:lnTo>
                  <a:pt x="196" y="215"/>
                </a:lnTo>
                <a:lnTo>
                  <a:pt x="196" y="227"/>
                </a:lnTo>
                <a:lnTo>
                  <a:pt x="196" y="230"/>
                </a:lnTo>
                <a:lnTo>
                  <a:pt x="198" y="239"/>
                </a:lnTo>
                <a:lnTo>
                  <a:pt x="198" y="248"/>
                </a:lnTo>
                <a:lnTo>
                  <a:pt x="196" y="256"/>
                </a:lnTo>
                <a:lnTo>
                  <a:pt x="198" y="265"/>
                </a:lnTo>
                <a:lnTo>
                  <a:pt x="198" y="267"/>
                </a:lnTo>
                <a:lnTo>
                  <a:pt x="205" y="277"/>
                </a:lnTo>
                <a:lnTo>
                  <a:pt x="210" y="279"/>
                </a:lnTo>
                <a:lnTo>
                  <a:pt x="219" y="284"/>
                </a:lnTo>
                <a:lnTo>
                  <a:pt x="238" y="286"/>
                </a:lnTo>
                <a:lnTo>
                  <a:pt x="248" y="286"/>
                </a:lnTo>
                <a:lnTo>
                  <a:pt x="262" y="286"/>
                </a:lnTo>
                <a:lnTo>
                  <a:pt x="257" y="308"/>
                </a:lnTo>
                <a:lnTo>
                  <a:pt x="257" y="312"/>
                </a:lnTo>
                <a:lnTo>
                  <a:pt x="259" y="317"/>
                </a:lnTo>
                <a:lnTo>
                  <a:pt x="271" y="329"/>
                </a:lnTo>
                <a:lnTo>
                  <a:pt x="276" y="331"/>
                </a:lnTo>
                <a:lnTo>
                  <a:pt x="281" y="329"/>
                </a:lnTo>
                <a:lnTo>
                  <a:pt x="283" y="329"/>
                </a:lnTo>
                <a:lnTo>
                  <a:pt x="278" y="331"/>
                </a:lnTo>
                <a:lnTo>
                  <a:pt x="274" y="341"/>
                </a:lnTo>
                <a:lnTo>
                  <a:pt x="271" y="345"/>
                </a:lnTo>
                <a:lnTo>
                  <a:pt x="269" y="350"/>
                </a:lnTo>
                <a:lnTo>
                  <a:pt x="274" y="360"/>
                </a:lnTo>
                <a:lnTo>
                  <a:pt x="278" y="367"/>
                </a:lnTo>
                <a:lnTo>
                  <a:pt x="250" y="456"/>
                </a:lnTo>
                <a:lnTo>
                  <a:pt x="245" y="471"/>
                </a:lnTo>
                <a:lnTo>
                  <a:pt x="245" y="456"/>
                </a:lnTo>
                <a:lnTo>
                  <a:pt x="243" y="362"/>
                </a:lnTo>
                <a:lnTo>
                  <a:pt x="243" y="331"/>
                </a:lnTo>
                <a:lnTo>
                  <a:pt x="245" y="317"/>
                </a:lnTo>
                <a:lnTo>
                  <a:pt x="248" y="315"/>
                </a:lnTo>
                <a:lnTo>
                  <a:pt x="229" y="322"/>
                </a:lnTo>
                <a:lnTo>
                  <a:pt x="172" y="345"/>
                </a:lnTo>
                <a:lnTo>
                  <a:pt x="115" y="369"/>
                </a:lnTo>
                <a:lnTo>
                  <a:pt x="92" y="381"/>
                </a:lnTo>
                <a:lnTo>
                  <a:pt x="78" y="390"/>
                </a:lnTo>
                <a:lnTo>
                  <a:pt x="70" y="397"/>
                </a:lnTo>
                <a:lnTo>
                  <a:pt x="66" y="407"/>
                </a:lnTo>
                <a:lnTo>
                  <a:pt x="61" y="419"/>
                </a:lnTo>
                <a:lnTo>
                  <a:pt x="59" y="430"/>
                </a:lnTo>
                <a:lnTo>
                  <a:pt x="56" y="459"/>
                </a:lnTo>
                <a:lnTo>
                  <a:pt x="52" y="489"/>
                </a:lnTo>
                <a:lnTo>
                  <a:pt x="37" y="650"/>
                </a:lnTo>
                <a:lnTo>
                  <a:pt x="28" y="726"/>
                </a:lnTo>
                <a:lnTo>
                  <a:pt x="21" y="785"/>
                </a:lnTo>
                <a:lnTo>
                  <a:pt x="16" y="851"/>
                </a:lnTo>
                <a:lnTo>
                  <a:pt x="7" y="990"/>
                </a:lnTo>
                <a:lnTo>
                  <a:pt x="0" y="1073"/>
                </a:lnTo>
                <a:lnTo>
                  <a:pt x="2" y="1078"/>
                </a:lnTo>
                <a:lnTo>
                  <a:pt x="2" y="1082"/>
                </a:lnTo>
                <a:lnTo>
                  <a:pt x="9" y="1089"/>
                </a:lnTo>
                <a:lnTo>
                  <a:pt x="16" y="1094"/>
                </a:lnTo>
                <a:lnTo>
                  <a:pt x="18" y="1097"/>
                </a:lnTo>
                <a:lnTo>
                  <a:pt x="16" y="1123"/>
                </a:lnTo>
                <a:lnTo>
                  <a:pt x="14" y="1158"/>
                </a:lnTo>
                <a:lnTo>
                  <a:pt x="16" y="1193"/>
                </a:lnTo>
                <a:lnTo>
                  <a:pt x="18" y="1210"/>
                </a:lnTo>
                <a:lnTo>
                  <a:pt x="21" y="1217"/>
                </a:lnTo>
                <a:lnTo>
                  <a:pt x="23" y="1222"/>
                </a:lnTo>
                <a:lnTo>
                  <a:pt x="30" y="1229"/>
                </a:lnTo>
                <a:lnTo>
                  <a:pt x="33" y="1234"/>
                </a:lnTo>
                <a:lnTo>
                  <a:pt x="35" y="1231"/>
                </a:lnTo>
                <a:lnTo>
                  <a:pt x="37" y="1229"/>
                </a:lnTo>
                <a:lnTo>
                  <a:pt x="35" y="1205"/>
                </a:lnTo>
                <a:lnTo>
                  <a:pt x="40" y="1215"/>
                </a:lnTo>
                <a:lnTo>
                  <a:pt x="54" y="1227"/>
                </a:lnTo>
                <a:lnTo>
                  <a:pt x="68" y="1241"/>
                </a:lnTo>
                <a:lnTo>
                  <a:pt x="78" y="1248"/>
                </a:lnTo>
                <a:lnTo>
                  <a:pt x="85" y="1248"/>
                </a:lnTo>
                <a:lnTo>
                  <a:pt x="87" y="1243"/>
                </a:lnTo>
                <a:lnTo>
                  <a:pt x="87" y="1238"/>
                </a:lnTo>
                <a:lnTo>
                  <a:pt x="94" y="1238"/>
                </a:lnTo>
                <a:lnTo>
                  <a:pt x="101" y="1238"/>
                </a:lnTo>
                <a:lnTo>
                  <a:pt x="104" y="1236"/>
                </a:lnTo>
                <a:lnTo>
                  <a:pt x="106" y="1234"/>
                </a:lnTo>
                <a:lnTo>
                  <a:pt x="104" y="1229"/>
                </a:lnTo>
                <a:lnTo>
                  <a:pt x="92" y="1217"/>
                </a:lnTo>
                <a:lnTo>
                  <a:pt x="82" y="1208"/>
                </a:lnTo>
                <a:lnTo>
                  <a:pt x="73" y="1196"/>
                </a:lnTo>
                <a:lnTo>
                  <a:pt x="66" y="1184"/>
                </a:lnTo>
                <a:lnTo>
                  <a:pt x="63" y="1172"/>
                </a:lnTo>
                <a:lnTo>
                  <a:pt x="63" y="1163"/>
                </a:lnTo>
                <a:lnTo>
                  <a:pt x="66" y="1156"/>
                </a:lnTo>
                <a:lnTo>
                  <a:pt x="68" y="1153"/>
                </a:lnTo>
                <a:lnTo>
                  <a:pt x="73" y="1153"/>
                </a:lnTo>
                <a:lnTo>
                  <a:pt x="78" y="1156"/>
                </a:lnTo>
                <a:lnTo>
                  <a:pt x="80" y="1165"/>
                </a:lnTo>
                <a:lnTo>
                  <a:pt x="82" y="1186"/>
                </a:lnTo>
                <a:lnTo>
                  <a:pt x="82" y="1191"/>
                </a:lnTo>
                <a:lnTo>
                  <a:pt x="85" y="1196"/>
                </a:lnTo>
                <a:lnTo>
                  <a:pt x="92" y="1201"/>
                </a:lnTo>
                <a:lnTo>
                  <a:pt x="99" y="1201"/>
                </a:lnTo>
                <a:lnTo>
                  <a:pt x="104" y="1201"/>
                </a:lnTo>
                <a:lnTo>
                  <a:pt x="101" y="1137"/>
                </a:lnTo>
                <a:lnTo>
                  <a:pt x="99" y="1108"/>
                </a:lnTo>
                <a:lnTo>
                  <a:pt x="99" y="1094"/>
                </a:lnTo>
                <a:lnTo>
                  <a:pt x="99" y="1087"/>
                </a:lnTo>
                <a:lnTo>
                  <a:pt x="96" y="1075"/>
                </a:lnTo>
                <a:lnTo>
                  <a:pt x="94" y="1064"/>
                </a:lnTo>
                <a:lnTo>
                  <a:pt x="92" y="1054"/>
                </a:lnTo>
                <a:lnTo>
                  <a:pt x="94" y="1030"/>
                </a:lnTo>
                <a:lnTo>
                  <a:pt x="96" y="1021"/>
                </a:lnTo>
                <a:lnTo>
                  <a:pt x="96" y="1026"/>
                </a:lnTo>
                <a:lnTo>
                  <a:pt x="99" y="1052"/>
                </a:lnTo>
                <a:lnTo>
                  <a:pt x="99" y="1087"/>
                </a:lnTo>
                <a:lnTo>
                  <a:pt x="106" y="1120"/>
                </a:lnTo>
                <a:lnTo>
                  <a:pt x="113" y="1167"/>
                </a:lnTo>
                <a:lnTo>
                  <a:pt x="125" y="1255"/>
                </a:lnTo>
                <a:lnTo>
                  <a:pt x="132" y="1349"/>
                </a:lnTo>
                <a:lnTo>
                  <a:pt x="137" y="1420"/>
                </a:lnTo>
                <a:lnTo>
                  <a:pt x="139" y="1503"/>
                </a:lnTo>
                <a:lnTo>
                  <a:pt x="144" y="1623"/>
                </a:lnTo>
                <a:lnTo>
                  <a:pt x="151" y="1803"/>
                </a:lnTo>
                <a:lnTo>
                  <a:pt x="148" y="1817"/>
                </a:lnTo>
                <a:lnTo>
                  <a:pt x="146" y="1831"/>
                </a:lnTo>
                <a:lnTo>
                  <a:pt x="139" y="1867"/>
                </a:lnTo>
                <a:lnTo>
                  <a:pt x="137" y="1883"/>
                </a:lnTo>
                <a:lnTo>
                  <a:pt x="134" y="1900"/>
                </a:lnTo>
                <a:lnTo>
                  <a:pt x="134" y="1914"/>
                </a:lnTo>
                <a:lnTo>
                  <a:pt x="139" y="1923"/>
                </a:lnTo>
                <a:lnTo>
                  <a:pt x="146" y="1940"/>
                </a:lnTo>
                <a:lnTo>
                  <a:pt x="151" y="1949"/>
                </a:lnTo>
                <a:lnTo>
                  <a:pt x="148" y="1959"/>
                </a:lnTo>
                <a:lnTo>
                  <a:pt x="141" y="1966"/>
                </a:lnTo>
                <a:lnTo>
                  <a:pt x="127" y="1978"/>
                </a:lnTo>
                <a:lnTo>
                  <a:pt x="120" y="1990"/>
                </a:lnTo>
                <a:lnTo>
                  <a:pt x="118" y="1999"/>
                </a:lnTo>
                <a:lnTo>
                  <a:pt x="115" y="2011"/>
                </a:lnTo>
                <a:lnTo>
                  <a:pt x="118" y="2016"/>
                </a:lnTo>
                <a:lnTo>
                  <a:pt x="120" y="2023"/>
                </a:lnTo>
                <a:lnTo>
                  <a:pt x="125" y="2027"/>
                </a:lnTo>
                <a:lnTo>
                  <a:pt x="132" y="2030"/>
                </a:lnTo>
                <a:lnTo>
                  <a:pt x="141" y="2034"/>
                </a:lnTo>
                <a:lnTo>
                  <a:pt x="153" y="2037"/>
                </a:lnTo>
                <a:lnTo>
                  <a:pt x="174" y="2039"/>
                </a:lnTo>
                <a:lnTo>
                  <a:pt x="193" y="2037"/>
                </a:lnTo>
                <a:lnTo>
                  <a:pt x="210" y="2034"/>
                </a:lnTo>
                <a:lnTo>
                  <a:pt x="224" y="2030"/>
                </a:lnTo>
                <a:lnTo>
                  <a:pt x="233" y="2023"/>
                </a:lnTo>
                <a:lnTo>
                  <a:pt x="243" y="2016"/>
                </a:lnTo>
                <a:lnTo>
                  <a:pt x="255" y="2001"/>
                </a:lnTo>
                <a:lnTo>
                  <a:pt x="259" y="1997"/>
                </a:lnTo>
                <a:lnTo>
                  <a:pt x="259" y="1990"/>
                </a:lnTo>
                <a:lnTo>
                  <a:pt x="259" y="1973"/>
                </a:lnTo>
                <a:lnTo>
                  <a:pt x="257" y="1956"/>
                </a:lnTo>
                <a:lnTo>
                  <a:pt x="259" y="1945"/>
                </a:lnTo>
                <a:lnTo>
                  <a:pt x="264" y="1931"/>
                </a:lnTo>
                <a:lnTo>
                  <a:pt x="269" y="1919"/>
                </a:lnTo>
                <a:lnTo>
                  <a:pt x="271" y="1907"/>
                </a:lnTo>
                <a:lnTo>
                  <a:pt x="269" y="1897"/>
                </a:lnTo>
                <a:lnTo>
                  <a:pt x="269" y="1886"/>
                </a:lnTo>
                <a:lnTo>
                  <a:pt x="262" y="1867"/>
                </a:lnTo>
                <a:lnTo>
                  <a:pt x="252" y="1850"/>
                </a:lnTo>
                <a:lnTo>
                  <a:pt x="250" y="1838"/>
                </a:lnTo>
                <a:lnTo>
                  <a:pt x="250" y="1819"/>
                </a:lnTo>
                <a:lnTo>
                  <a:pt x="257" y="1775"/>
                </a:lnTo>
                <a:lnTo>
                  <a:pt x="264" y="1720"/>
                </a:lnTo>
                <a:lnTo>
                  <a:pt x="269" y="1668"/>
                </a:lnTo>
                <a:lnTo>
                  <a:pt x="274" y="1614"/>
                </a:lnTo>
                <a:lnTo>
                  <a:pt x="278" y="1548"/>
                </a:lnTo>
                <a:lnTo>
                  <a:pt x="285" y="1470"/>
                </a:lnTo>
                <a:lnTo>
                  <a:pt x="293" y="1373"/>
                </a:lnTo>
                <a:lnTo>
                  <a:pt x="295" y="1328"/>
                </a:lnTo>
                <a:lnTo>
                  <a:pt x="297" y="1293"/>
                </a:lnTo>
                <a:lnTo>
                  <a:pt x="302" y="1264"/>
                </a:lnTo>
                <a:lnTo>
                  <a:pt x="307" y="1245"/>
                </a:lnTo>
                <a:lnTo>
                  <a:pt x="311" y="1231"/>
                </a:lnTo>
                <a:lnTo>
                  <a:pt x="316" y="1224"/>
                </a:lnTo>
                <a:lnTo>
                  <a:pt x="318" y="1219"/>
                </a:lnTo>
                <a:lnTo>
                  <a:pt x="321" y="1243"/>
                </a:lnTo>
                <a:lnTo>
                  <a:pt x="323" y="1271"/>
                </a:lnTo>
                <a:lnTo>
                  <a:pt x="335" y="1340"/>
                </a:lnTo>
                <a:lnTo>
                  <a:pt x="344" y="1406"/>
                </a:lnTo>
                <a:lnTo>
                  <a:pt x="352" y="1458"/>
                </a:lnTo>
                <a:lnTo>
                  <a:pt x="356" y="1498"/>
                </a:lnTo>
                <a:lnTo>
                  <a:pt x="363" y="1534"/>
                </a:lnTo>
                <a:lnTo>
                  <a:pt x="370" y="1571"/>
                </a:lnTo>
                <a:lnTo>
                  <a:pt x="375" y="1609"/>
                </a:lnTo>
                <a:lnTo>
                  <a:pt x="380" y="1652"/>
                </a:lnTo>
                <a:lnTo>
                  <a:pt x="382" y="1697"/>
                </a:lnTo>
                <a:lnTo>
                  <a:pt x="382" y="1718"/>
                </a:lnTo>
                <a:lnTo>
                  <a:pt x="380" y="1737"/>
                </a:lnTo>
                <a:lnTo>
                  <a:pt x="378" y="1756"/>
                </a:lnTo>
                <a:lnTo>
                  <a:pt x="370" y="1772"/>
                </a:lnTo>
                <a:lnTo>
                  <a:pt x="363" y="1793"/>
                </a:lnTo>
                <a:lnTo>
                  <a:pt x="363" y="1810"/>
                </a:lnTo>
                <a:lnTo>
                  <a:pt x="366" y="1824"/>
                </a:lnTo>
                <a:lnTo>
                  <a:pt x="368" y="1843"/>
                </a:lnTo>
                <a:lnTo>
                  <a:pt x="363" y="1864"/>
                </a:lnTo>
                <a:lnTo>
                  <a:pt x="359" y="1886"/>
                </a:lnTo>
                <a:lnTo>
                  <a:pt x="352" y="1905"/>
                </a:lnTo>
                <a:lnTo>
                  <a:pt x="349" y="1921"/>
                </a:lnTo>
                <a:lnTo>
                  <a:pt x="349" y="1926"/>
                </a:lnTo>
                <a:lnTo>
                  <a:pt x="352" y="1933"/>
                </a:lnTo>
                <a:lnTo>
                  <a:pt x="361" y="1945"/>
                </a:lnTo>
                <a:lnTo>
                  <a:pt x="370" y="1956"/>
                </a:lnTo>
                <a:lnTo>
                  <a:pt x="370" y="1961"/>
                </a:lnTo>
                <a:lnTo>
                  <a:pt x="368" y="1966"/>
                </a:lnTo>
                <a:lnTo>
                  <a:pt x="359" y="1973"/>
                </a:lnTo>
                <a:lnTo>
                  <a:pt x="354" y="1985"/>
                </a:lnTo>
                <a:lnTo>
                  <a:pt x="349" y="1997"/>
                </a:lnTo>
                <a:lnTo>
                  <a:pt x="349" y="2011"/>
                </a:lnTo>
                <a:lnTo>
                  <a:pt x="349" y="2025"/>
                </a:lnTo>
                <a:lnTo>
                  <a:pt x="352" y="2030"/>
                </a:lnTo>
                <a:lnTo>
                  <a:pt x="356" y="2034"/>
                </a:lnTo>
                <a:lnTo>
                  <a:pt x="363" y="2039"/>
                </a:lnTo>
                <a:lnTo>
                  <a:pt x="375" y="2044"/>
                </a:lnTo>
                <a:lnTo>
                  <a:pt x="389" y="2044"/>
                </a:lnTo>
                <a:lnTo>
                  <a:pt x="408" y="2046"/>
                </a:lnTo>
                <a:lnTo>
                  <a:pt x="427" y="2044"/>
                </a:lnTo>
                <a:lnTo>
                  <a:pt x="444" y="2039"/>
                </a:lnTo>
                <a:lnTo>
                  <a:pt x="453" y="2034"/>
                </a:lnTo>
                <a:lnTo>
                  <a:pt x="463" y="2027"/>
                </a:lnTo>
                <a:lnTo>
                  <a:pt x="470" y="2020"/>
                </a:lnTo>
                <a:lnTo>
                  <a:pt x="472" y="2011"/>
                </a:lnTo>
                <a:lnTo>
                  <a:pt x="474" y="1997"/>
                </a:lnTo>
                <a:lnTo>
                  <a:pt x="472" y="1973"/>
                </a:lnTo>
                <a:lnTo>
                  <a:pt x="472" y="1964"/>
                </a:lnTo>
                <a:lnTo>
                  <a:pt x="474" y="1956"/>
                </a:lnTo>
                <a:lnTo>
                  <a:pt x="479" y="1949"/>
                </a:lnTo>
                <a:lnTo>
                  <a:pt x="486" y="1935"/>
                </a:lnTo>
                <a:lnTo>
                  <a:pt x="491" y="1919"/>
                </a:lnTo>
                <a:lnTo>
                  <a:pt x="491" y="1900"/>
                </a:lnTo>
                <a:lnTo>
                  <a:pt x="491" y="1879"/>
                </a:lnTo>
                <a:lnTo>
                  <a:pt x="491" y="1869"/>
                </a:lnTo>
                <a:lnTo>
                  <a:pt x="493" y="1862"/>
                </a:lnTo>
                <a:lnTo>
                  <a:pt x="498" y="1848"/>
                </a:lnTo>
                <a:lnTo>
                  <a:pt x="503" y="1824"/>
                </a:lnTo>
                <a:lnTo>
                  <a:pt x="507" y="1803"/>
                </a:lnTo>
                <a:lnTo>
                  <a:pt x="510" y="1777"/>
                </a:lnTo>
                <a:lnTo>
                  <a:pt x="510" y="1704"/>
                </a:lnTo>
                <a:lnTo>
                  <a:pt x="507" y="1628"/>
                </a:lnTo>
                <a:lnTo>
                  <a:pt x="564" y="1616"/>
                </a:lnTo>
                <a:lnTo>
                  <a:pt x="635" y="1597"/>
                </a:lnTo>
                <a:lnTo>
                  <a:pt x="725" y="1571"/>
                </a:lnTo>
                <a:lnTo>
                  <a:pt x="730" y="1569"/>
                </a:lnTo>
                <a:lnTo>
                  <a:pt x="734" y="1567"/>
                </a:lnTo>
                <a:lnTo>
                  <a:pt x="739" y="1560"/>
                </a:lnTo>
                <a:lnTo>
                  <a:pt x="741" y="1550"/>
                </a:lnTo>
                <a:lnTo>
                  <a:pt x="741" y="1491"/>
                </a:lnTo>
                <a:lnTo>
                  <a:pt x="739" y="137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63" name="Freeform 79"/>
          <p:cNvSpPr>
            <a:spLocks noEditPoints="1"/>
          </p:cNvSpPr>
          <p:nvPr>
            <p:custDataLst>
              <p:tags r:id="rId54"/>
            </p:custDataLst>
          </p:nvPr>
        </p:nvSpPr>
        <p:spPr bwMode="gray">
          <a:xfrm>
            <a:off x="6463310" y="1992430"/>
            <a:ext cx="176212" cy="584200"/>
          </a:xfrm>
          <a:custGeom>
            <a:avLst/>
            <a:gdLst>
              <a:gd name="T0" fmla="*/ 485 w 1199"/>
              <a:gd name="T1" fmla="*/ 471 h 3970"/>
              <a:gd name="T2" fmla="*/ 535 w 1199"/>
              <a:gd name="T3" fmla="*/ 592 h 3970"/>
              <a:gd name="T4" fmla="*/ 613 w 1199"/>
              <a:gd name="T5" fmla="*/ 600 h 3970"/>
              <a:gd name="T6" fmla="*/ 707 w 1199"/>
              <a:gd name="T7" fmla="*/ 485 h 3970"/>
              <a:gd name="T8" fmla="*/ 756 w 1199"/>
              <a:gd name="T9" fmla="*/ 399 h 3970"/>
              <a:gd name="T10" fmla="*/ 792 w 1199"/>
              <a:gd name="T11" fmla="*/ 150 h 3970"/>
              <a:gd name="T12" fmla="*/ 720 w 1199"/>
              <a:gd name="T13" fmla="*/ 21 h 3970"/>
              <a:gd name="T14" fmla="*/ 557 w 1199"/>
              <a:gd name="T15" fmla="*/ 14 h 3970"/>
              <a:gd name="T16" fmla="*/ 471 w 1199"/>
              <a:gd name="T17" fmla="*/ 78 h 3970"/>
              <a:gd name="T18" fmla="*/ 450 w 1199"/>
              <a:gd name="T19" fmla="*/ 200 h 3970"/>
              <a:gd name="T20" fmla="*/ 435 w 1199"/>
              <a:gd name="T21" fmla="*/ 279 h 3970"/>
              <a:gd name="T22" fmla="*/ 1184 w 1199"/>
              <a:gd name="T23" fmla="*/ 1206 h 3970"/>
              <a:gd name="T24" fmla="*/ 1071 w 1199"/>
              <a:gd name="T25" fmla="*/ 729 h 3970"/>
              <a:gd name="T26" fmla="*/ 857 w 1199"/>
              <a:gd name="T27" fmla="*/ 613 h 3970"/>
              <a:gd name="T28" fmla="*/ 756 w 1199"/>
              <a:gd name="T29" fmla="*/ 707 h 3970"/>
              <a:gd name="T30" fmla="*/ 664 w 1199"/>
              <a:gd name="T31" fmla="*/ 1299 h 3970"/>
              <a:gd name="T32" fmla="*/ 613 w 1199"/>
              <a:gd name="T33" fmla="*/ 1185 h 3970"/>
              <a:gd name="T34" fmla="*/ 613 w 1199"/>
              <a:gd name="T35" fmla="*/ 750 h 3970"/>
              <a:gd name="T36" fmla="*/ 628 w 1199"/>
              <a:gd name="T37" fmla="*/ 657 h 3970"/>
              <a:gd name="T38" fmla="*/ 564 w 1199"/>
              <a:gd name="T39" fmla="*/ 622 h 3970"/>
              <a:gd name="T40" fmla="*/ 557 w 1199"/>
              <a:gd name="T41" fmla="*/ 678 h 3970"/>
              <a:gd name="T42" fmla="*/ 521 w 1199"/>
              <a:gd name="T43" fmla="*/ 949 h 3970"/>
              <a:gd name="T44" fmla="*/ 435 w 1199"/>
              <a:gd name="T45" fmla="*/ 1085 h 3970"/>
              <a:gd name="T46" fmla="*/ 418 w 1199"/>
              <a:gd name="T47" fmla="*/ 545 h 3970"/>
              <a:gd name="T48" fmla="*/ 279 w 1199"/>
              <a:gd name="T49" fmla="*/ 622 h 3970"/>
              <a:gd name="T50" fmla="*/ 129 w 1199"/>
              <a:gd name="T51" fmla="*/ 714 h 3970"/>
              <a:gd name="T52" fmla="*/ 43 w 1199"/>
              <a:gd name="T53" fmla="*/ 985 h 3970"/>
              <a:gd name="T54" fmla="*/ 7 w 1199"/>
              <a:gd name="T55" fmla="*/ 1385 h 3970"/>
              <a:gd name="T56" fmla="*/ 150 w 1199"/>
              <a:gd name="T57" fmla="*/ 1593 h 3970"/>
              <a:gd name="T58" fmla="*/ 193 w 1199"/>
              <a:gd name="T59" fmla="*/ 1892 h 3970"/>
              <a:gd name="T60" fmla="*/ 207 w 1199"/>
              <a:gd name="T61" fmla="*/ 2085 h 3970"/>
              <a:gd name="T62" fmla="*/ 207 w 1199"/>
              <a:gd name="T63" fmla="*/ 3171 h 3970"/>
              <a:gd name="T64" fmla="*/ 221 w 1199"/>
              <a:gd name="T65" fmla="*/ 3634 h 3970"/>
              <a:gd name="T66" fmla="*/ 238 w 1199"/>
              <a:gd name="T67" fmla="*/ 3771 h 3970"/>
              <a:gd name="T68" fmla="*/ 301 w 1199"/>
              <a:gd name="T69" fmla="*/ 3850 h 3970"/>
              <a:gd name="T70" fmla="*/ 437 w 1199"/>
              <a:gd name="T71" fmla="*/ 3821 h 3970"/>
              <a:gd name="T72" fmla="*/ 444 w 1199"/>
              <a:gd name="T73" fmla="*/ 3721 h 3970"/>
              <a:gd name="T74" fmla="*/ 499 w 1199"/>
              <a:gd name="T75" fmla="*/ 3613 h 3970"/>
              <a:gd name="T76" fmla="*/ 514 w 1199"/>
              <a:gd name="T77" fmla="*/ 2627 h 3970"/>
              <a:gd name="T78" fmla="*/ 564 w 1199"/>
              <a:gd name="T79" fmla="*/ 2213 h 3970"/>
              <a:gd name="T80" fmla="*/ 642 w 1199"/>
              <a:gd name="T81" fmla="*/ 2763 h 3970"/>
              <a:gd name="T82" fmla="*/ 642 w 1199"/>
              <a:gd name="T83" fmla="*/ 3677 h 3970"/>
              <a:gd name="T84" fmla="*/ 678 w 1199"/>
              <a:gd name="T85" fmla="*/ 3805 h 3970"/>
              <a:gd name="T86" fmla="*/ 671 w 1199"/>
              <a:gd name="T87" fmla="*/ 3899 h 3970"/>
              <a:gd name="T88" fmla="*/ 742 w 1199"/>
              <a:gd name="T89" fmla="*/ 3970 h 3970"/>
              <a:gd name="T90" fmla="*/ 870 w 1199"/>
              <a:gd name="T91" fmla="*/ 3948 h 3970"/>
              <a:gd name="T92" fmla="*/ 842 w 1199"/>
              <a:gd name="T93" fmla="*/ 3770 h 3970"/>
              <a:gd name="T94" fmla="*/ 878 w 1199"/>
              <a:gd name="T95" fmla="*/ 3284 h 3970"/>
              <a:gd name="T96" fmla="*/ 906 w 1199"/>
              <a:gd name="T97" fmla="*/ 2428 h 3970"/>
              <a:gd name="T98" fmla="*/ 977 w 1199"/>
              <a:gd name="T99" fmla="*/ 2042 h 3970"/>
              <a:gd name="T100" fmla="*/ 1056 w 1199"/>
              <a:gd name="T101" fmla="*/ 1714 h 3970"/>
              <a:gd name="T102" fmla="*/ 1199 w 1199"/>
              <a:gd name="T103" fmla="*/ 1271 h 3970"/>
              <a:gd name="T104" fmla="*/ 221 w 1199"/>
              <a:gd name="T105" fmla="*/ 1335 h 3970"/>
              <a:gd name="T106" fmla="*/ 249 w 1199"/>
              <a:gd name="T107" fmla="*/ 1214 h 3970"/>
              <a:gd name="T108" fmla="*/ 949 w 1199"/>
              <a:gd name="T109" fmla="*/ 1292 h 39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99" h="3970">
                <a:moveTo>
                  <a:pt x="463" y="364"/>
                </a:moveTo>
                <a:lnTo>
                  <a:pt x="478" y="386"/>
                </a:lnTo>
                <a:lnTo>
                  <a:pt x="485" y="428"/>
                </a:lnTo>
                <a:lnTo>
                  <a:pt x="485" y="471"/>
                </a:lnTo>
                <a:lnTo>
                  <a:pt x="478" y="493"/>
                </a:lnTo>
                <a:lnTo>
                  <a:pt x="463" y="500"/>
                </a:lnTo>
                <a:lnTo>
                  <a:pt x="499" y="550"/>
                </a:lnTo>
                <a:lnTo>
                  <a:pt x="535" y="592"/>
                </a:lnTo>
                <a:lnTo>
                  <a:pt x="557" y="607"/>
                </a:lnTo>
                <a:lnTo>
                  <a:pt x="578" y="613"/>
                </a:lnTo>
                <a:lnTo>
                  <a:pt x="592" y="613"/>
                </a:lnTo>
                <a:lnTo>
                  <a:pt x="613" y="600"/>
                </a:lnTo>
                <a:lnTo>
                  <a:pt x="664" y="564"/>
                </a:lnTo>
                <a:lnTo>
                  <a:pt x="699" y="515"/>
                </a:lnTo>
                <a:lnTo>
                  <a:pt x="713" y="495"/>
                </a:lnTo>
                <a:lnTo>
                  <a:pt x="707" y="485"/>
                </a:lnTo>
                <a:lnTo>
                  <a:pt x="707" y="464"/>
                </a:lnTo>
                <a:lnTo>
                  <a:pt x="714" y="442"/>
                </a:lnTo>
                <a:lnTo>
                  <a:pt x="728" y="428"/>
                </a:lnTo>
                <a:lnTo>
                  <a:pt x="756" y="399"/>
                </a:lnTo>
                <a:lnTo>
                  <a:pt x="778" y="343"/>
                </a:lnTo>
                <a:lnTo>
                  <a:pt x="792" y="285"/>
                </a:lnTo>
                <a:lnTo>
                  <a:pt x="799" y="221"/>
                </a:lnTo>
                <a:lnTo>
                  <a:pt x="792" y="150"/>
                </a:lnTo>
                <a:lnTo>
                  <a:pt x="785" y="114"/>
                </a:lnTo>
                <a:lnTo>
                  <a:pt x="771" y="78"/>
                </a:lnTo>
                <a:lnTo>
                  <a:pt x="750" y="50"/>
                </a:lnTo>
                <a:lnTo>
                  <a:pt x="720" y="21"/>
                </a:lnTo>
                <a:lnTo>
                  <a:pt x="678" y="7"/>
                </a:lnTo>
                <a:lnTo>
                  <a:pt x="621" y="0"/>
                </a:lnTo>
                <a:lnTo>
                  <a:pt x="585" y="0"/>
                </a:lnTo>
                <a:lnTo>
                  <a:pt x="557" y="14"/>
                </a:lnTo>
                <a:lnTo>
                  <a:pt x="528" y="21"/>
                </a:lnTo>
                <a:lnTo>
                  <a:pt x="506" y="43"/>
                </a:lnTo>
                <a:lnTo>
                  <a:pt x="485" y="56"/>
                </a:lnTo>
                <a:lnTo>
                  <a:pt x="471" y="78"/>
                </a:lnTo>
                <a:lnTo>
                  <a:pt x="457" y="100"/>
                </a:lnTo>
                <a:lnTo>
                  <a:pt x="450" y="121"/>
                </a:lnTo>
                <a:lnTo>
                  <a:pt x="450" y="157"/>
                </a:lnTo>
                <a:lnTo>
                  <a:pt x="450" y="200"/>
                </a:lnTo>
                <a:lnTo>
                  <a:pt x="450" y="221"/>
                </a:lnTo>
                <a:lnTo>
                  <a:pt x="442" y="236"/>
                </a:lnTo>
                <a:lnTo>
                  <a:pt x="435" y="257"/>
                </a:lnTo>
                <a:lnTo>
                  <a:pt x="435" y="279"/>
                </a:lnTo>
                <a:lnTo>
                  <a:pt x="435" y="307"/>
                </a:lnTo>
                <a:lnTo>
                  <a:pt x="450" y="335"/>
                </a:lnTo>
                <a:lnTo>
                  <a:pt x="463" y="364"/>
                </a:lnTo>
                <a:close/>
                <a:moveTo>
                  <a:pt x="1184" y="1206"/>
                </a:moveTo>
                <a:lnTo>
                  <a:pt x="1156" y="1042"/>
                </a:lnTo>
                <a:lnTo>
                  <a:pt x="1099" y="793"/>
                </a:lnTo>
                <a:lnTo>
                  <a:pt x="1084" y="750"/>
                </a:lnTo>
                <a:lnTo>
                  <a:pt x="1071" y="729"/>
                </a:lnTo>
                <a:lnTo>
                  <a:pt x="1049" y="707"/>
                </a:lnTo>
                <a:lnTo>
                  <a:pt x="1020" y="685"/>
                </a:lnTo>
                <a:lnTo>
                  <a:pt x="977" y="664"/>
                </a:lnTo>
                <a:lnTo>
                  <a:pt x="857" y="613"/>
                </a:lnTo>
                <a:lnTo>
                  <a:pt x="799" y="586"/>
                </a:lnTo>
                <a:lnTo>
                  <a:pt x="778" y="564"/>
                </a:lnTo>
                <a:lnTo>
                  <a:pt x="756" y="550"/>
                </a:lnTo>
                <a:lnTo>
                  <a:pt x="756" y="707"/>
                </a:lnTo>
                <a:lnTo>
                  <a:pt x="750" y="849"/>
                </a:lnTo>
                <a:lnTo>
                  <a:pt x="742" y="914"/>
                </a:lnTo>
                <a:lnTo>
                  <a:pt x="735" y="971"/>
                </a:lnTo>
                <a:lnTo>
                  <a:pt x="664" y="1299"/>
                </a:lnTo>
                <a:lnTo>
                  <a:pt x="635" y="1455"/>
                </a:lnTo>
                <a:lnTo>
                  <a:pt x="621" y="1321"/>
                </a:lnTo>
                <a:lnTo>
                  <a:pt x="613" y="1256"/>
                </a:lnTo>
                <a:lnTo>
                  <a:pt x="613" y="1185"/>
                </a:lnTo>
                <a:lnTo>
                  <a:pt x="628" y="914"/>
                </a:lnTo>
                <a:lnTo>
                  <a:pt x="628" y="806"/>
                </a:lnTo>
                <a:lnTo>
                  <a:pt x="621" y="771"/>
                </a:lnTo>
                <a:lnTo>
                  <a:pt x="613" y="750"/>
                </a:lnTo>
                <a:lnTo>
                  <a:pt x="607" y="729"/>
                </a:lnTo>
                <a:lnTo>
                  <a:pt x="600" y="707"/>
                </a:lnTo>
                <a:lnTo>
                  <a:pt x="607" y="685"/>
                </a:lnTo>
                <a:lnTo>
                  <a:pt x="628" y="657"/>
                </a:lnTo>
                <a:lnTo>
                  <a:pt x="613" y="635"/>
                </a:lnTo>
                <a:lnTo>
                  <a:pt x="600" y="622"/>
                </a:lnTo>
                <a:lnTo>
                  <a:pt x="578" y="622"/>
                </a:lnTo>
                <a:lnTo>
                  <a:pt x="564" y="622"/>
                </a:lnTo>
                <a:lnTo>
                  <a:pt x="549" y="635"/>
                </a:lnTo>
                <a:lnTo>
                  <a:pt x="542" y="643"/>
                </a:lnTo>
                <a:lnTo>
                  <a:pt x="542" y="657"/>
                </a:lnTo>
                <a:lnTo>
                  <a:pt x="557" y="678"/>
                </a:lnTo>
                <a:lnTo>
                  <a:pt x="557" y="714"/>
                </a:lnTo>
                <a:lnTo>
                  <a:pt x="535" y="828"/>
                </a:lnTo>
                <a:lnTo>
                  <a:pt x="521" y="892"/>
                </a:lnTo>
                <a:lnTo>
                  <a:pt x="521" y="949"/>
                </a:lnTo>
                <a:lnTo>
                  <a:pt x="493" y="1357"/>
                </a:lnTo>
                <a:lnTo>
                  <a:pt x="484" y="1528"/>
                </a:lnTo>
                <a:lnTo>
                  <a:pt x="471" y="1449"/>
                </a:lnTo>
                <a:lnTo>
                  <a:pt x="435" y="1085"/>
                </a:lnTo>
                <a:lnTo>
                  <a:pt x="414" y="878"/>
                </a:lnTo>
                <a:lnTo>
                  <a:pt x="407" y="729"/>
                </a:lnTo>
                <a:lnTo>
                  <a:pt x="414" y="578"/>
                </a:lnTo>
                <a:lnTo>
                  <a:pt x="418" y="545"/>
                </a:lnTo>
                <a:lnTo>
                  <a:pt x="418" y="545"/>
                </a:lnTo>
                <a:lnTo>
                  <a:pt x="414" y="550"/>
                </a:lnTo>
                <a:lnTo>
                  <a:pt x="364" y="578"/>
                </a:lnTo>
                <a:lnTo>
                  <a:pt x="279" y="622"/>
                </a:lnTo>
                <a:lnTo>
                  <a:pt x="178" y="664"/>
                </a:lnTo>
                <a:lnTo>
                  <a:pt x="157" y="685"/>
                </a:lnTo>
                <a:lnTo>
                  <a:pt x="142" y="693"/>
                </a:lnTo>
                <a:lnTo>
                  <a:pt x="129" y="714"/>
                </a:lnTo>
                <a:lnTo>
                  <a:pt x="100" y="764"/>
                </a:lnTo>
                <a:lnTo>
                  <a:pt x="78" y="828"/>
                </a:lnTo>
                <a:lnTo>
                  <a:pt x="57" y="907"/>
                </a:lnTo>
                <a:lnTo>
                  <a:pt x="43" y="985"/>
                </a:lnTo>
                <a:lnTo>
                  <a:pt x="14" y="1149"/>
                </a:lnTo>
                <a:lnTo>
                  <a:pt x="0" y="1278"/>
                </a:lnTo>
                <a:lnTo>
                  <a:pt x="0" y="1342"/>
                </a:lnTo>
                <a:lnTo>
                  <a:pt x="7" y="1385"/>
                </a:lnTo>
                <a:lnTo>
                  <a:pt x="29" y="1428"/>
                </a:lnTo>
                <a:lnTo>
                  <a:pt x="50" y="1464"/>
                </a:lnTo>
                <a:lnTo>
                  <a:pt x="100" y="1528"/>
                </a:lnTo>
                <a:lnTo>
                  <a:pt x="150" y="1593"/>
                </a:lnTo>
                <a:lnTo>
                  <a:pt x="172" y="1635"/>
                </a:lnTo>
                <a:lnTo>
                  <a:pt x="185" y="1678"/>
                </a:lnTo>
                <a:lnTo>
                  <a:pt x="207" y="1771"/>
                </a:lnTo>
                <a:lnTo>
                  <a:pt x="193" y="1892"/>
                </a:lnTo>
                <a:lnTo>
                  <a:pt x="185" y="2042"/>
                </a:lnTo>
                <a:lnTo>
                  <a:pt x="193" y="2070"/>
                </a:lnTo>
                <a:lnTo>
                  <a:pt x="200" y="2078"/>
                </a:lnTo>
                <a:lnTo>
                  <a:pt x="207" y="2085"/>
                </a:lnTo>
                <a:lnTo>
                  <a:pt x="214" y="2293"/>
                </a:lnTo>
                <a:lnTo>
                  <a:pt x="221" y="2721"/>
                </a:lnTo>
                <a:lnTo>
                  <a:pt x="214" y="2949"/>
                </a:lnTo>
                <a:lnTo>
                  <a:pt x="207" y="3171"/>
                </a:lnTo>
                <a:lnTo>
                  <a:pt x="210" y="3355"/>
                </a:lnTo>
                <a:lnTo>
                  <a:pt x="213" y="3427"/>
                </a:lnTo>
                <a:lnTo>
                  <a:pt x="213" y="3478"/>
                </a:lnTo>
                <a:lnTo>
                  <a:pt x="221" y="3634"/>
                </a:lnTo>
                <a:lnTo>
                  <a:pt x="228" y="3698"/>
                </a:lnTo>
                <a:lnTo>
                  <a:pt x="256" y="3697"/>
                </a:lnTo>
                <a:lnTo>
                  <a:pt x="244" y="3721"/>
                </a:lnTo>
                <a:lnTo>
                  <a:pt x="238" y="3771"/>
                </a:lnTo>
                <a:lnTo>
                  <a:pt x="238" y="3807"/>
                </a:lnTo>
                <a:lnTo>
                  <a:pt x="252" y="3828"/>
                </a:lnTo>
                <a:lnTo>
                  <a:pt x="274" y="3843"/>
                </a:lnTo>
                <a:lnTo>
                  <a:pt x="301" y="3850"/>
                </a:lnTo>
                <a:lnTo>
                  <a:pt x="323" y="3850"/>
                </a:lnTo>
                <a:lnTo>
                  <a:pt x="381" y="3850"/>
                </a:lnTo>
                <a:lnTo>
                  <a:pt x="416" y="3835"/>
                </a:lnTo>
                <a:lnTo>
                  <a:pt x="437" y="3821"/>
                </a:lnTo>
                <a:lnTo>
                  <a:pt x="452" y="3800"/>
                </a:lnTo>
                <a:lnTo>
                  <a:pt x="452" y="3779"/>
                </a:lnTo>
                <a:lnTo>
                  <a:pt x="452" y="3757"/>
                </a:lnTo>
                <a:lnTo>
                  <a:pt x="444" y="3721"/>
                </a:lnTo>
                <a:lnTo>
                  <a:pt x="444" y="3693"/>
                </a:lnTo>
                <a:lnTo>
                  <a:pt x="444" y="3687"/>
                </a:lnTo>
                <a:lnTo>
                  <a:pt x="493" y="3685"/>
                </a:lnTo>
                <a:lnTo>
                  <a:pt x="499" y="3613"/>
                </a:lnTo>
                <a:lnTo>
                  <a:pt x="499" y="3156"/>
                </a:lnTo>
                <a:lnTo>
                  <a:pt x="499" y="2834"/>
                </a:lnTo>
                <a:lnTo>
                  <a:pt x="506" y="2707"/>
                </a:lnTo>
                <a:lnTo>
                  <a:pt x="514" y="2627"/>
                </a:lnTo>
                <a:lnTo>
                  <a:pt x="528" y="2492"/>
                </a:lnTo>
                <a:lnTo>
                  <a:pt x="542" y="2342"/>
                </a:lnTo>
                <a:lnTo>
                  <a:pt x="557" y="2235"/>
                </a:lnTo>
                <a:lnTo>
                  <a:pt x="564" y="2213"/>
                </a:lnTo>
                <a:lnTo>
                  <a:pt x="585" y="2293"/>
                </a:lnTo>
                <a:lnTo>
                  <a:pt x="600" y="2421"/>
                </a:lnTo>
                <a:lnTo>
                  <a:pt x="635" y="2649"/>
                </a:lnTo>
                <a:lnTo>
                  <a:pt x="642" y="2763"/>
                </a:lnTo>
                <a:lnTo>
                  <a:pt x="642" y="2935"/>
                </a:lnTo>
                <a:lnTo>
                  <a:pt x="642" y="3291"/>
                </a:lnTo>
                <a:lnTo>
                  <a:pt x="642" y="3514"/>
                </a:lnTo>
                <a:lnTo>
                  <a:pt x="642" y="3677"/>
                </a:lnTo>
                <a:lnTo>
                  <a:pt x="635" y="3777"/>
                </a:lnTo>
                <a:lnTo>
                  <a:pt x="635" y="3799"/>
                </a:lnTo>
                <a:lnTo>
                  <a:pt x="649" y="3805"/>
                </a:lnTo>
                <a:lnTo>
                  <a:pt x="678" y="3805"/>
                </a:lnTo>
                <a:lnTo>
                  <a:pt x="678" y="3813"/>
                </a:lnTo>
                <a:lnTo>
                  <a:pt x="678" y="3841"/>
                </a:lnTo>
                <a:lnTo>
                  <a:pt x="671" y="3877"/>
                </a:lnTo>
                <a:lnTo>
                  <a:pt x="671" y="3899"/>
                </a:lnTo>
                <a:lnTo>
                  <a:pt x="671" y="3921"/>
                </a:lnTo>
                <a:lnTo>
                  <a:pt x="685" y="3942"/>
                </a:lnTo>
                <a:lnTo>
                  <a:pt x="707" y="3956"/>
                </a:lnTo>
                <a:lnTo>
                  <a:pt x="742" y="3970"/>
                </a:lnTo>
                <a:lnTo>
                  <a:pt x="799" y="3970"/>
                </a:lnTo>
                <a:lnTo>
                  <a:pt x="821" y="3970"/>
                </a:lnTo>
                <a:lnTo>
                  <a:pt x="849" y="3963"/>
                </a:lnTo>
                <a:lnTo>
                  <a:pt x="870" y="3948"/>
                </a:lnTo>
                <a:lnTo>
                  <a:pt x="885" y="3928"/>
                </a:lnTo>
                <a:lnTo>
                  <a:pt x="885" y="3892"/>
                </a:lnTo>
                <a:lnTo>
                  <a:pt x="878" y="3841"/>
                </a:lnTo>
                <a:lnTo>
                  <a:pt x="842" y="3770"/>
                </a:lnTo>
                <a:lnTo>
                  <a:pt x="849" y="3763"/>
                </a:lnTo>
                <a:lnTo>
                  <a:pt x="857" y="3741"/>
                </a:lnTo>
                <a:lnTo>
                  <a:pt x="857" y="3720"/>
                </a:lnTo>
                <a:lnTo>
                  <a:pt x="878" y="3284"/>
                </a:lnTo>
                <a:lnTo>
                  <a:pt x="892" y="2992"/>
                </a:lnTo>
                <a:lnTo>
                  <a:pt x="892" y="2814"/>
                </a:lnTo>
                <a:lnTo>
                  <a:pt x="899" y="2663"/>
                </a:lnTo>
                <a:lnTo>
                  <a:pt x="906" y="2428"/>
                </a:lnTo>
                <a:lnTo>
                  <a:pt x="928" y="2199"/>
                </a:lnTo>
                <a:lnTo>
                  <a:pt x="934" y="2121"/>
                </a:lnTo>
                <a:lnTo>
                  <a:pt x="949" y="2078"/>
                </a:lnTo>
                <a:lnTo>
                  <a:pt x="977" y="2042"/>
                </a:lnTo>
                <a:lnTo>
                  <a:pt x="985" y="2027"/>
                </a:lnTo>
                <a:lnTo>
                  <a:pt x="985" y="1999"/>
                </a:lnTo>
                <a:lnTo>
                  <a:pt x="977" y="1907"/>
                </a:lnTo>
                <a:lnTo>
                  <a:pt x="1056" y="1714"/>
                </a:lnTo>
                <a:lnTo>
                  <a:pt x="1148" y="1478"/>
                </a:lnTo>
                <a:lnTo>
                  <a:pt x="1184" y="1385"/>
                </a:lnTo>
                <a:lnTo>
                  <a:pt x="1199" y="1314"/>
                </a:lnTo>
                <a:lnTo>
                  <a:pt x="1199" y="1271"/>
                </a:lnTo>
                <a:lnTo>
                  <a:pt x="1184" y="1206"/>
                </a:lnTo>
                <a:close/>
                <a:moveTo>
                  <a:pt x="243" y="1278"/>
                </a:moveTo>
                <a:lnTo>
                  <a:pt x="243" y="1357"/>
                </a:lnTo>
                <a:lnTo>
                  <a:pt x="221" y="1335"/>
                </a:lnTo>
                <a:lnTo>
                  <a:pt x="214" y="1307"/>
                </a:lnTo>
                <a:lnTo>
                  <a:pt x="214" y="1286"/>
                </a:lnTo>
                <a:lnTo>
                  <a:pt x="221" y="1256"/>
                </a:lnTo>
                <a:lnTo>
                  <a:pt x="249" y="1214"/>
                </a:lnTo>
                <a:lnTo>
                  <a:pt x="243" y="1278"/>
                </a:lnTo>
                <a:close/>
                <a:moveTo>
                  <a:pt x="977" y="1342"/>
                </a:moveTo>
                <a:lnTo>
                  <a:pt x="949" y="1406"/>
                </a:lnTo>
                <a:lnTo>
                  <a:pt x="949" y="1292"/>
                </a:lnTo>
                <a:lnTo>
                  <a:pt x="970" y="1321"/>
                </a:lnTo>
                <a:lnTo>
                  <a:pt x="977" y="1335"/>
                </a:lnTo>
                <a:lnTo>
                  <a:pt x="977" y="134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264" name="Freeform 96"/>
          <p:cNvSpPr>
            <a:spLocks noChangeAspect="1" noEditPoints="1"/>
          </p:cNvSpPr>
          <p:nvPr>
            <p:custDataLst>
              <p:tags r:id="rId55"/>
            </p:custDataLst>
          </p:nvPr>
        </p:nvSpPr>
        <p:spPr bwMode="gray">
          <a:xfrm flipH="1">
            <a:off x="6686755" y="1890212"/>
            <a:ext cx="149225" cy="465137"/>
          </a:xfrm>
          <a:custGeom>
            <a:avLst/>
            <a:gdLst>
              <a:gd name="T0" fmla="*/ 270 w 306"/>
              <a:gd name="T1" fmla="*/ 314 h 957"/>
              <a:gd name="T2" fmla="*/ 250 w 306"/>
              <a:gd name="T3" fmla="*/ 172 h 957"/>
              <a:gd name="T4" fmla="*/ 224 w 306"/>
              <a:gd name="T5" fmla="*/ 147 h 957"/>
              <a:gd name="T6" fmla="*/ 226 w 306"/>
              <a:gd name="T7" fmla="*/ 102 h 957"/>
              <a:gd name="T8" fmla="*/ 209 w 306"/>
              <a:gd name="T9" fmla="*/ 49 h 957"/>
              <a:gd name="T10" fmla="*/ 191 w 306"/>
              <a:gd name="T11" fmla="*/ 6 h 957"/>
              <a:gd name="T12" fmla="*/ 138 w 306"/>
              <a:gd name="T13" fmla="*/ 8 h 957"/>
              <a:gd name="T14" fmla="*/ 116 w 306"/>
              <a:gd name="T15" fmla="*/ 41 h 957"/>
              <a:gd name="T16" fmla="*/ 101 w 306"/>
              <a:gd name="T17" fmla="*/ 79 h 957"/>
              <a:gd name="T18" fmla="*/ 93 w 306"/>
              <a:gd name="T19" fmla="*/ 113 h 957"/>
              <a:gd name="T20" fmla="*/ 95 w 306"/>
              <a:gd name="T21" fmla="*/ 118 h 957"/>
              <a:gd name="T22" fmla="*/ 97 w 306"/>
              <a:gd name="T23" fmla="*/ 124 h 957"/>
              <a:gd name="T24" fmla="*/ 87 w 306"/>
              <a:gd name="T25" fmla="*/ 154 h 957"/>
              <a:gd name="T26" fmla="*/ 55 w 306"/>
              <a:gd name="T27" fmla="*/ 189 h 957"/>
              <a:gd name="T28" fmla="*/ 53 w 306"/>
              <a:gd name="T29" fmla="*/ 427 h 957"/>
              <a:gd name="T30" fmla="*/ 53 w 306"/>
              <a:gd name="T31" fmla="*/ 488 h 957"/>
              <a:gd name="T32" fmla="*/ 5 w 306"/>
              <a:gd name="T33" fmla="*/ 501 h 957"/>
              <a:gd name="T34" fmla="*/ 8 w 306"/>
              <a:gd name="T35" fmla="*/ 684 h 957"/>
              <a:gd name="T36" fmla="*/ 87 w 306"/>
              <a:gd name="T37" fmla="*/ 838 h 957"/>
              <a:gd name="T38" fmla="*/ 76 w 306"/>
              <a:gd name="T39" fmla="*/ 939 h 957"/>
              <a:gd name="T40" fmla="*/ 94 w 306"/>
              <a:gd name="T41" fmla="*/ 956 h 957"/>
              <a:gd name="T42" fmla="*/ 102 w 306"/>
              <a:gd name="T43" fmla="*/ 870 h 957"/>
              <a:gd name="T44" fmla="*/ 130 w 306"/>
              <a:gd name="T45" fmla="*/ 707 h 957"/>
              <a:gd name="T46" fmla="*/ 183 w 306"/>
              <a:gd name="T47" fmla="*/ 639 h 957"/>
              <a:gd name="T48" fmla="*/ 192 w 306"/>
              <a:gd name="T49" fmla="*/ 741 h 957"/>
              <a:gd name="T50" fmla="*/ 202 w 306"/>
              <a:gd name="T51" fmla="*/ 885 h 957"/>
              <a:gd name="T52" fmla="*/ 211 w 306"/>
              <a:gd name="T53" fmla="*/ 910 h 957"/>
              <a:gd name="T54" fmla="*/ 222 w 306"/>
              <a:gd name="T55" fmla="*/ 941 h 957"/>
              <a:gd name="T56" fmla="*/ 258 w 306"/>
              <a:gd name="T57" fmla="*/ 947 h 957"/>
              <a:gd name="T58" fmla="*/ 227 w 306"/>
              <a:gd name="T59" fmla="*/ 873 h 957"/>
              <a:gd name="T60" fmla="*/ 227 w 306"/>
              <a:gd name="T61" fmla="*/ 657 h 957"/>
              <a:gd name="T62" fmla="*/ 245 w 306"/>
              <a:gd name="T63" fmla="*/ 630 h 957"/>
              <a:gd name="T64" fmla="*/ 258 w 306"/>
              <a:gd name="T65" fmla="*/ 441 h 957"/>
              <a:gd name="T66" fmla="*/ 281 w 306"/>
              <a:gd name="T67" fmla="*/ 481 h 957"/>
              <a:gd name="T68" fmla="*/ 286 w 306"/>
              <a:gd name="T69" fmla="*/ 492 h 957"/>
              <a:gd name="T70" fmla="*/ 295 w 306"/>
              <a:gd name="T71" fmla="*/ 495 h 957"/>
              <a:gd name="T72" fmla="*/ 305 w 306"/>
              <a:gd name="T73" fmla="*/ 497 h 957"/>
              <a:gd name="T74" fmla="*/ 63 w 306"/>
              <a:gd name="T75" fmla="*/ 500 h 957"/>
              <a:gd name="T76" fmla="*/ 74 w 306"/>
              <a:gd name="T77" fmla="*/ 495 h 957"/>
              <a:gd name="T78" fmla="*/ 81 w 306"/>
              <a:gd name="T79" fmla="*/ 479 h 957"/>
              <a:gd name="T80" fmla="*/ 79 w 306"/>
              <a:gd name="T81" fmla="*/ 455 h 957"/>
              <a:gd name="T82" fmla="*/ 87 w 306"/>
              <a:gd name="T83" fmla="*/ 442 h 957"/>
              <a:gd name="T84" fmla="*/ 99 w 306"/>
              <a:gd name="T85" fmla="*/ 126 h 957"/>
              <a:gd name="T86" fmla="*/ 213 w 306"/>
              <a:gd name="T87" fmla="*/ 188 h 957"/>
              <a:gd name="T88" fmla="*/ 187 w 306"/>
              <a:gd name="T89" fmla="*/ 251 h 957"/>
              <a:gd name="T90" fmla="*/ 189 w 306"/>
              <a:gd name="T91" fmla="*/ 382 h 957"/>
              <a:gd name="T92" fmla="*/ 172 w 306"/>
              <a:gd name="T93" fmla="*/ 391 h 957"/>
              <a:gd name="T94" fmla="*/ 146 w 306"/>
              <a:gd name="T95" fmla="*/ 374 h 957"/>
              <a:gd name="T96" fmla="*/ 151 w 306"/>
              <a:gd name="T97" fmla="*/ 232 h 957"/>
              <a:gd name="T98" fmla="*/ 133 w 306"/>
              <a:gd name="T99" fmla="*/ 184 h 957"/>
              <a:gd name="T100" fmla="*/ 122 w 306"/>
              <a:gd name="T101" fmla="*/ 159 h 957"/>
              <a:gd name="T102" fmla="*/ 131 w 306"/>
              <a:gd name="T103" fmla="*/ 151 h 957"/>
              <a:gd name="T104" fmla="*/ 167 w 306"/>
              <a:gd name="T105" fmla="*/ 195 h 957"/>
              <a:gd name="T106" fmla="*/ 190 w 306"/>
              <a:gd name="T107" fmla="*/ 158 h 957"/>
              <a:gd name="T108" fmla="*/ 218 w 306"/>
              <a:gd name="T109" fmla="*/ 87 h 957"/>
              <a:gd name="T110" fmla="*/ 225 w 306"/>
              <a:gd name="T111" fmla="*/ 104 h 957"/>
              <a:gd name="T112" fmla="*/ 226 w 306"/>
              <a:gd name="T113" fmla="*/ 119 h 9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6" h="957">
                <a:moveTo>
                  <a:pt x="304" y="482"/>
                </a:moveTo>
                <a:cubicBezTo>
                  <a:pt x="302" y="477"/>
                  <a:pt x="302" y="477"/>
                  <a:pt x="302" y="477"/>
                </a:cubicBezTo>
                <a:cubicBezTo>
                  <a:pt x="293" y="461"/>
                  <a:pt x="293" y="461"/>
                  <a:pt x="293" y="461"/>
                </a:cubicBezTo>
                <a:cubicBezTo>
                  <a:pt x="288" y="453"/>
                  <a:pt x="288" y="453"/>
                  <a:pt x="288" y="453"/>
                </a:cubicBezTo>
                <a:cubicBezTo>
                  <a:pt x="286" y="446"/>
                  <a:pt x="286" y="446"/>
                  <a:pt x="286" y="446"/>
                </a:cubicBezTo>
                <a:cubicBezTo>
                  <a:pt x="275" y="355"/>
                  <a:pt x="275" y="355"/>
                  <a:pt x="275" y="355"/>
                </a:cubicBezTo>
                <a:cubicBezTo>
                  <a:pt x="270" y="314"/>
                  <a:pt x="270" y="314"/>
                  <a:pt x="270" y="314"/>
                </a:cubicBezTo>
                <a:cubicBezTo>
                  <a:pt x="266" y="271"/>
                  <a:pt x="266" y="271"/>
                  <a:pt x="266" y="271"/>
                </a:cubicBezTo>
                <a:cubicBezTo>
                  <a:pt x="262" y="232"/>
                  <a:pt x="262" y="232"/>
                  <a:pt x="262" y="232"/>
                </a:cubicBezTo>
                <a:cubicBezTo>
                  <a:pt x="258" y="204"/>
                  <a:pt x="258" y="204"/>
                  <a:pt x="258" y="204"/>
                </a:cubicBezTo>
                <a:cubicBezTo>
                  <a:pt x="255" y="189"/>
                  <a:pt x="255" y="189"/>
                  <a:pt x="255" y="189"/>
                </a:cubicBezTo>
                <a:cubicBezTo>
                  <a:pt x="254" y="183"/>
                  <a:pt x="254" y="183"/>
                  <a:pt x="254" y="183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0" y="172"/>
                  <a:pt x="250" y="172"/>
                  <a:pt x="250" y="172"/>
                </a:cubicBezTo>
                <a:cubicBezTo>
                  <a:pt x="247" y="167"/>
                  <a:pt x="247" y="167"/>
                  <a:pt x="247" y="167"/>
                </a:cubicBezTo>
                <a:cubicBezTo>
                  <a:pt x="241" y="163"/>
                  <a:pt x="241" y="163"/>
                  <a:pt x="241" y="163"/>
                </a:cubicBezTo>
                <a:cubicBezTo>
                  <a:pt x="233" y="158"/>
                  <a:pt x="233" y="158"/>
                  <a:pt x="233" y="158"/>
                </a:cubicBezTo>
                <a:cubicBezTo>
                  <a:pt x="228" y="156"/>
                  <a:pt x="228" y="156"/>
                  <a:pt x="228" y="156"/>
                </a:cubicBezTo>
                <a:cubicBezTo>
                  <a:pt x="227" y="155"/>
                  <a:pt x="227" y="155"/>
                  <a:pt x="227" y="155"/>
                </a:cubicBezTo>
                <a:cubicBezTo>
                  <a:pt x="225" y="151"/>
                  <a:pt x="225" y="151"/>
                  <a:pt x="225" y="151"/>
                </a:cubicBezTo>
                <a:cubicBezTo>
                  <a:pt x="224" y="147"/>
                  <a:pt x="224" y="147"/>
                  <a:pt x="224" y="147"/>
                </a:cubicBezTo>
                <a:cubicBezTo>
                  <a:pt x="224" y="142"/>
                  <a:pt x="224" y="142"/>
                  <a:pt x="224" y="142"/>
                </a:cubicBezTo>
                <a:cubicBezTo>
                  <a:pt x="225" y="135"/>
                  <a:pt x="225" y="135"/>
                  <a:pt x="225" y="135"/>
                </a:cubicBezTo>
                <a:cubicBezTo>
                  <a:pt x="227" y="131"/>
                  <a:pt x="227" y="131"/>
                  <a:pt x="227" y="131"/>
                </a:cubicBezTo>
                <a:cubicBezTo>
                  <a:pt x="229" y="127"/>
                  <a:pt x="229" y="127"/>
                  <a:pt x="229" y="127"/>
                </a:cubicBezTo>
                <a:cubicBezTo>
                  <a:pt x="230" y="118"/>
                  <a:pt x="230" y="118"/>
                  <a:pt x="230" y="118"/>
                </a:cubicBezTo>
                <a:cubicBezTo>
                  <a:pt x="229" y="110"/>
                  <a:pt x="229" y="110"/>
                  <a:pt x="229" y="110"/>
                </a:cubicBezTo>
                <a:cubicBezTo>
                  <a:pt x="226" y="102"/>
                  <a:pt x="226" y="102"/>
                  <a:pt x="226" y="102"/>
                </a:cubicBezTo>
                <a:cubicBezTo>
                  <a:pt x="226" y="97"/>
                  <a:pt x="226" y="97"/>
                  <a:pt x="226" y="97"/>
                </a:cubicBezTo>
                <a:cubicBezTo>
                  <a:pt x="225" y="91"/>
                  <a:pt x="225" y="91"/>
                  <a:pt x="225" y="91"/>
                </a:cubicBezTo>
                <a:cubicBezTo>
                  <a:pt x="222" y="84"/>
                  <a:pt x="222" y="84"/>
                  <a:pt x="222" y="84"/>
                </a:cubicBezTo>
                <a:cubicBezTo>
                  <a:pt x="217" y="75"/>
                  <a:pt x="217" y="75"/>
                  <a:pt x="217" y="75"/>
                </a:cubicBezTo>
                <a:cubicBezTo>
                  <a:pt x="214" y="69"/>
                  <a:pt x="214" y="69"/>
                  <a:pt x="214" y="69"/>
                </a:cubicBezTo>
                <a:cubicBezTo>
                  <a:pt x="212" y="63"/>
                  <a:pt x="212" y="63"/>
                  <a:pt x="212" y="63"/>
                </a:cubicBezTo>
                <a:cubicBezTo>
                  <a:pt x="209" y="49"/>
                  <a:pt x="209" y="49"/>
                  <a:pt x="209" y="49"/>
                </a:cubicBezTo>
                <a:cubicBezTo>
                  <a:pt x="208" y="34"/>
                  <a:pt x="208" y="34"/>
                  <a:pt x="208" y="34"/>
                </a:cubicBezTo>
                <a:cubicBezTo>
                  <a:pt x="207" y="29"/>
                  <a:pt x="207" y="29"/>
                  <a:pt x="207" y="29"/>
                </a:cubicBezTo>
                <a:cubicBezTo>
                  <a:pt x="206" y="25"/>
                  <a:pt x="206" y="25"/>
                  <a:pt x="206" y="25"/>
                </a:cubicBezTo>
                <a:cubicBezTo>
                  <a:pt x="202" y="18"/>
                  <a:pt x="202" y="18"/>
                  <a:pt x="202" y="18"/>
                </a:cubicBezTo>
                <a:cubicBezTo>
                  <a:pt x="199" y="13"/>
                  <a:pt x="199" y="13"/>
                  <a:pt x="199" y="13"/>
                </a:cubicBezTo>
                <a:cubicBezTo>
                  <a:pt x="195" y="9"/>
                  <a:pt x="195" y="9"/>
                  <a:pt x="195" y="9"/>
                </a:cubicBezTo>
                <a:cubicBezTo>
                  <a:pt x="191" y="6"/>
                  <a:pt x="191" y="6"/>
                  <a:pt x="191" y="6"/>
                </a:cubicBezTo>
                <a:cubicBezTo>
                  <a:pt x="185" y="3"/>
                  <a:pt x="185" y="3"/>
                  <a:pt x="185" y="3"/>
                </a:cubicBezTo>
                <a:cubicBezTo>
                  <a:pt x="179" y="1"/>
                  <a:pt x="179" y="1"/>
                  <a:pt x="179" y="1"/>
                </a:cubicBezTo>
                <a:cubicBezTo>
                  <a:pt x="172" y="0"/>
                  <a:pt x="172" y="0"/>
                  <a:pt x="172" y="0"/>
                </a:cubicBezTo>
                <a:cubicBezTo>
                  <a:pt x="165" y="0"/>
                  <a:pt x="165" y="0"/>
                  <a:pt x="165" y="0"/>
                </a:cubicBezTo>
                <a:cubicBezTo>
                  <a:pt x="156" y="1"/>
                  <a:pt x="156" y="1"/>
                  <a:pt x="156" y="1"/>
                </a:cubicBezTo>
                <a:cubicBezTo>
                  <a:pt x="147" y="4"/>
                  <a:pt x="147" y="4"/>
                  <a:pt x="147" y="4"/>
                </a:cubicBezTo>
                <a:cubicBezTo>
                  <a:pt x="138" y="8"/>
                  <a:pt x="138" y="8"/>
                  <a:pt x="138" y="8"/>
                </a:cubicBezTo>
                <a:cubicBezTo>
                  <a:pt x="134" y="10"/>
                  <a:pt x="134" y="10"/>
                  <a:pt x="134" y="10"/>
                </a:cubicBezTo>
                <a:cubicBezTo>
                  <a:pt x="130" y="14"/>
                  <a:pt x="130" y="14"/>
                  <a:pt x="130" y="14"/>
                </a:cubicBezTo>
                <a:cubicBezTo>
                  <a:pt x="126" y="18"/>
                  <a:pt x="126" y="18"/>
                  <a:pt x="126" y="18"/>
                </a:cubicBezTo>
                <a:cubicBezTo>
                  <a:pt x="123" y="22"/>
                  <a:pt x="123" y="22"/>
                  <a:pt x="123" y="22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4"/>
                  <a:pt x="118" y="34"/>
                  <a:pt x="118" y="34"/>
                </a:cubicBezTo>
                <a:cubicBezTo>
                  <a:pt x="116" y="41"/>
                  <a:pt x="116" y="41"/>
                  <a:pt x="116" y="41"/>
                </a:cubicBezTo>
                <a:cubicBezTo>
                  <a:pt x="115" y="49"/>
                  <a:pt x="115" y="49"/>
                  <a:pt x="115" y="49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111" y="64"/>
                  <a:pt x="111" y="64"/>
                  <a:pt x="111" y="64"/>
                </a:cubicBezTo>
                <a:cubicBezTo>
                  <a:pt x="106" y="72"/>
                  <a:pt x="106" y="72"/>
                  <a:pt x="106" y="72"/>
                </a:cubicBezTo>
                <a:cubicBezTo>
                  <a:pt x="103" y="76"/>
                  <a:pt x="103" y="76"/>
                  <a:pt x="103" y="76"/>
                </a:cubicBezTo>
                <a:cubicBezTo>
                  <a:pt x="100" y="79"/>
                  <a:pt x="100" y="79"/>
                  <a:pt x="100" y="79"/>
                </a:cubicBezTo>
                <a:cubicBezTo>
                  <a:pt x="101" y="79"/>
                  <a:pt x="101" y="79"/>
                  <a:pt x="101" y="79"/>
                </a:cubicBezTo>
                <a:cubicBezTo>
                  <a:pt x="104" y="77"/>
                  <a:pt x="104" y="77"/>
                  <a:pt x="104" y="77"/>
                </a:cubicBezTo>
                <a:cubicBezTo>
                  <a:pt x="108" y="73"/>
                  <a:pt x="108" y="73"/>
                  <a:pt x="108" y="73"/>
                </a:cubicBezTo>
                <a:cubicBezTo>
                  <a:pt x="112" y="65"/>
                  <a:pt x="112" y="65"/>
                  <a:pt x="112" y="65"/>
                </a:cubicBezTo>
                <a:cubicBezTo>
                  <a:pt x="111" y="70"/>
                  <a:pt x="111" y="70"/>
                  <a:pt x="111" y="70"/>
                </a:cubicBezTo>
                <a:cubicBezTo>
                  <a:pt x="100" y="92"/>
                  <a:pt x="100" y="92"/>
                  <a:pt x="100" y="92"/>
                </a:cubicBezTo>
                <a:cubicBezTo>
                  <a:pt x="96" y="102"/>
                  <a:pt x="96" y="102"/>
                  <a:pt x="96" y="102"/>
                </a:cubicBezTo>
                <a:cubicBezTo>
                  <a:pt x="93" y="113"/>
                  <a:pt x="93" y="113"/>
                  <a:pt x="93" y="113"/>
                </a:cubicBezTo>
                <a:cubicBezTo>
                  <a:pt x="92" y="118"/>
                  <a:pt x="92" y="118"/>
                  <a:pt x="92" y="118"/>
                </a:cubicBezTo>
                <a:cubicBezTo>
                  <a:pt x="92" y="124"/>
                  <a:pt x="92" y="124"/>
                  <a:pt x="92" y="124"/>
                </a:cubicBezTo>
                <a:cubicBezTo>
                  <a:pt x="93" y="131"/>
                  <a:pt x="93" y="131"/>
                  <a:pt x="93" y="131"/>
                </a:cubicBezTo>
                <a:cubicBezTo>
                  <a:pt x="95" y="137"/>
                  <a:pt x="95" y="137"/>
                  <a:pt x="95" y="137"/>
                </a:cubicBezTo>
                <a:cubicBezTo>
                  <a:pt x="95" y="133"/>
                  <a:pt x="95" y="133"/>
                  <a:pt x="95" y="133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95" y="118"/>
                  <a:pt x="95" y="118"/>
                  <a:pt x="95" y="118"/>
                </a:cubicBezTo>
                <a:cubicBezTo>
                  <a:pt x="97" y="111"/>
                  <a:pt x="97" y="111"/>
                  <a:pt x="97" y="111"/>
                </a:cubicBezTo>
                <a:cubicBezTo>
                  <a:pt x="99" y="104"/>
                  <a:pt x="99" y="104"/>
                  <a:pt x="99" y="104"/>
                </a:cubicBezTo>
                <a:cubicBezTo>
                  <a:pt x="103" y="97"/>
                  <a:pt x="103" y="97"/>
                  <a:pt x="103" y="97"/>
                </a:cubicBezTo>
                <a:cubicBezTo>
                  <a:pt x="101" y="103"/>
                  <a:pt x="101" y="103"/>
                  <a:pt x="101" y="103"/>
                </a:cubicBezTo>
                <a:cubicBezTo>
                  <a:pt x="100" y="109"/>
                  <a:pt x="100" y="109"/>
                  <a:pt x="100" y="109"/>
                </a:cubicBezTo>
                <a:cubicBezTo>
                  <a:pt x="98" y="116"/>
                  <a:pt x="98" y="116"/>
                  <a:pt x="98" y="116"/>
                </a:cubicBezTo>
                <a:cubicBezTo>
                  <a:pt x="97" y="124"/>
                  <a:pt x="97" y="124"/>
                  <a:pt x="97" y="124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9"/>
                  <a:pt x="99" y="139"/>
                  <a:pt x="99" y="139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1" y="147"/>
                  <a:pt x="101" y="147"/>
                  <a:pt x="101" y="147"/>
                </a:cubicBezTo>
                <a:cubicBezTo>
                  <a:pt x="100" y="150"/>
                  <a:pt x="100" y="150"/>
                  <a:pt x="100" y="150"/>
                </a:cubicBezTo>
                <a:cubicBezTo>
                  <a:pt x="95" y="153"/>
                  <a:pt x="95" y="153"/>
                  <a:pt x="95" y="153"/>
                </a:cubicBezTo>
                <a:cubicBezTo>
                  <a:pt x="87" y="154"/>
                  <a:pt x="87" y="154"/>
                  <a:pt x="87" y="154"/>
                </a:cubicBezTo>
                <a:cubicBezTo>
                  <a:pt x="80" y="156"/>
                  <a:pt x="80" y="156"/>
                  <a:pt x="80" y="156"/>
                </a:cubicBezTo>
                <a:cubicBezTo>
                  <a:pt x="73" y="159"/>
                  <a:pt x="73" y="159"/>
                  <a:pt x="73" y="159"/>
                </a:cubicBezTo>
                <a:cubicBezTo>
                  <a:pt x="67" y="163"/>
                  <a:pt x="67" y="163"/>
                  <a:pt x="67" y="163"/>
                </a:cubicBezTo>
                <a:cubicBezTo>
                  <a:pt x="63" y="168"/>
                  <a:pt x="63" y="168"/>
                  <a:pt x="63" y="168"/>
                </a:cubicBezTo>
                <a:cubicBezTo>
                  <a:pt x="59" y="175"/>
                  <a:pt x="59" y="175"/>
                  <a:pt x="59" y="175"/>
                </a:cubicBezTo>
                <a:cubicBezTo>
                  <a:pt x="57" y="182"/>
                  <a:pt x="57" y="182"/>
                  <a:pt x="57" y="182"/>
                </a:cubicBezTo>
                <a:cubicBezTo>
                  <a:pt x="55" y="189"/>
                  <a:pt x="55" y="189"/>
                  <a:pt x="55" y="189"/>
                </a:cubicBezTo>
                <a:cubicBezTo>
                  <a:pt x="55" y="197"/>
                  <a:pt x="55" y="197"/>
                  <a:pt x="55" y="197"/>
                </a:cubicBezTo>
                <a:cubicBezTo>
                  <a:pt x="51" y="301"/>
                  <a:pt x="51" y="301"/>
                  <a:pt x="51" y="301"/>
                </a:cubicBezTo>
                <a:cubicBezTo>
                  <a:pt x="50" y="366"/>
                  <a:pt x="50" y="366"/>
                  <a:pt x="50" y="366"/>
                </a:cubicBezTo>
                <a:cubicBezTo>
                  <a:pt x="50" y="389"/>
                  <a:pt x="50" y="389"/>
                  <a:pt x="50" y="389"/>
                </a:cubicBezTo>
                <a:cubicBezTo>
                  <a:pt x="50" y="403"/>
                  <a:pt x="50" y="403"/>
                  <a:pt x="50" y="403"/>
                </a:cubicBezTo>
                <a:cubicBezTo>
                  <a:pt x="52" y="416"/>
                  <a:pt x="52" y="416"/>
                  <a:pt x="52" y="416"/>
                </a:cubicBezTo>
                <a:cubicBezTo>
                  <a:pt x="53" y="427"/>
                  <a:pt x="53" y="427"/>
                  <a:pt x="53" y="427"/>
                </a:cubicBezTo>
                <a:cubicBezTo>
                  <a:pt x="54" y="444"/>
                  <a:pt x="54" y="444"/>
                  <a:pt x="54" y="444"/>
                </a:cubicBezTo>
                <a:cubicBezTo>
                  <a:pt x="53" y="465"/>
                  <a:pt x="53" y="465"/>
                  <a:pt x="53" y="465"/>
                </a:cubicBezTo>
                <a:cubicBezTo>
                  <a:pt x="53" y="475"/>
                  <a:pt x="53" y="475"/>
                  <a:pt x="53" y="475"/>
                </a:cubicBezTo>
                <a:cubicBezTo>
                  <a:pt x="53" y="479"/>
                  <a:pt x="53" y="479"/>
                  <a:pt x="53" y="479"/>
                </a:cubicBezTo>
                <a:cubicBezTo>
                  <a:pt x="55" y="481"/>
                  <a:pt x="55" y="481"/>
                  <a:pt x="55" y="481"/>
                </a:cubicBezTo>
                <a:cubicBezTo>
                  <a:pt x="56" y="482"/>
                  <a:pt x="56" y="482"/>
                  <a:pt x="56" y="482"/>
                </a:cubicBezTo>
                <a:cubicBezTo>
                  <a:pt x="53" y="488"/>
                  <a:pt x="53" y="488"/>
                  <a:pt x="53" y="488"/>
                </a:cubicBezTo>
                <a:cubicBezTo>
                  <a:pt x="52" y="495"/>
                  <a:pt x="52" y="495"/>
                  <a:pt x="52" y="495"/>
                </a:cubicBezTo>
                <a:cubicBezTo>
                  <a:pt x="27" y="494"/>
                  <a:pt x="27" y="494"/>
                  <a:pt x="27" y="494"/>
                </a:cubicBezTo>
                <a:cubicBezTo>
                  <a:pt x="21" y="494"/>
                  <a:pt x="21" y="494"/>
                  <a:pt x="21" y="494"/>
                </a:cubicBezTo>
                <a:cubicBezTo>
                  <a:pt x="14" y="496"/>
                  <a:pt x="14" y="496"/>
                  <a:pt x="14" y="496"/>
                </a:cubicBezTo>
                <a:cubicBezTo>
                  <a:pt x="8" y="498"/>
                  <a:pt x="8" y="498"/>
                  <a:pt x="8" y="498"/>
                </a:cubicBezTo>
                <a:cubicBezTo>
                  <a:pt x="6" y="500"/>
                  <a:pt x="6" y="500"/>
                  <a:pt x="6" y="500"/>
                </a:cubicBezTo>
                <a:cubicBezTo>
                  <a:pt x="5" y="501"/>
                  <a:pt x="5" y="501"/>
                  <a:pt x="5" y="501"/>
                </a:cubicBezTo>
                <a:cubicBezTo>
                  <a:pt x="2" y="585"/>
                  <a:pt x="2" y="585"/>
                  <a:pt x="2" y="585"/>
                </a:cubicBezTo>
                <a:cubicBezTo>
                  <a:pt x="0" y="643"/>
                  <a:pt x="0" y="643"/>
                  <a:pt x="0" y="643"/>
                </a:cubicBezTo>
                <a:cubicBezTo>
                  <a:pt x="0" y="673"/>
                  <a:pt x="0" y="673"/>
                  <a:pt x="0" y="673"/>
                </a:cubicBezTo>
                <a:cubicBezTo>
                  <a:pt x="1" y="678"/>
                  <a:pt x="1" y="678"/>
                  <a:pt x="1" y="678"/>
                </a:cubicBezTo>
                <a:cubicBezTo>
                  <a:pt x="3" y="681"/>
                  <a:pt x="3" y="681"/>
                  <a:pt x="3" y="681"/>
                </a:cubicBezTo>
                <a:cubicBezTo>
                  <a:pt x="6" y="682"/>
                  <a:pt x="6" y="682"/>
                  <a:pt x="6" y="682"/>
                </a:cubicBezTo>
                <a:cubicBezTo>
                  <a:pt x="8" y="684"/>
                  <a:pt x="8" y="684"/>
                  <a:pt x="8" y="684"/>
                </a:cubicBezTo>
                <a:cubicBezTo>
                  <a:pt x="38" y="692"/>
                  <a:pt x="38" y="692"/>
                  <a:pt x="38" y="692"/>
                </a:cubicBezTo>
                <a:cubicBezTo>
                  <a:pt x="90" y="706"/>
                  <a:pt x="90" y="706"/>
                  <a:pt x="90" y="706"/>
                </a:cubicBezTo>
                <a:cubicBezTo>
                  <a:pt x="88" y="722"/>
                  <a:pt x="88" y="722"/>
                  <a:pt x="88" y="722"/>
                </a:cubicBezTo>
                <a:cubicBezTo>
                  <a:pt x="87" y="740"/>
                  <a:pt x="87" y="740"/>
                  <a:pt x="87" y="740"/>
                </a:cubicBezTo>
                <a:cubicBezTo>
                  <a:pt x="88" y="794"/>
                  <a:pt x="88" y="794"/>
                  <a:pt x="88" y="794"/>
                </a:cubicBezTo>
                <a:cubicBezTo>
                  <a:pt x="87" y="821"/>
                  <a:pt x="87" y="821"/>
                  <a:pt x="87" y="821"/>
                </a:cubicBezTo>
                <a:cubicBezTo>
                  <a:pt x="87" y="838"/>
                  <a:pt x="87" y="838"/>
                  <a:pt x="87" y="838"/>
                </a:cubicBezTo>
                <a:cubicBezTo>
                  <a:pt x="82" y="872"/>
                  <a:pt x="82" y="872"/>
                  <a:pt x="82" y="872"/>
                </a:cubicBezTo>
                <a:cubicBezTo>
                  <a:pt x="80" y="892"/>
                  <a:pt x="80" y="892"/>
                  <a:pt x="80" y="892"/>
                </a:cubicBezTo>
                <a:cubicBezTo>
                  <a:pt x="76" y="907"/>
                  <a:pt x="76" y="907"/>
                  <a:pt x="76" y="907"/>
                </a:cubicBezTo>
                <a:cubicBezTo>
                  <a:pt x="75" y="914"/>
                  <a:pt x="75" y="914"/>
                  <a:pt x="75" y="914"/>
                </a:cubicBezTo>
                <a:cubicBezTo>
                  <a:pt x="75" y="922"/>
                  <a:pt x="75" y="922"/>
                  <a:pt x="75" y="922"/>
                </a:cubicBezTo>
                <a:cubicBezTo>
                  <a:pt x="75" y="930"/>
                  <a:pt x="75" y="930"/>
                  <a:pt x="75" y="930"/>
                </a:cubicBezTo>
                <a:cubicBezTo>
                  <a:pt x="76" y="939"/>
                  <a:pt x="76" y="939"/>
                  <a:pt x="76" y="939"/>
                </a:cubicBezTo>
                <a:cubicBezTo>
                  <a:pt x="78" y="946"/>
                  <a:pt x="78" y="946"/>
                  <a:pt x="78" y="946"/>
                </a:cubicBezTo>
                <a:cubicBezTo>
                  <a:pt x="81" y="952"/>
                  <a:pt x="81" y="952"/>
                  <a:pt x="81" y="952"/>
                </a:cubicBezTo>
                <a:cubicBezTo>
                  <a:pt x="83" y="954"/>
                  <a:pt x="83" y="954"/>
                  <a:pt x="83" y="954"/>
                </a:cubicBezTo>
                <a:cubicBezTo>
                  <a:pt x="86" y="956"/>
                  <a:pt x="86" y="956"/>
                  <a:pt x="86" y="956"/>
                </a:cubicBezTo>
                <a:cubicBezTo>
                  <a:pt x="89" y="957"/>
                  <a:pt x="89" y="957"/>
                  <a:pt x="89" y="957"/>
                </a:cubicBezTo>
                <a:cubicBezTo>
                  <a:pt x="92" y="957"/>
                  <a:pt x="92" y="957"/>
                  <a:pt x="92" y="957"/>
                </a:cubicBezTo>
                <a:cubicBezTo>
                  <a:pt x="94" y="956"/>
                  <a:pt x="94" y="956"/>
                  <a:pt x="94" y="956"/>
                </a:cubicBezTo>
                <a:cubicBezTo>
                  <a:pt x="97" y="954"/>
                  <a:pt x="97" y="954"/>
                  <a:pt x="97" y="954"/>
                </a:cubicBezTo>
                <a:cubicBezTo>
                  <a:pt x="99" y="951"/>
                  <a:pt x="99" y="951"/>
                  <a:pt x="99" y="951"/>
                </a:cubicBezTo>
                <a:cubicBezTo>
                  <a:pt x="100" y="947"/>
                  <a:pt x="100" y="947"/>
                  <a:pt x="100" y="947"/>
                </a:cubicBezTo>
                <a:cubicBezTo>
                  <a:pt x="102" y="939"/>
                  <a:pt x="102" y="939"/>
                  <a:pt x="102" y="939"/>
                </a:cubicBezTo>
                <a:cubicBezTo>
                  <a:pt x="103" y="930"/>
                  <a:pt x="103" y="930"/>
                  <a:pt x="103" y="930"/>
                </a:cubicBezTo>
                <a:cubicBezTo>
                  <a:pt x="102" y="895"/>
                  <a:pt x="102" y="895"/>
                  <a:pt x="102" y="895"/>
                </a:cubicBezTo>
                <a:cubicBezTo>
                  <a:pt x="102" y="870"/>
                  <a:pt x="102" y="870"/>
                  <a:pt x="102" y="870"/>
                </a:cubicBezTo>
                <a:cubicBezTo>
                  <a:pt x="103" y="857"/>
                  <a:pt x="103" y="857"/>
                  <a:pt x="103" y="857"/>
                </a:cubicBezTo>
                <a:cubicBezTo>
                  <a:pt x="105" y="845"/>
                  <a:pt x="105" y="845"/>
                  <a:pt x="105" y="845"/>
                </a:cubicBezTo>
                <a:cubicBezTo>
                  <a:pt x="119" y="775"/>
                  <a:pt x="119" y="775"/>
                  <a:pt x="119" y="775"/>
                </a:cubicBezTo>
                <a:cubicBezTo>
                  <a:pt x="126" y="739"/>
                  <a:pt x="126" y="739"/>
                  <a:pt x="126" y="739"/>
                </a:cubicBezTo>
                <a:cubicBezTo>
                  <a:pt x="129" y="725"/>
                  <a:pt x="129" y="725"/>
                  <a:pt x="129" y="725"/>
                </a:cubicBezTo>
                <a:cubicBezTo>
                  <a:pt x="129" y="717"/>
                  <a:pt x="129" y="717"/>
                  <a:pt x="129" y="717"/>
                </a:cubicBezTo>
                <a:cubicBezTo>
                  <a:pt x="130" y="707"/>
                  <a:pt x="130" y="707"/>
                  <a:pt x="130" y="707"/>
                </a:cubicBezTo>
                <a:cubicBezTo>
                  <a:pt x="133" y="694"/>
                  <a:pt x="133" y="694"/>
                  <a:pt x="133" y="694"/>
                </a:cubicBezTo>
                <a:cubicBezTo>
                  <a:pt x="139" y="670"/>
                  <a:pt x="139" y="670"/>
                  <a:pt x="139" y="670"/>
                </a:cubicBezTo>
                <a:cubicBezTo>
                  <a:pt x="145" y="642"/>
                  <a:pt x="145" y="642"/>
                  <a:pt x="145" y="642"/>
                </a:cubicBezTo>
                <a:cubicBezTo>
                  <a:pt x="166" y="642"/>
                  <a:pt x="166" y="642"/>
                  <a:pt x="166" y="642"/>
                </a:cubicBezTo>
                <a:cubicBezTo>
                  <a:pt x="177" y="641"/>
                  <a:pt x="177" y="641"/>
                  <a:pt x="177" y="641"/>
                </a:cubicBezTo>
                <a:cubicBezTo>
                  <a:pt x="181" y="641"/>
                  <a:pt x="181" y="641"/>
                  <a:pt x="181" y="641"/>
                </a:cubicBezTo>
                <a:cubicBezTo>
                  <a:pt x="183" y="639"/>
                  <a:pt x="183" y="639"/>
                  <a:pt x="183" y="639"/>
                </a:cubicBezTo>
                <a:cubicBezTo>
                  <a:pt x="183" y="640"/>
                  <a:pt x="183" y="640"/>
                  <a:pt x="183" y="640"/>
                </a:cubicBezTo>
                <a:cubicBezTo>
                  <a:pt x="183" y="642"/>
                  <a:pt x="183" y="642"/>
                  <a:pt x="183" y="642"/>
                </a:cubicBezTo>
                <a:cubicBezTo>
                  <a:pt x="184" y="650"/>
                  <a:pt x="184" y="650"/>
                  <a:pt x="184" y="650"/>
                </a:cubicBezTo>
                <a:cubicBezTo>
                  <a:pt x="184" y="667"/>
                  <a:pt x="184" y="667"/>
                  <a:pt x="184" y="667"/>
                </a:cubicBezTo>
                <a:cubicBezTo>
                  <a:pt x="185" y="691"/>
                  <a:pt x="185" y="691"/>
                  <a:pt x="185" y="691"/>
                </a:cubicBezTo>
                <a:cubicBezTo>
                  <a:pt x="188" y="717"/>
                  <a:pt x="188" y="717"/>
                  <a:pt x="188" y="717"/>
                </a:cubicBezTo>
                <a:cubicBezTo>
                  <a:pt x="192" y="741"/>
                  <a:pt x="192" y="741"/>
                  <a:pt x="192" y="741"/>
                </a:cubicBezTo>
                <a:cubicBezTo>
                  <a:pt x="195" y="759"/>
                  <a:pt x="195" y="759"/>
                  <a:pt x="195" y="759"/>
                </a:cubicBezTo>
                <a:cubicBezTo>
                  <a:pt x="199" y="780"/>
                  <a:pt x="199" y="780"/>
                  <a:pt x="199" y="780"/>
                </a:cubicBezTo>
                <a:cubicBezTo>
                  <a:pt x="202" y="810"/>
                  <a:pt x="202" y="810"/>
                  <a:pt x="202" y="810"/>
                </a:cubicBezTo>
                <a:cubicBezTo>
                  <a:pt x="205" y="839"/>
                  <a:pt x="205" y="839"/>
                  <a:pt x="205" y="839"/>
                </a:cubicBezTo>
                <a:cubicBezTo>
                  <a:pt x="205" y="861"/>
                  <a:pt x="205" y="861"/>
                  <a:pt x="205" y="861"/>
                </a:cubicBezTo>
                <a:cubicBezTo>
                  <a:pt x="204" y="875"/>
                  <a:pt x="204" y="875"/>
                  <a:pt x="204" y="875"/>
                </a:cubicBezTo>
                <a:cubicBezTo>
                  <a:pt x="202" y="885"/>
                  <a:pt x="202" y="885"/>
                  <a:pt x="202" y="885"/>
                </a:cubicBezTo>
                <a:cubicBezTo>
                  <a:pt x="201" y="892"/>
                  <a:pt x="201" y="892"/>
                  <a:pt x="201" y="892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895"/>
                  <a:pt x="201" y="895"/>
                  <a:pt x="201" y="895"/>
                </a:cubicBezTo>
                <a:cubicBezTo>
                  <a:pt x="201" y="911"/>
                  <a:pt x="201" y="911"/>
                  <a:pt x="201" y="911"/>
                </a:cubicBezTo>
                <a:cubicBezTo>
                  <a:pt x="204" y="911"/>
                  <a:pt x="204" y="911"/>
                  <a:pt x="204" y="911"/>
                </a:cubicBezTo>
                <a:cubicBezTo>
                  <a:pt x="205" y="906"/>
                  <a:pt x="206" y="904"/>
                  <a:pt x="206" y="903"/>
                </a:cubicBezTo>
                <a:cubicBezTo>
                  <a:pt x="211" y="910"/>
                  <a:pt x="211" y="910"/>
                  <a:pt x="211" y="910"/>
                </a:cubicBezTo>
                <a:cubicBezTo>
                  <a:pt x="214" y="918"/>
                  <a:pt x="214" y="918"/>
                  <a:pt x="214" y="918"/>
                </a:cubicBezTo>
                <a:cubicBezTo>
                  <a:pt x="215" y="922"/>
                  <a:pt x="215" y="922"/>
                  <a:pt x="215" y="922"/>
                </a:cubicBezTo>
                <a:cubicBezTo>
                  <a:pt x="215" y="925"/>
                  <a:pt x="215" y="925"/>
                  <a:pt x="215" y="925"/>
                </a:cubicBezTo>
                <a:cubicBezTo>
                  <a:pt x="216" y="929"/>
                  <a:pt x="216" y="929"/>
                  <a:pt x="216" y="929"/>
                </a:cubicBezTo>
                <a:cubicBezTo>
                  <a:pt x="217" y="933"/>
                  <a:pt x="217" y="933"/>
                  <a:pt x="217" y="933"/>
                </a:cubicBezTo>
                <a:cubicBezTo>
                  <a:pt x="219" y="937"/>
                  <a:pt x="219" y="937"/>
                  <a:pt x="219" y="937"/>
                </a:cubicBezTo>
                <a:cubicBezTo>
                  <a:pt x="222" y="941"/>
                  <a:pt x="222" y="941"/>
                  <a:pt x="222" y="941"/>
                </a:cubicBezTo>
                <a:cubicBezTo>
                  <a:pt x="227" y="945"/>
                  <a:pt x="227" y="945"/>
                  <a:pt x="227" y="945"/>
                </a:cubicBezTo>
                <a:cubicBezTo>
                  <a:pt x="233" y="947"/>
                  <a:pt x="233" y="947"/>
                  <a:pt x="233" y="947"/>
                </a:cubicBezTo>
                <a:cubicBezTo>
                  <a:pt x="241" y="949"/>
                  <a:pt x="241" y="949"/>
                  <a:pt x="241" y="949"/>
                </a:cubicBezTo>
                <a:cubicBezTo>
                  <a:pt x="252" y="950"/>
                  <a:pt x="252" y="950"/>
                  <a:pt x="252" y="950"/>
                </a:cubicBezTo>
                <a:cubicBezTo>
                  <a:pt x="256" y="949"/>
                  <a:pt x="256" y="949"/>
                  <a:pt x="256" y="949"/>
                </a:cubicBezTo>
                <a:cubicBezTo>
                  <a:pt x="257" y="948"/>
                  <a:pt x="257" y="948"/>
                  <a:pt x="257" y="948"/>
                </a:cubicBezTo>
                <a:cubicBezTo>
                  <a:pt x="258" y="947"/>
                  <a:pt x="258" y="947"/>
                  <a:pt x="258" y="947"/>
                </a:cubicBezTo>
                <a:cubicBezTo>
                  <a:pt x="257" y="943"/>
                  <a:pt x="257" y="943"/>
                  <a:pt x="257" y="943"/>
                </a:cubicBezTo>
                <a:cubicBezTo>
                  <a:pt x="256" y="938"/>
                  <a:pt x="256" y="938"/>
                  <a:pt x="256" y="938"/>
                </a:cubicBezTo>
                <a:cubicBezTo>
                  <a:pt x="249" y="927"/>
                  <a:pt x="249" y="927"/>
                  <a:pt x="249" y="927"/>
                </a:cubicBezTo>
                <a:cubicBezTo>
                  <a:pt x="242" y="915"/>
                  <a:pt x="242" y="915"/>
                  <a:pt x="242" y="915"/>
                </a:cubicBezTo>
                <a:cubicBezTo>
                  <a:pt x="235" y="902"/>
                  <a:pt x="235" y="902"/>
                  <a:pt x="235" y="902"/>
                </a:cubicBezTo>
                <a:cubicBezTo>
                  <a:pt x="230" y="887"/>
                  <a:pt x="230" y="887"/>
                  <a:pt x="230" y="887"/>
                </a:cubicBezTo>
                <a:cubicBezTo>
                  <a:pt x="227" y="873"/>
                  <a:pt x="227" y="873"/>
                  <a:pt x="227" y="873"/>
                </a:cubicBezTo>
                <a:cubicBezTo>
                  <a:pt x="226" y="861"/>
                  <a:pt x="226" y="861"/>
                  <a:pt x="226" y="861"/>
                </a:cubicBezTo>
                <a:cubicBezTo>
                  <a:pt x="229" y="795"/>
                  <a:pt x="229" y="795"/>
                  <a:pt x="229" y="795"/>
                </a:cubicBezTo>
                <a:cubicBezTo>
                  <a:pt x="231" y="748"/>
                  <a:pt x="231" y="748"/>
                  <a:pt x="231" y="748"/>
                </a:cubicBezTo>
                <a:cubicBezTo>
                  <a:pt x="231" y="726"/>
                  <a:pt x="231" y="726"/>
                  <a:pt x="231" y="726"/>
                </a:cubicBezTo>
                <a:cubicBezTo>
                  <a:pt x="231" y="709"/>
                  <a:pt x="231" y="709"/>
                  <a:pt x="231" y="709"/>
                </a:cubicBezTo>
                <a:cubicBezTo>
                  <a:pt x="229" y="681"/>
                  <a:pt x="229" y="681"/>
                  <a:pt x="229" y="681"/>
                </a:cubicBezTo>
                <a:cubicBezTo>
                  <a:pt x="227" y="657"/>
                  <a:pt x="227" y="657"/>
                  <a:pt x="227" y="657"/>
                </a:cubicBezTo>
                <a:cubicBezTo>
                  <a:pt x="227" y="641"/>
                  <a:pt x="227" y="641"/>
                  <a:pt x="227" y="641"/>
                </a:cubicBezTo>
                <a:cubicBezTo>
                  <a:pt x="227" y="636"/>
                  <a:pt x="227" y="636"/>
                  <a:pt x="227" y="636"/>
                </a:cubicBezTo>
                <a:cubicBezTo>
                  <a:pt x="228" y="634"/>
                  <a:pt x="228" y="634"/>
                  <a:pt x="228" y="634"/>
                </a:cubicBezTo>
                <a:cubicBezTo>
                  <a:pt x="239" y="633"/>
                  <a:pt x="239" y="633"/>
                  <a:pt x="239" y="633"/>
                </a:cubicBezTo>
                <a:cubicBezTo>
                  <a:pt x="241" y="633"/>
                  <a:pt x="241" y="633"/>
                  <a:pt x="241" y="633"/>
                </a:cubicBezTo>
                <a:cubicBezTo>
                  <a:pt x="244" y="632"/>
                  <a:pt x="244" y="632"/>
                  <a:pt x="244" y="632"/>
                </a:cubicBezTo>
                <a:cubicBezTo>
                  <a:pt x="245" y="630"/>
                  <a:pt x="245" y="630"/>
                  <a:pt x="245" y="630"/>
                </a:cubicBezTo>
                <a:cubicBezTo>
                  <a:pt x="246" y="627"/>
                  <a:pt x="246" y="627"/>
                  <a:pt x="246" y="627"/>
                </a:cubicBezTo>
                <a:cubicBezTo>
                  <a:pt x="248" y="530"/>
                  <a:pt x="248" y="530"/>
                  <a:pt x="248" y="530"/>
                </a:cubicBezTo>
                <a:cubicBezTo>
                  <a:pt x="249" y="461"/>
                  <a:pt x="249" y="461"/>
                  <a:pt x="249" y="461"/>
                </a:cubicBezTo>
                <a:cubicBezTo>
                  <a:pt x="249" y="434"/>
                  <a:pt x="249" y="434"/>
                  <a:pt x="249" y="434"/>
                </a:cubicBezTo>
                <a:cubicBezTo>
                  <a:pt x="248" y="418"/>
                  <a:pt x="248" y="418"/>
                  <a:pt x="248" y="418"/>
                </a:cubicBezTo>
                <a:cubicBezTo>
                  <a:pt x="252" y="428"/>
                  <a:pt x="252" y="428"/>
                  <a:pt x="252" y="428"/>
                </a:cubicBezTo>
                <a:cubicBezTo>
                  <a:pt x="258" y="441"/>
                  <a:pt x="258" y="441"/>
                  <a:pt x="258" y="441"/>
                </a:cubicBezTo>
                <a:cubicBezTo>
                  <a:pt x="266" y="458"/>
                  <a:pt x="266" y="458"/>
                  <a:pt x="266" y="458"/>
                </a:cubicBezTo>
                <a:cubicBezTo>
                  <a:pt x="271" y="467"/>
                  <a:pt x="271" y="467"/>
                  <a:pt x="271" y="467"/>
                </a:cubicBezTo>
                <a:cubicBezTo>
                  <a:pt x="275" y="474"/>
                  <a:pt x="275" y="474"/>
                  <a:pt x="275" y="474"/>
                </a:cubicBezTo>
                <a:cubicBezTo>
                  <a:pt x="279" y="477"/>
                  <a:pt x="279" y="477"/>
                  <a:pt x="279" y="477"/>
                </a:cubicBezTo>
                <a:cubicBezTo>
                  <a:pt x="281" y="479"/>
                  <a:pt x="281" y="479"/>
                  <a:pt x="281" y="479"/>
                </a:cubicBezTo>
                <a:cubicBezTo>
                  <a:pt x="282" y="480"/>
                  <a:pt x="282" y="480"/>
                  <a:pt x="282" y="480"/>
                </a:cubicBezTo>
                <a:cubicBezTo>
                  <a:pt x="281" y="481"/>
                  <a:pt x="281" y="481"/>
                  <a:pt x="281" y="481"/>
                </a:cubicBezTo>
                <a:cubicBezTo>
                  <a:pt x="279" y="483"/>
                  <a:pt x="279" y="483"/>
                  <a:pt x="279" y="483"/>
                </a:cubicBezTo>
                <a:cubicBezTo>
                  <a:pt x="276" y="486"/>
                  <a:pt x="276" y="486"/>
                  <a:pt x="276" y="486"/>
                </a:cubicBezTo>
                <a:cubicBezTo>
                  <a:pt x="276" y="488"/>
                  <a:pt x="276" y="488"/>
                  <a:pt x="276" y="488"/>
                </a:cubicBezTo>
                <a:cubicBezTo>
                  <a:pt x="280" y="488"/>
                  <a:pt x="280" y="488"/>
                  <a:pt x="280" y="488"/>
                </a:cubicBezTo>
                <a:cubicBezTo>
                  <a:pt x="283" y="488"/>
                  <a:pt x="283" y="488"/>
                  <a:pt x="283" y="488"/>
                </a:cubicBezTo>
                <a:cubicBezTo>
                  <a:pt x="285" y="490"/>
                  <a:pt x="285" y="490"/>
                  <a:pt x="285" y="490"/>
                </a:cubicBezTo>
                <a:cubicBezTo>
                  <a:pt x="286" y="492"/>
                  <a:pt x="286" y="492"/>
                  <a:pt x="286" y="492"/>
                </a:cubicBezTo>
                <a:cubicBezTo>
                  <a:pt x="284" y="495"/>
                  <a:pt x="284" y="495"/>
                  <a:pt x="284" y="495"/>
                </a:cubicBezTo>
                <a:cubicBezTo>
                  <a:pt x="283" y="496"/>
                  <a:pt x="283" y="496"/>
                  <a:pt x="283" y="496"/>
                </a:cubicBezTo>
                <a:cubicBezTo>
                  <a:pt x="282" y="497"/>
                  <a:pt x="282" y="497"/>
                  <a:pt x="282" y="497"/>
                </a:cubicBezTo>
                <a:cubicBezTo>
                  <a:pt x="283" y="498"/>
                  <a:pt x="283" y="498"/>
                  <a:pt x="283" y="498"/>
                </a:cubicBezTo>
                <a:cubicBezTo>
                  <a:pt x="285" y="499"/>
                  <a:pt x="285" y="499"/>
                  <a:pt x="285" y="499"/>
                </a:cubicBezTo>
                <a:cubicBezTo>
                  <a:pt x="288" y="499"/>
                  <a:pt x="288" y="499"/>
                  <a:pt x="288" y="499"/>
                </a:cubicBezTo>
                <a:cubicBezTo>
                  <a:pt x="295" y="495"/>
                  <a:pt x="295" y="495"/>
                  <a:pt x="295" y="495"/>
                </a:cubicBezTo>
                <a:cubicBezTo>
                  <a:pt x="298" y="494"/>
                  <a:pt x="298" y="494"/>
                  <a:pt x="298" y="494"/>
                </a:cubicBezTo>
                <a:cubicBezTo>
                  <a:pt x="299" y="495"/>
                  <a:pt x="299" y="495"/>
                  <a:pt x="299" y="495"/>
                </a:cubicBezTo>
                <a:cubicBezTo>
                  <a:pt x="299" y="496"/>
                  <a:pt x="299" y="496"/>
                  <a:pt x="299" y="496"/>
                </a:cubicBezTo>
                <a:cubicBezTo>
                  <a:pt x="299" y="499"/>
                  <a:pt x="299" y="499"/>
                  <a:pt x="299" y="499"/>
                </a:cubicBezTo>
                <a:cubicBezTo>
                  <a:pt x="301" y="501"/>
                  <a:pt x="301" y="501"/>
                  <a:pt x="301" y="501"/>
                </a:cubicBezTo>
                <a:cubicBezTo>
                  <a:pt x="303" y="501"/>
                  <a:pt x="303" y="501"/>
                  <a:pt x="303" y="501"/>
                </a:cubicBezTo>
                <a:cubicBezTo>
                  <a:pt x="305" y="497"/>
                  <a:pt x="305" y="497"/>
                  <a:pt x="305" y="497"/>
                </a:cubicBezTo>
                <a:cubicBezTo>
                  <a:pt x="306" y="492"/>
                  <a:pt x="306" y="492"/>
                  <a:pt x="306" y="492"/>
                </a:cubicBezTo>
                <a:cubicBezTo>
                  <a:pt x="306" y="487"/>
                  <a:pt x="306" y="487"/>
                  <a:pt x="306" y="487"/>
                </a:cubicBezTo>
                <a:lnTo>
                  <a:pt x="304" y="482"/>
                </a:lnTo>
                <a:close/>
                <a:moveTo>
                  <a:pt x="68" y="502"/>
                </a:moveTo>
                <a:cubicBezTo>
                  <a:pt x="66" y="503"/>
                  <a:pt x="66" y="503"/>
                  <a:pt x="66" y="503"/>
                </a:cubicBezTo>
                <a:cubicBezTo>
                  <a:pt x="64" y="502"/>
                  <a:pt x="64" y="502"/>
                  <a:pt x="64" y="502"/>
                </a:cubicBezTo>
                <a:cubicBezTo>
                  <a:pt x="63" y="500"/>
                  <a:pt x="63" y="500"/>
                  <a:pt x="63" y="500"/>
                </a:cubicBezTo>
                <a:cubicBezTo>
                  <a:pt x="63" y="491"/>
                  <a:pt x="63" y="491"/>
                  <a:pt x="63" y="491"/>
                </a:cubicBezTo>
                <a:cubicBezTo>
                  <a:pt x="71" y="501"/>
                  <a:pt x="71" y="501"/>
                  <a:pt x="71" y="501"/>
                </a:cubicBezTo>
                <a:lnTo>
                  <a:pt x="68" y="502"/>
                </a:lnTo>
                <a:close/>
                <a:moveTo>
                  <a:pt x="76" y="497"/>
                </a:moveTo>
                <a:cubicBezTo>
                  <a:pt x="75" y="500"/>
                  <a:pt x="75" y="500"/>
                  <a:pt x="75" y="500"/>
                </a:cubicBezTo>
                <a:cubicBezTo>
                  <a:pt x="73" y="500"/>
                  <a:pt x="73" y="500"/>
                  <a:pt x="73" y="500"/>
                </a:cubicBezTo>
                <a:cubicBezTo>
                  <a:pt x="74" y="495"/>
                  <a:pt x="74" y="495"/>
                  <a:pt x="74" y="495"/>
                </a:cubicBezTo>
                <a:cubicBezTo>
                  <a:pt x="75" y="490"/>
                  <a:pt x="75" y="490"/>
                  <a:pt x="75" y="490"/>
                </a:cubicBezTo>
                <a:cubicBezTo>
                  <a:pt x="76" y="494"/>
                  <a:pt x="76" y="494"/>
                  <a:pt x="76" y="494"/>
                </a:cubicBezTo>
                <a:lnTo>
                  <a:pt x="76" y="497"/>
                </a:lnTo>
                <a:close/>
                <a:moveTo>
                  <a:pt x="87" y="471"/>
                </a:moveTo>
                <a:cubicBezTo>
                  <a:pt x="86" y="486"/>
                  <a:pt x="86" y="486"/>
                  <a:pt x="86" y="486"/>
                </a:cubicBezTo>
                <a:cubicBezTo>
                  <a:pt x="84" y="482"/>
                  <a:pt x="84" y="482"/>
                  <a:pt x="84" y="482"/>
                </a:cubicBezTo>
                <a:cubicBezTo>
                  <a:pt x="81" y="479"/>
                  <a:pt x="81" y="479"/>
                  <a:pt x="81" y="479"/>
                </a:cubicBezTo>
                <a:cubicBezTo>
                  <a:pt x="79" y="478"/>
                  <a:pt x="79" y="478"/>
                  <a:pt x="79" y="478"/>
                </a:cubicBezTo>
                <a:cubicBezTo>
                  <a:pt x="76" y="472"/>
                  <a:pt x="76" y="472"/>
                  <a:pt x="76" y="472"/>
                </a:cubicBezTo>
                <a:cubicBezTo>
                  <a:pt x="75" y="470"/>
                  <a:pt x="75" y="470"/>
                  <a:pt x="75" y="470"/>
                </a:cubicBezTo>
                <a:cubicBezTo>
                  <a:pt x="75" y="468"/>
                  <a:pt x="75" y="468"/>
                  <a:pt x="75" y="468"/>
                </a:cubicBezTo>
                <a:cubicBezTo>
                  <a:pt x="76" y="463"/>
                  <a:pt x="76" y="463"/>
                  <a:pt x="76" y="463"/>
                </a:cubicBezTo>
                <a:cubicBezTo>
                  <a:pt x="79" y="458"/>
                  <a:pt x="79" y="458"/>
                  <a:pt x="79" y="458"/>
                </a:cubicBezTo>
                <a:cubicBezTo>
                  <a:pt x="79" y="455"/>
                  <a:pt x="79" y="455"/>
                  <a:pt x="79" y="455"/>
                </a:cubicBezTo>
                <a:cubicBezTo>
                  <a:pt x="80" y="451"/>
                  <a:pt x="80" y="451"/>
                  <a:pt x="80" y="451"/>
                </a:cubicBezTo>
                <a:cubicBezTo>
                  <a:pt x="81" y="406"/>
                  <a:pt x="81" y="406"/>
                  <a:pt x="81" y="406"/>
                </a:cubicBezTo>
                <a:cubicBezTo>
                  <a:pt x="82" y="384"/>
                  <a:pt x="82" y="384"/>
                  <a:pt x="82" y="384"/>
                </a:cubicBezTo>
                <a:cubicBezTo>
                  <a:pt x="83" y="379"/>
                  <a:pt x="83" y="379"/>
                  <a:pt x="83" y="379"/>
                </a:cubicBezTo>
                <a:cubicBezTo>
                  <a:pt x="83" y="380"/>
                  <a:pt x="83" y="380"/>
                  <a:pt x="83" y="380"/>
                </a:cubicBezTo>
                <a:cubicBezTo>
                  <a:pt x="86" y="412"/>
                  <a:pt x="86" y="412"/>
                  <a:pt x="86" y="412"/>
                </a:cubicBezTo>
                <a:cubicBezTo>
                  <a:pt x="87" y="442"/>
                  <a:pt x="87" y="442"/>
                  <a:pt x="87" y="442"/>
                </a:cubicBezTo>
                <a:cubicBezTo>
                  <a:pt x="88" y="458"/>
                  <a:pt x="88" y="458"/>
                  <a:pt x="88" y="458"/>
                </a:cubicBezTo>
                <a:lnTo>
                  <a:pt x="87" y="471"/>
                </a:lnTo>
                <a:close/>
                <a:moveTo>
                  <a:pt x="100" y="138"/>
                </a:moveTo>
                <a:cubicBezTo>
                  <a:pt x="99" y="132"/>
                  <a:pt x="99" y="132"/>
                  <a:pt x="99" y="132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99" y="119"/>
                  <a:pt x="99" y="119"/>
                  <a:pt x="99" y="119"/>
                </a:cubicBezTo>
                <a:cubicBezTo>
                  <a:pt x="99" y="126"/>
                  <a:pt x="99" y="126"/>
                  <a:pt x="99" y="126"/>
                </a:cubicBezTo>
                <a:cubicBezTo>
                  <a:pt x="100" y="132"/>
                  <a:pt x="100" y="132"/>
                  <a:pt x="100" y="132"/>
                </a:cubicBezTo>
                <a:cubicBezTo>
                  <a:pt x="101" y="143"/>
                  <a:pt x="101" y="143"/>
                  <a:pt x="101" y="143"/>
                </a:cubicBezTo>
                <a:lnTo>
                  <a:pt x="100" y="138"/>
                </a:lnTo>
                <a:close/>
                <a:moveTo>
                  <a:pt x="218" y="174"/>
                </a:moveTo>
                <a:cubicBezTo>
                  <a:pt x="217" y="184"/>
                  <a:pt x="217" y="184"/>
                  <a:pt x="217" y="184"/>
                </a:cubicBezTo>
                <a:cubicBezTo>
                  <a:pt x="216" y="192"/>
                  <a:pt x="216" y="192"/>
                  <a:pt x="216" y="192"/>
                </a:cubicBezTo>
                <a:cubicBezTo>
                  <a:pt x="213" y="188"/>
                  <a:pt x="213" y="188"/>
                  <a:pt x="213" y="188"/>
                </a:cubicBezTo>
                <a:cubicBezTo>
                  <a:pt x="208" y="182"/>
                  <a:pt x="208" y="182"/>
                  <a:pt x="208" y="182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199" y="192"/>
                  <a:pt x="199" y="192"/>
                  <a:pt x="199" y="192"/>
                </a:cubicBezTo>
                <a:cubicBezTo>
                  <a:pt x="197" y="205"/>
                  <a:pt x="197" y="205"/>
                  <a:pt x="197" y="205"/>
                </a:cubicBezTo>
                <a:cubicBezTo>
                  <a:pt x="195" y="216"/>
                  <a:pt x="195" y="216"/>
                  <a:pt x="195" y="216"/>
                </a:cubicBezTo>
                <a:cubicBezTo>
                  <a:pt x="190" y="233"/>
                  <a:pt x="190" y="233"/>
                  <a:pt x="190" y="233"/>
                </a:cubicBezTo>
                <a:cubicBezTo>
                  <a:pt x="187" y="251"/>
                  <a:pt x="187" y="251"/>
                  <a:pt x="187" y="251"/>
                </a:cubicBezTo>
                <a:cubicBezTo>
                  <a:pt x="183" y="287"/>
                  <a:pt x="183" y="287"/>
                  <a:pt x="183" y="287"/>
                </a:cubicBezTo>
                <a:cubicBezTo>
                  <a:pt x="182" y="305"/>
                  <a:pt x="182" y="305"/>
                  <a:pt x="182" y="305"/>
                </a:cubicBezTo>
                <a:cubicBezTo>
                  <a:pt x="183" y="322"/>
                  <a:pt x="183" y="322"/>
                  <a:pt x="183" y="322"/>
                </a:cubicBezTo>
                <a:cubicBezTo>
                  <a:pt x="186" y="356"/>
                  <a:pt x="186" y="356"/>
                  <a:pt x="186" y="356"/>
                </a:cubicBezTo>
                <a:cubicBezTo>
                  <a:pt x="187" y="369"/>
                  <a:pt x="187" y="369"/>
                  <a:pt x="187" y="369"/>
                </a:cubicBezTo>
                <a:cubicBezTo>
                  <a:pt x="188" y="375"/>
                  <a:pt x="188" y="375"/>
                  <a:pt x="188" y="375"/>
                </a:cubicBezTo>
                <a:cubicBezTo>
                  <a:pt x="189" y="382"/>
                  <a:pt x="189" y="382"/>
                  <a:pt x="189" y="382"/>
                </a:cubicBezTo>
                <a:cubicBezTo>
                  <a:pt x="192" y="389"/>
                  <a:pt x="192" y="389"/>
                  <a:pt x="192" y="389"/>
                </a:cubicBezTo>
                <a:cubicBezTo>
                  <a:pt x="193" y="392"/>
                  <a:pt x="193" y="392"/>
                  <a:pt x="193" y="392"/>
                </a:cubicBezTo>
                <a:cubicBezTo>
                  <a:pt x="194" y="396"/>
                  <a:pt x="194" y="396"/>
                  <a:pt x="194" y="396"/>
                </a:cubicBezTo>
                <a:cubicBezTo>
                  <a:pt x="190" y="396"/>
                  <a:pt x="190" y="396"/>
                  <a:pt x="190" y="396"/>
                </a:cubicBezTo>
                <a:cubicBezTo>
                  <a:pt x="186" y="395"/>
                  <a:pt x="186" y="395"/>
                  <a:pt x="186" y="395"/>
                </a:cubicBezTo>
                <a:cubicBezTo>
                  <a:pt x="179" y="393"/>
                  <a:pt x="179" y="393"/>
                  <a:pt x="179" y="393"/>
                </a:cubicBezTo>
                <a:cubicBezTo>
                  <a:pt x="172" y="391"/>
                  <a:pt x="172" y="391"/>
                  <a:pt x="172" y="391"/>
                </a:cubicBezTo>
                <a:cubicBezTo>
                  <a:pt x="165" y="389"/>
                  <a:pt x="165" y="389"/>
                  <a:pt x="165" y="389"/>
                </a:cubicBezTo>
                <a:cubicBezTo>
                  <a:pt x="159" y="389"/>
                  <a:pt x="159" y="389"/>
                  <a:pt x="159" y="389"/>
                </a:cubicBezTo>
                <a:cubicBezTo>
                  <a:pt x="153" y="390"/>
                  <a:pt x="153" y="390"/>
                  <a:pt x="153" y="390"/>
                </a:cubicBezTo>
                <a:cubicBezTo>
                  <a:pt x="140" y="393"/>
                  <a:pt x="140" y="393"/>
                  <a:pt x="140" y="393"/>
                </a:cubicBezTo>
                <a:cubicBezTo>
                  <a:pt x="141" y="389"/>
                  <a:pt x="141" y="389"/>
                  <a:pt x="141" y="389"/>
                </a:cubicBezTo>
                <a:cubicBezTo>
                  <a:pt x="142" y="384"/>
                  <a:pt x="142" y="384"/>
                  <a:pt x="142" y="384"/>
                </a:cubicBezTo>
                <a:cubicBezTo>
                  <a:pt x="146" y="374"/>
                  <a:pt x="146" y="374"/>
                  <a:pt x="146" y="374"/>
                </a:cubicBezTo>
                <a:cubicBezTo>
                  <a:pt x="150" y="358"/>
                  <a:pt x="150" y="358"/>
                  <a:pt x="150" y="358"/>
                </a:cubicBezTo>
                <a:cubicBezTo>
                  <a:pt x="152" y="342"/>
                  <a:pt x="152" y="342"/>
                  <a:pt x="152" y="342"/>
                </a:cubicBezTo>
                <a:cubicBezTo>
                  <a:pt x="153" y="324"/>
                  <a:pt x="153" y="324"/>
                  <a:pt x="153" y="324"/>
                </a:cubicBezTo>
                <a:cubicBezTo>
                  <a:pt x="153" y="305"/>
                  <a:pt x="153" y="305"/>
                  <a:pt x="153" y="305"/>
                </a:cubicBezTo>
                <a:cubicBezTo>
                  <a:pt x="152" y="268"/>
                  <a:pt x="152" y="268"/>
                  <a:pt x="152" y="268"/>
                </a:cubicBezTo>
                <a:cubicBezTo>
                  <a:pt x="152" y="250"/>
                  <a:pt x="152" y="250"/>
                  <a:pt x="152" y="250"/>
                </a:cubicBezTo>
                <a:cubicBezTo>
                  <a:pt x="151" y="232"/>
                  <a:pt x="151" y="232"/>
                  <a:pt x="151" y="232"/>
                </a:cubicBezTo>
                <a:cubicBezTo>
                  <a:pt x="149" y="216"/>
                  <a:pt x="149" y="216"/>
                  <a:pt x="149" y="216"/>
                </a:cubicBezTo>
                <a:cubicBezTo>
                  <a:pt x="147" y="207"/>
                  <a:pt x="147" y="207"/>
                  <a:pt x="147" y="207"/>
                </a:cubicBezTo>
                <a:cubicBezTo>
                  <a:pt x="144" y="198"/>
                  <a:pt x="144" y="198"/>
                  <a:pt x="144" y="198"/>
                </a:cubicBezTo>
                <a:cubicBezTo>
                  <a:pt x="140" y="190"/>
                  <a:pt x="140" y="190"/>
                  <a:pt x="140" y="190"/>
                </a:cubicBezTo>
                <a:cubicBezTo>
                  <a:pt x="138" y="186"/>
                  <a:pt x="138" y="186"/>
                  <a:pt x="138" y="186"/>
                </a:cubicBezTo>
                <a:cubicBezTo>
                  <a:pt x="136" y="183"/>
                  <a:pt x="136" y="183"/>
                  <a:pt x="136" y="183"/>
                </a:cubicBezTo>
                <a:cubicBezTo>
                  <a:pt x="133" y="184"/>
                  <a:pt x="133" y="184"/>
                  <a:pt x="133" y="184"/>
                </a:cubicBezTo>
                <a:cubicBezTo>
                  <a:pt x="131" y="185"/>
                  <a:pt x="131" y="185"/>
                  <a:pt x="131" y="185"/>
                </a:cubicBezTo>
                <a:cubicBezTo>
                  <a:pt x="128" y="189"/>
                  <a:pt x="128" y="189"/>
                  <a:pt x="128" y="189"/>
                </a:cubicBezTo>
                <a:cubicBezTo>
                  <a:pt x="126" y="182"/>
                  <a:pt x="126" y="182"/>
                  <a:pt x="126" y="182"/>
                </a:cubicBezTo>
                <a:cubicBezTo>
                  <a:pt x="126" y="174"/>
                  <a:pt x="126" y="174"/>
                  <a:pt x="126" y="174"/>
                </a:cubicBezTo>
                <a:cubicBezTo>
                  <a:pt x="125" y="167"/>
                  <a:pt x="125" y="167"/>
                  <a:pt x="125" y="167"/>
                </a:cubicBezTo>
                <a:cubicBezTo>
                  <a:pt x="124" y="163"/>
                  <a:pt x="124" y="163"/>
                  <a:pt x="124" y="163"/>
                </a:cubicBezTo>
                <a:cubicBezTo>
                  <a:pt x="122" y="159"/>
                  <a:pt x="122" y="159"/>
                  <a:pt x="122" y="159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18" y="155"/>
                  <a:pt x="118" y="155"/>
                  <a:pt x="118" y="155"/>
                </a:cubicBezTo>
                <a:cubicBezTo>
                  <a:pt x="114" y="154"/>
                  <a:pt x="114" y="154"/>
                  <a:pt x="114" y="154"/>
                </a:cubicBezTo>
                <a:cubicBezTo>
                  <a:pt x="109" y="153"/>
                  <a:pt x="109" y="153"/>
                  <a:pt x="109" y="153"/>
                </a:cubicBezTo>
                <a:cubicBezTo>
                  <a:pt x="103" y="151"/>
                  <a:pt x="103" y="151"/>
                  <a:pt x="103" y="151"/>
                </a:cubicBezTo>
                <a:cubicBezTo>
                  <a:pt x="126" y="148"/>
                  <a:pt x="126" y="148"/>
                  <a:pt x="126" y="148"/>
                </a:cubicBezTo>
                <a:cubicBezTo>
                  <a:pt x="131" y="151"/>
                  <a:pt x="131" y="151"/>
                  <a:pt x="131" y="151"/>
                </a:cubicBezTo>
                <a:cubicBezTo>
                  <a:pt x="134" y="153"/>
                  <a:pt x="134" y="153"/>
                  <a:pt x="134" y="153"/>
                </a:cubicBezTo>
                <a:cubicBezTo>
                  <a:pt x="137" y="156"/>
                  <a:pt x="137" y="156"/>
                  <a:pt x="137" y="156"/>
                </a:cubicBezTo>
                <a:cubicBezTo>
                  <a:pt x="141" y="160"/>
                  <a:pt x="141" y="160"/>
                  <a:pt x="141" y="160"/>
                </a:cubicBezTo>
                <a:cubicBezTo>
                  <a:pt x="144" y="163"/>
                  <a:pt x="144" y="163"/>
                  <a:pt x="144" y="163"/>
                </a:cubicBezTo>
                <a:cubicBezTo>
                  <a:pt x="148" y="168"/>
                  <a:pt x="148" y="168"/>
                  <a:pt x="148" y="168"/>
                </a:cubicBezTo>
                <a:cubicBezTo>
                  <a:pt x="157" y="180"/>
                  <a:pt x="157" y="180"/>
                  <a:pt x="157" y="180"/>
                </a:cubicBezTo>
                <a:cubicBezTo>
                  <a:pt x="167" y="195"/>
                  <a:pt x="167" y="195"/>
                  <a:pt x="167" y="195"/>
                </a:cubicBezTo>
                <a:cubicBezTo>
                  <a:pt x="168" y="194"/>
                  <a:pt x="168" y="194"/>
                  <a:pt x="168" y="194"/>
                </a:cubicBezTo>
                <a:cubicBezTo>
                  <a:pt x="171" y="190"/>
                  <a:pt x="171" y="190"/>
                  <a:pt x="171" y="190"/>
                </a:cubicBezTo>
                <a:cubicBezTo>
                  <a:pt x="176" y="180"/>
                  <a:pt x="176" y="180"/>
                  <a:pt x="176" y="180"/>
                </a:cubicBezTo>
                <a:cubicBezTo>
                  <a:pt x="181" y="168"/>
                  <a:pt x="181" y="168"/>
                  <a:pt x="181" y="168"/>
                </a:cubicBezTo>
                <a:cubicBezTo>
                  <a:pt x="184" y="164"/>
                  <a:pt x="184" y="164"/>
                  <a:pt x="184" y="164"/>
                </a:cubicBezTo>
                <a:cubicBezTo>
                  <a:pt x="187" y="161"/>
                  <a:pt x="187" y="161"/>
                  <a:pt x="187" y="161"/>
                </a:cubicBezTo>
                <a:cubicBezTo>
                  <a:pt x="190" y="158"/>
                  <a:pt x="190" y="158"/>
                  <a:pt x="190" y="158"/>
                </a:cubicBezTo>
                <a:cubicBezTo>
                  <a:pt x="194" y="157"/>
                  <a:pt x="194" y="157"/>
                  <a:pt x="194" y="157"/>
                </a:cubicBezTo>
                <a:cubicBezTo>
                  <a:pt x="197" y="156"/>
                  <a:pt x="197" y="156"/>
                  <a:pt x="197" y="156"/>
                </a:cubicBezTo>
                <a:cubicBezTo>
                  <a:pt x="201" y="156"/>
                  <a:pt x="201" y="156"/>
                  <a:pt x="201" y="156"/>
                </a:cubicBezTo>
                <a:cubicBezTo>
                  <a:pt x="209" y="156"/>
                  <a:pt x="209" y="156"/>
                  <a:pt x="209" y="156"/>
                </a:cubicBezTo>
                <a:cubicBezTo>
                  <a:pt x="218" y="157"/>
                  <a:pt x="218" y="157"/>
                  <a:pt x="218" y="157"/>
                </a:cubicBezTo>
                <a:lnTo>
                  <a:pt x="218" y="174"/>
                </a:lnTo>
                <a:close/>
                <a:moveTo>
                  <a:pt x="218" y="87"/>
                </a:moveTo>
                <a:cubicBezTo>
                  <a:pt x="215" y="77"/>
                  <a:pt x="215" y="77"/>
                  <a:pt x="215" y="77"/>
                </a:cubicBezTo>
                <a:cubicBezTo>
                  <a:pt x="218" y="82"/>
                  <a:pt x="218" y="82"/>
                  <a:pt x="218" y="82"/>
                </a:cubicBezTo>
                <a:cubicBezTo>
                  <a:pt x="221" y="87"/>
                  <a:pt x="221" y="87"/>
                  <a:pt x="221" y="87"/>
                </a:cubicBezTo>
                <a:cubicBezTo>
                  <a:pt x="224" y="97"/>
                  <a:pt x="224" y="97"/>
                  <a:pt x="224" y="97"/>
                </a:cubicBezTo>
                <a:lnTo>
                  <a:pt x="218" y="87"/>
                </a:lnTo>
                <a:close/>
                <a:moveTo>
                  <a:pt x="222" y="98"/>
                </a:moveTo>
                <a:cubicBezTo>
                  <a:pt x="225" y="104"/>
                  <a:pt x="225" y="104"/>
                  <a:pt x="225" y="104"/>
                </a:cubicBezTo>
                <a:cubicBezTo>
                  <a:pt x="227" y="109"/>
                  <a:pt x="227" y="109"/>
                  <a:pt x="227" y="109"/>
                </a:cubicBezTo>
                <a:cubicBezTo>
                  <a:pt x="228" y="115"/>
                  <a:pt x="228" y="115"/>
                  <a:pt x="228" y="115"/>
                </a:cubicBezTo>
                <a:cubicBezTo>
                  <a:pt x="228" y="120"/>
                  <a:pt x="228" y="120"/>
                  <a:pt x="228" y="120"/>
                </a:cubicBezTo>
                <a:cubicBezTo>
                  <a:pt x="227" y="128"/>
                  <a:pt x="227" y="128"/>
                  <a:pt x="227" y="128"/>
                </a:cubicBezTo>
                <a:cubicBezTo>
                  <a:pt x="225" y="134"/>
                  <a:pt x="225" y="134"/>
                  <a:pt x="225" y="134"/>
                </a:cubicBezTo>
                <a:cubicBezTo>
                  <a:pt x="226" y="127"/>
                  <a:pt x="226" y="127"/>
                  <a:pt x="226" y="127"/>
                </a:cubicBezTo>
                <a:cubicBezTo>
                  <a:pt x="226" y="119"/>
                  <a:pt x="226" y="119"/>
                  <a:pt x="226" y="119"/>
                </a:cubicBezTo>
                <a:cubicBezTo>
                  <a:pt x="225" y="109"/>
                  <a:pt x="225" y="109"/>
                  <a:pt x="225" y="109"/>
                </a:cubicBezTo>
                <a:cubicBezTo>
                  <a:pt x="222" y="99"/>
                  <a:pt x="222" y="99"/>
                  <a:pt x="222" y="99"/>
                </a:cubicBezTo>
                <a:lnTo>
                  <a:pt x="222" y="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0" cmpd="sng">
                <a:solidFill>
                  <a:srgbClr val="FFFFFF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  <p:grpSp>
        <p:nvGrpSpPr>
          <p:cNvPr id="265" name="Gruppieren 55"/>
          <p:cNvGrpSpPr>
            <a:grpSpLocks noChangeAspect="1"/>
          </p:cNvGrpSpPr>
          <p:nvPr>
            <p:custDataLst>
              <p:tags r:id="rId56"/>
            </p:custDataLst>
          </p:nvPr>
        </p:nvGrpSpPr>
        <p:grpSpPr bwMode="gray">
          <a:xfrm>
            <a:off x="6564491" y="2159295"/>
            <a:ext cx="229247" cy="549605"/>
            <a:chOff x="11957050" y="3071813"/>
            <a:chExt cx="311150" cy="749300"/>
          </a:xfrm>
        </p:grpSpPr>
        <p:sp>
          <p:nvSpPr>
            <p:cNvPr id="266" name="Freeform 33"/>
            <p:cNvSpPr>
              <a:spLocks noChangeAspect="1" noEditPoints="1"/>
            </p:cNvSpPr>
            <p:nvPr/>
          </p:nvSpPr>
          <p:spPr bwMode="gray">
            <a:xfrm>
              <a:off x="11957050" y="3071813"/>
              <a:ext cx="311150" cy="749300"/>
            </a:xfrm>
            <a:custGeom>
              <a:avLst/>
              <a:gdLst>
                <a:gd name="T0" fmla="*/ 72 w 83"/>
                <a:gd name="T1" fmla="*/ 141 h 200"/>
                <a:gd name="T2" fmla="*/ 72 w 83"/>
                <a:gd name="T3" fmla="*/ 189 h 200"/>
                <a:gd name="T4" fmla="*/ 69 w 83"/>
                <a:gd name="T5" fmla="*/ 191 h 200"/>
                <a:gd name="T6" fmla="*/ 71 w 83"/>
                <a:gd name="T7" fmla="*/ 198 h 200"/>
                <a:gd name="T8" fmla="*/ 63 w 83"/>
                <a:gd name="T9" fmla="*/ 195 h 200"/>
                <a:gd name="T10" fmla="*/ 60 w 83"/>
                <a:gd name="T11" fmla="*/ 190 h 200"/>
                <a:gd name="T12" fmla="*/ 59 w 83"/>
                <a:gd name="T13" fmla="*/ 186 h 200"/>
                <a:gd name="T14" fmla="*/ 56 w 83"/>
                <a:gd name="T15" fmla="*/ 122 h 200"/>
                <a:gd name="T16" fmla="*/ 52 w 83"/>
                <a:gd name="T17" fmla="*/ 108 h 200"/>
                <a:gd name="T18" fmla="*/ 47 w 83"/>
                <a:gd name="T19" fmla="*/ 114 h 200"/>
                <a:gd name="T20" fmla="*/ 38 w 83"/>
                <a:gd name="T21" fmla="*/ 132 h 200"/>
                <a:gd name="T22" fmla="*/ 23 w 83"/>
                <a:gd name="T23" fmla="*/ 190 h 200"/>
                <a:gd name="T24" fmla="*/ 19 w 83"/>
                <a:gd name="T25" fmla="*/ 190 h 200"/>
                <a:gd name="T26" fmla="*/ 8 w 83"/>
                <a:gd name="T27" fmla="*/ 197 h 200"/>
                <a:gd name="T28" fmla="*/ 3 w 83"/>
                <a:gd name="T29" fmla="*/ 194 h 200"/>
                <a:gd name="T30" fmla="*/ 9 w 83"/>
                <a:gd name="T31" fmla="*/ 188 h 200"/>
                <a:gd name="T32" fmla="*/ 10 w 83"/>
                <a:gd name="T33" fmla="*/ 181 h 200"/>
                <a:gd name="T34" fmla="*/ 24 w 83"/>
                <a:gd name="T35" fmla="*/ 135 h 200"/>
                <a:gd name="T36" fmla="*/ 27 w 83"/>
                <a:gd name="T37" fmla="*/ 112 h 200"/>
                <a:gd name="T38" fmla="*/ 25 w 83"/>
                <a:gd name="T39" fmla="*/ 105 h 200"/>
                <a:gd name="T40" fmla="*/ 25 w 83"/>
                <a:gd name="T41" fmla="*/ 98 h 200"/>
                <a:gd name="T42" fmla="*/ 23 w 83"/>
                <a:gd name="T43" fmla="*/ 75 h 200"/>
                <a:gd name="T44" fmla="*/ 23 w 83"/>
                <a:gd name="T45" fmla="*/ 61 h 200"/>
                <a:gd name="T46" fmla="*/ 18 w 83"/>
                <a:gd name="T47" fmla="*/ 52 h 200"/>
                <a:gd name="T48" fmla="*/ 23 w 83"/>
                <a:gd name="T49" fmla="*/ 43 h 200"/>
                <a:gd name="T50" fmla="*/ 27 w 83"/>
                <a:gd name="T51" fmla="*/ 32 h 200"/>
                <a:gd name="T52" fmla="*/ 31 w 83"/>
                <a:gd name="T53" fmla="*/ 29 h 200"/>
                <a:gd name="T54" fmla="*/ 31 w 83"/>
                <a:gd name="T55" fmla="*/ 27 h 200"/>
                <a:gd name="T56" fmla="*/ 32 w 83"/>
                <a:gd name="T57" fmla="*/ 25 h 200"/>
                <a:gd name="T58" fmla="*/ 30 w 83"/>
                <a:gd name="T59" fmla="*/ 25 h 200"/>
                <a:gd name="T60" fmla="*/ 31 w 83"/>
                <a:gd name="T61" fmla="*/ 24 h 200"/>
                <a:gd name="T62" fmla="*/ 31 w 83"/>
                <a:gd name="T63" fmla="*/ 23 h 200"/>
                <a:gd name="T64" fmla="*/ 33 w 83"/>
                <a:gd name="T65" fmla="*/ 21 h 200"/>
                <a:gd name="T66" fmla="*/ 32 w 83"/>
                <a:gd name="T67" fmla="*/ 20 h 200"/>
                <a:gd name="T68" fmla="*/ 36 w 83"/>
                <a:gd name="T69" fmla="*/ 18 h 200"/>
                <a:gd name="T70" fmla="*/ 42 w 83"/>
                <a:gd name="T71" fmla="*/ 4 h 200"/>
                <a:gd name="T72" fmla="*/ 57 w 83"/>
                <a:gd name="T73" fmla="*/ 4 h 200"/>
                <a:gd name="T74" fmla="*/ 66 w 83"/>
                <a:gd name="T75" fmla="*/ 19 h 200"/>
                <a:gd name="T76" fmla="*/ 65 w 83"/>
                <a:gd name="T77" fmla="*/ 29 h 200"/>
                <a:gd name="T78" fmla="*/ 69 w 83"/>
                <a:gd name="T79" fmla="*/ 31 h 200"/>
                <a:gd name="T80" fmla="*/ 68 w 83"/>
                <a:gd name="T81" fmla="*/ 34 h 200"/>
                <a:gd name="T82" fmla="*/ 75 w 83"/>
                <a:gd name="T83" fmla="*/ 42 h 200"/>
                <a:gd name="T84" fmla="*/ 74 w 83"/>
                <a:gd name="T85" fmla="*/ 44 h 200"/>
                <a:gd name="T86" fmla="*/ 78 w 83"/>
                <a:gd name="T87" fmla="*/ 46 h 200"/>
                <a:gd name="T88" fmla="*/ 72 w 83"/>
                <a:gd name="T89" fmla="*/ 48 h 200"/>
                <a:gd name="T90" fmla="*/ 72 w 83"/>
                <a:gd name="T91" fmla="*/ 55 h 200"/>
                <a:gd name="T92" fmla="*/ 76 w 83"/>
                <a:gd name="T93" fmla="*/ 65 h 200"/>
                <a:gd name="T94" fmla="*/ 69 w 83"/>
                <a:gd name="T95" fmla="*/ 73 h 200"/>
                <a:gd name="T96" fmla="*/ 78 w 83"/>
                <a:gd name="T97" fmla="*/ 107 h 200"/>
                <a:gd name="T98" fmla="*/ 79 w 83"/>
                <a:gd name="T99" fmla="*/ 115 h 200"/>
                <a:gd name="T100" fmla="*/ 75 w 83"/>
                <a:gd name="T101" fmla="*/ 117 h 200"/>
                <a:gd name="T102" fmla="*/ 74 w 83"/>
                <a:gd name="T103" fmla="*/ 117 h 200"/>
                <a:gd name="T104" fmla="*/ 73 w 83"/>
                <a:gd name="T105" fmla="*/ 116 h 200"/>
                <a:gd name="T106" fmla="*/ 72 w 83"/>
                <a:gd name="T107" fmla="*/ 141 h 200"/>
                <a:gd name="T108" fmla="*/ 31 w 83"/>
                <a:gd name="T109" fmla="*/ 80 h 200"/>
                <a:gd name="T110" fmla="*/ 30 w 83"/>
                <a:gd name="T111" fmla="*/ 96 h 200"/>
                <a:gd name="T112" fmla="*/ 32 w 83"/>
                <a:gd name="T113" fmla="*/ 70 h 200"/>
                <a:gd name="T114" fmla="*/ 31 w 83"/>
                <a:gd name="T115" fmla="*/ 80 h 2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3"/>
                <a:gd name="T175" fmla="*/ 0 h 200"/>
                <a:gd name="T176" fmla="*/ 83 w 83"/>
                <a:gd name="T177" fmla="*/ 200 h 2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3" h="200">
                  <a:moveTo>
                    <a:pt x="72" y="141"/>
                  </a:moveTo>
                  <a:cubicBezTo>
                    <a:pt x="72" y="154"/>
                    <a:pt x="73" y="189"/>
                    <a:pt x="72" y="189"/>
                  </a:cubicBezTo>
                  <a:cubicBezTo>
                    <a:pt x="70" y="189"/>
                    <a:pt x="69" y="189"/>
                    <a:pt x="69" y="191"/>
                  </a:cubicBezTo>
                  <a:cubicBezTo>
                    <a:pt x="69" y="192"/>
                    <a:pt x="71" y="195"/>
                    <a:pt x="71" y="198"/>
                  </a:cubicBezTo>
                  <a:cubicBezTo>
                    <a:pt x="70" y="200"/>
                    <a:pt x="64" y="199"/>
                    <a:pt x="63" y="195"/>
                  </a:cubicBezTo>
                  <a:cubicBezTo>
                    <a:pt x="61" y="192"/>
                    <a:pt x="61" y="190"/>
                    <a:pt x="60" y="190"/>
                  </a:cubicBezTo>
                  <a:cubicBezTo>
                    <a:pt x="59" y="189"/>
                    <a:pt x="59" y="188"/>
                    <a:pt x="59" y="186"/>
                  </a:cubicBezTo>
                  <a:cubicBezTo>
                    <a:pt x="59" y="183"/>
                    <a:pt x="58" y="128"/>
                    <a:pt x="56" y="122"/>
                  </a:cubicBezTo>
                  <a:cubicBezTo>
                    <a:pt x="54" y="115"/>
                    <a:pt x="53" y="108"/>
                    <a:pt x="52" y="108"/>
                  </a:cubicBezTo>
                  <a:cubicBezTo>
                    <a:pt x="51" y="108"/>
                    <a:pt x="50" y="108"/>
                    <a:pt x="47" y="114"/>
                  </a:cubicBezTo>
                  <a:cubicBezTo>
                    <a:pt x="45" y="119"/>
                    <a:pt x="40" y="125"/>
                    <a:pt x="38" y="132"/>
                  </a:cubicBezTo>
                  <a:cubicBezTo>
                    <a:pt x="37" y="140"/>
                    <a:pt x="26" y="190"/>
                    <a:pt x="23" y="190"/>
                  </a:cubicBezTo>
                  <a:cubicBezTo>
                    <a:pt x="21" y="191"/>
                    <a:pt x="19" y="189"/>
                    <a:pt x="19" y="190"/>
                  </a:cubicBezTo>
                  <a:cubicBezTo>
                    <a:pt x="19" y="192"/>
                    <a:pt x="11" y="195"/>
                    <a:pt x="8" y="197"/>
                  </a:cubicBezTo>
                  <a:cubicBezTo>
                    <a:pt x="5" y="198"/>
                    <a:pt x="0" y="198"/>
                    <a:pt x="3" y="194"/>
                  </a:cubicBezTo>
                  <a:cubicBezTo>
                    <a:pt x="6" y="191"/>
                    <a:pt x="10" y="188"/>
                    <a:pt x="9" y="188"/>
                  </a:cubicBezTo>
                  <a:cubicBezTo>
                    <a:pt x="7" y="187"/>
                    <a:pt x="9" y="184"/>
                    <a:pt x="10" y="181"/>
                  </a:cubicBezTo>
                  <a:cubicBezTo>
                    <a:pt x="11" y="178"/>
                    <a:pt x="21" y="146"/>
                    <a:pt x="24" y="135"/>
                  </a:cubicBezTo>
                  <a:cubicBezTo>
                    <a:pt x="26" y="123"/>
                    <a:pt x="28" y="114"/>
                    <a:pt x="27" y="112"/>
                  </a:cubicBezTo>
                  <a:cubicBezTo>
                    <a:pt x="26" y="110"/>
                    <a:pt x="25" y="107"/>
                    <a:pt x="25" y="105"/>
                  </a:cubicBezTo>
                  <a:cubicBezTo>
                    <a:pt x="26" y="104"/>
                    <a:pt x="26" y="101"/>
                    <a:pt x="25" y="98"/>
                  </a:cubicBezTo>
                  <a:cubicBezTo>
                    <a:pt x="25" y="94"/>
                    <a:pt x="22" y="78"/>
                    <a:pt x="23" y="75"/>
                  </a:cubicBezTo>
                  <a:cubicBezTo>
                    <a:pt x="23" y="71"/>
                    <a:pt x="24" y="62"/>
                    <a:pt x="23" y="61"/>
                  </a:cubicBezTo>
                  <a:cubicBezTo>
                    <a:pt x="23" y="60"/>
                    <a:pt x="17" y="53"/>
                    <a:pt x="18" y="52"/>
                  </a:cubicBezTo>
                  <a:cubicBezTo>
                    <a:pt x="20" y="50"/>
                    <a:pt x="22" y="47"/>
                    <a:pt x="23" y="43"/>
                  </a:cubicBezTo>
                  <a:cubicBezTo>
                    <a:pt x="24" y="38"/>
                    <a:pt x="25" y="33"/>
                    <a:pt x="27" y="32"/>
                  </a:cubicBezTo>
                  <a:cubicBezTo>
                    <a:pt x="29" y="31"/>
                    <a:pt x="32" y="29"/>
                    <a:pt x="31" y="29"/>
                  </a:cubicBezTo>
                  <a:cubicBezTo>
                    <a:pt x="30" y="28"/>
                    <a:pt x="30" y="27"/>
                    <a:pt x="31" y="27"/>
                  </a:cubicBezTo>
                  <a:cubicBezTo>
                    <a:pt x="31" y="27"/>
                    <a:pt x="33" y="25"/>
                    <a:pt x="32" y="25"/>
                  </a:cubicBezTo>
                  <a:cubicBezTo>
                    <a:pt x="30" y="26"/>
                    <a:pt x="29" y="25"/>
                    <a:pt x="30" y="25"/>
                  </a:cubicBezTo>
                  <a:cubicBezTo>
                    <a:pt x="31" y="25"/>
                    <a:pt x="32" y="24"/>
                    <a:pt x="31" y="24"/>
                  </a:cubicBezTo>
                  <a:cubicBezTo>
                    <a:pt x="30" y="24"/>
                    <a:pt x="30" y="23"/>
                    <a:pt x="31" y="23"/>
                  </a:cubicBezTo>
                  <a:cubicBezTo>
                    <a:pt x="32" y="23"/>
                    <a:pt x="34" y="21"/>
                    <a:pt x="33" y="21"/>
                  </a:cubicBezTo>
                  <a:cubicBezTo>
                    <a:pt x="32" y="21"/>
                    <a:pt x="30" y="20"/>
                    <a:pt x="32" y="20"/>
                  </a:cubicBezTo>
                  <a:cubicBezTo>
                    <a:pt x="34" y="20"/>
                    <a:pt x="36" y="21"/>
                    <a:pt x="36" y="18"/>
                  </a:cubicBezTo>
                  <a:cubicBezTo>
                    <a:pt x="35" y="15"/>
                    <a:pt x="37" y="6"/>
                    <a:pt x="42" y="4"/>
                  </a:cubicBezTo>
                  <a:cubicBezTo>
                    <a:pt x="47" y="1"/>
                    <a:pt x="53" y="0"/>
                    <a:pt x="57" y="4"/>
                  </a:cubicBezTo>
                  <a:cubicBezTo>
                    <a:pt x="61" y="8"/>
                    <a:pt x="67" y="17"/>
                    <a:pt x="66" y="19"/>
                  </a:cubicBezTo>
                  <a:cubicBezTo>
                    <a:pt x="65" y="22"/>
                    <a:pt x="63" y="27"/>
                    <a:pt x="65" y="29"/>
                  </a:cubicBezTo>
                  <a:cubicBezTo>
                    <a:pt x="67" y="31"/>
                    <a:pt x="73" y="32"/>
                    <a:pt x="69" y="31"/>
                  </a:cubicBezTo>
                  <a:cubicBezTo>
                    <a:pt x="65" y="30"/>
                    <a:pt x="63" y="30"/>
                    <a:pt x="68" y="34"/>
                  </a:cubicBezTo>
                  <a:cubicBezTo>
                    <a:pt x="72" y="38"/>
                    <a:pt x="78" y="42"/>
                    <a:pt x="75" y="42"/>
                  </a:cubicBezTo>
                  <a:cubicBezTo>
                    <a:pt x="73" y="42"/>
                    <a:pt x="72" y="42"/>
                    <a:pt x="74" y="44"/>
                  </a:cubicBezTo>
                  <a:cubicBezTo>
                    <a:pt x="77" y="45"/>
                    <a:pt x="83" y="48"/>
                    <a:pt x="78" y="46"/>
                  </a:cubicBezTo>
                  <a:cubicBezTo>
                    <a:pt x="73" y="44"/>
                    <a:pt x="71" y="44"/>
                    <a:pt x="72" y="48"/>
                  </a:cubicBezTo>
                  <a:cubicBezTo>
                    <a:pt x="73" y="51"/>
                    <a:pt x="72" y="52"/>
                    <a:pt x="72" y="55"/>
                  </a:cubicBezTo>
                  <a:cubicBezTo>
                    <a:pt x="72" y="58"/>
                    <a:pt x="78" y="63"/>
                    <a:pt x="76" y="65"/>
                  </a:cubicBezTo>
                  <a:cubicBezTo>
                    <a:pt x="74" y="67"/>
                    <a:pt x="67" y="70"/>
                    <a:pt x="69" y="73"/>
                  </a:cubicBezTo>
                  <a:cubicBezTo>
                    <a:pt x="70" y="77"/>
                    <a:pt x="76" y="103"/>
                    <a:pt x="78" y="107"/>
                  </a:cubicBezTo>
                  <a:cubicBezTo>
                    <a:pt x="80" y="110"/>
                    <a:pt x="80" y="115"/>
                    <a:pt x="79" y="115"/>
                  </a:cubicBezTo>
                  <a:cubicBezTo>
                    <a:pt x="79" y="116"/>
                    <a:pt x="76" y="118"/>
                    <a:pt x="75" y="117"/>
                  </a:cubicBezTo>
                  <a:cubicBezTo>
                    <a:pt x="75" y="117"/>
                    <a:pt x="74" y="117"/>
                    <a:pt x="74" y="117"/>
                  </a:cubicBezTo>
                  <a:cubicBezTo>
                    <a:pt x="74" y="117"/>
                    <a:pt x="73" y="115"/>
                    <a:pt x="73" y="116"/>
                  </a:cubicBezTo>
                  <a:cubicBezTo>
                    <a:pt x="73" y="117"/>
                    <a:pt x="72" y="141"/>
                    <a:pt x="72" y="141"/>
                  </a:cubicBezTo>
                  <a:close/>
                  <a:moveTo>
                    <a:pt x="31" y="80"/>
                  </a:moveTo>
                  <a:cubicBezTo>
                    <a:pt x="30" y="83"/>
                    <a:pt x="29" y="100"/>
                    <a:pt x="30" y="96"/>
                  </a:cubicBezTo>
                  <a:cubicBezTo>
                    <a:pt x="32" y="92"/>
                    <a:pt x="33" y="68"/>
                    <a:pt x="32" y="70"/>
                  </a:cubicBezTo>
                  <a:cubicBezTo>
                    <a:pt x="31" y="73"/>
                    <a:pt x="31" y="80"/>
                    <a:pt x="31" y="80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7" name="Freeform 34"/>
            <p:cNvSpPr>
              <a:spLocks noChangeAspect="1"/>
            </p:cNvSpPr>
            <p:nvPr/>
          </p:nvSpPr>
          <p:spPr bwMode="gray">
            <a:xfrm>
              <a:off x="12130088" y="3240088"/>
              <a:ext cx="41275" cy="74613"/>
            </a:xfrm>
            <a:custGeom>
              <a:avLst/>
              <a:gdLst>
                <a:gd name="T0" fmla="*/ 4 w 11"/>
                <a:gd name="T1" fmla="*/ 20 h 20"/>
                <a:gd name="T2" fmla="*/ 9 w 11"/>
                <a:gd name="T3" fmla="*/ 0 h 20"/>
                <a:gd name="T4" fmla="*/ 2 w 11"/>
                <a:gd name="T5" fmla="*/ 1 h 20"/>
                <a:gd name="T6" fmla="*/ 4 w 11"/>
                <a:gd name="T7" fmla="*/ 20 h 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20"/>
                <a:gd name="T14" fmla="*/ 11 w 11"/>
                <a:gd name="T15" fmla="*/ 20 h 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20">
                  <a:moveTo>
                    <a:pt x="4" y="20"/>
                  </a:moveTo>
                  <a:cubicBezTo>
                    <a:pt x="4" y="20"/>
                    <a:pt x="11" y="0"/>
                    <a:pt x="9" y="0"/>
                  </a:cubicBezTo>
                  <a:cubicBezTo>
                    <a:pt x="7" y="1"/>
                    <a:pt x="4" y="2"/>
                    <a:pt x="2" y="1"/>
                  </a:cubicBezTo>
                  <a:cubicBezTo>
                    <a:pt x="0" y="0"/>
                    <a:pt x="4" y="20"/>
                    <a:pt x="4" y="20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  <p:sp>
          <p:nvSpPr>
            <p:cNvPr id="268" name="Oval 35"/>
            <p:cNvSpPr>
              <a:spLocks noChangeAspect="1" noChangeArrowheads="1"/>
            </p:cNvSpPr>
            <p:nvPr/>
          </p:nvSpPr>
          <p:spPr bwMode="gray">
            <a:xfrm>
              <a:off x="12144375" y="3330575"/>
              <a:ext cx="7938" cy="3175"/>
            </a:xfrm>
            <a:prstGeom prst="ellipse">
              <a:avLst/>
            </a:pr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l"/>
              <a:endParaRPr lang="en-US" sz="1800" dirty="0">
                <a:latin typeface="Arial" pitchFamily="34" charset="0"/>
              </a:endParaRPr>
            </a:p>
          </p:txBody>
        </p:sp>
        <p:sp>
          <p:nvSpPr>
            <p:cNvPr id="269" name="Freeform 36"/>
            <p:cNvSpPr>
              <a:spLocks noChangeAspect="1"/>
            </p:cNvSpPr>
            <p:nvPr/>
          </p:nvSpPr>
          <p:spPr bwMode="gray">
            <a:xfrm>
              <a:off x="12072938" y="3375025"/>
              <a:ext cx="153988" cy="68263"/>
            </a:xfrm>
            <a:custGeom>
              <a:avLst/>
              <a:gdLst>
                <a:gd name="T0" fmla="*/ 36 w 41"/>
                <a:gd name="T1" fmla="*/ 1 h 18"/>
                <a:gd name="T2" fmla="*/ 24 w 41"/>
                <a:gd name="T3" fmla="*/ 4 h 18"/>
                <a:gd name="T4" fmla="*/ 23 w 41"/>
                <a:gd name="T5" fmla="*/ 4 h 18"/>
                <a:gd name="T6" fmla="*/ 20 w 41"/>
                <a:gd name="T7" fmla="*/ 3 h 18"/>
                <a:gd name="T8" fmla="*/ 18 w 41"/>
                <a:gd name="T9" fmla="*/ 3 h 18"/>
                <a:gd name="T10" fmla="*/ 15 w 41"/>
                <a:gd name="T11" fmla="*/ 5 h 18"/>
                <a:gd name="T12" fmla="*/ 14 w 41"/>
                <a:gd name="T13" fmla="*/ 5 h 18"/>
                <a:gd name="T14" fmla="*/ 1 w 41"/>
                <a:gd name="T15" fmla="*/ 1 h 18"/>
                <a:gd name="T16" fmla="*/ 0 w 41"/>
                <a:gd name="T17" fmla="*/ 12 h 18"/>
                <a:gd name="T18" fmla="*/ 15 w 41"/>
                <a:gd name="T19" fmla="*/ 16 h 18"/>
                <a:gd name="T20" fmla="*/ 18 w 41"/>
                <a:gd name="T21" fmla="*/ 18 h 18"/>
                <a:gd name="T22" fmla="*/ 20 w 41"/>
                <a:gd name="T23" fmla="*/ 18 h 18"/>
                <a:gd name="T24" fmla="*/ 24 w 41"/>
                <a:gd name="T25" fmla="*/ 15 h 18"/>
                <a:gd name="T26" fmla="*/ 39 w 41"/>
                <a:gd name="T27" fmla="*/ 10 h 18"/>
                <a:gd name="T28" fmla="*/ 36 w 41"/>
                <a:gd name="T29" fmla="*/ 1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1"/>
                <a:gd name="T46" fmla="*/ 0 h 18"/>
                <a:gd name="T47" fmla="*/ 41 w 41"/>
                <a:gd name="T48" fmla="*/ 18 h 1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1" h="18">
                  <a:moveTo>
                    <a:pt x="36" y="1"/>
                  </a:moveTo>
                  <a:cubicBezTo>
                    <a:pt x="35" y="0"/>
                    <a:pt x="28" y="3"/>
                    <a:pt x="24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3" y="3"/>
                    <a:pt x="22" y="3"/>
                    <a:pt x="20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5" y="3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ubicBezTo>
                    <a:pt x="8" y="5"/>
                    <a:pt x="2" y="2"/>
                    <a:pt x="1" y="1"/>
                  </a:cubicBezTo>
                  <a:cubicBezTo>
                    <a:pt x="0" y="0"/>
                    <a:pt x="0" y="10"/>
                    <a:pt x="0" y="12"/>
                  </a:cubicBezTo>
                  <a:cubicBezTo>
                    <a:pt x="0" y="13"/>
                    <a:pt x="9" y="15"/>
                    <a:pt x="15" y="16"/>
                  </a:cubicBezTo>
                  <a:cubicBezTo>
                    <a:pt x="15" y="17"/>
                    <a:pt x="17" y="18"/>
                    <a:pt x="18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2" y="18"/>
                    <a:pt x="24" y="17"/>
                    <a:pt x="24" y="15"/>
                  </a:cubicBezTo>
                  <a:cubicBezTo>
                    <a:pt x="31" y="14"/>
                    <a:pt x="38" y="11"/>
                    <a:pt x="39" y="10"/>
                  </a:cubicBezTo>
                  <a:cubicBezTo>
                    <a:pt x="41" y="10"/>
                    <a:pt x="36" y="2"/>
                    <a:pt x="36" y="1"/>
                  </a:cubicBezTo>
                  <a:close/>
                </a:path>
              </a:pathLst>
            </a:custGeom>
            <a:solidFill>
              <a:srgbClr val="F2F8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latin typeface="Arial" pitchFamily="34" charset="0"/>
              </a:endParaRPr>
            </a:p>
          </p:txBody>
        </p:sp>
      </p:grpSp>
      <p:sp>
        <p:nvSpPr>
          <p:cNvPr id="270" name="Овал 269"/>
          <p:cNvSpPr/>
          <p:nvPr/>
        </p:nvSpPr>
        <p:spPr>
          <a:xfrm>
            <a:off x="1763610" y="2708900"/>
            <a:ext cx="88777" cy="8951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                    </a:t>
            </a: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271" name="Овал 270"/>
          <p:cNvSpPr/>
          <p:nvPr/>
        </p:nvSpPr>
        <p:spPr>
          <a:xfrm>
            <a:off x="683460" y="2708900"/>
            <a:ext cx="88777" cy="8951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                    </a:t>
            </a: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272" name="Овал 271"/>
          <p:cNvSpPr/>
          <p:nvPr/>
        </p:nvSpPr>
        <p:spPr>
          <a:xfrm>
            <a:off x="3923910" y="2727417"/>
            <a:ext cx="88777" cy="8951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                    </a:t>
            </a: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273" name="Овал 272"/>
          <p:cNvSpPr/>
          <p:nvPr/>
        </p:nvSpPr>
        <p:spPr>
          <a:xfrm>
            <a:off x="4915283" y="2734830"/>
            <a:ext cx="88777" cy="8951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                    </a:t>
            </a: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274" name="Овал 273"/>
          <p:cNvSpPr/>
          <p:nvPr/>
        </p:nvSpPr>
        <p:spPr>
          <a:xfrm>
            <a:off x="5951998" y="2744355"/>
            <a:ext cx="88777" cy="8951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                    </a:t>
            </a: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275" name="Овал 274"/>
          <p:cNvSpPr/>
          <p:nvPr/>
        </p:nvSpPr>
        <p:spPr>
          <a:xfrm>
            <a:off x="6948330" y="2744355"/>
            <a:ext cx="88777" cy="8951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                    </a:t>
            </a:r>
            <a:endParaRPr lang="uk-UA" dirty="0">
              <a:solidFill>
                <a:prstClr val="white"/>
              </a:solidFill>
            </a:endParaRPr>
          </a:p>
        </p:txBody>
      </p:sp>
      <p:sp>
        <p:nvSpPr>
          <p:cNvPr id="276" name="Овал 275"/>
          <p:cNvSpPr/>
          <p:nvPr/>
        </p:nvSpPr>
        <p:spPr>
          <a:xfrm>
            <a:off x="8011713" y="2727950"/>
            <a:ext cx="88777" cy="8951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                    </a:t>
            </a:r>
            <a:endParaRPr lang="uk-UA" dirty="0">
              <a:solidFill>
                <a:prstClr val="white"/>
              </a:solidFill>
            </a:endParaRPr>
          </a:p>
        </p:txBody>
      </p:sp>
      <p:grpSp>
        <p:nvGrpSpPr>
          <p:cNvPr id="280" name="Группа 279"/>
          <p:cNvGrpSpPr/>
          <p:nvPr/>
        </p:nvGrpSpPr>
        <p:grpSpPr>
          <a:xfrm>
            <a:off x="7524410" y="3907930"/>
            <a:ext cx="1186339" cy="1440200"/>
            <a:chOff x="9396670" y="4365130"/>
            <a:chExt cx="1001282" cy="1440200"/>
          </a:xfrm>
        </p:grpSpPr>
        <p:sp>
          <p:nvSpPr>
            <p:cNvPr id="281" name="Скругленный прямоугольник 280"/>
            <p:cNvSpPr/>
            <p:nvPr/>
          </p:nvSpPr>
          <p:spPr bwMode="gray">
            <a:xfrm>
              <a:off x="9468680" y="4365130"/>
              <a:ext cx="864000" cy="1440200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  <a:effectLst>
              <a:innerShdw blurRad="114300">
                <a:schemeClr val="tx2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ru-RU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2" name="Прямоугольник 281"/>
            <p:cNvSpPr/>
            <p:nvPr/>
          </p:nvSpPr>
          <p:spPr>
            <a:xfrm>
              <a:off x="9396670" y="4437140"/>
              <a:ext cx="100128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1100" b="1" i="1" dirty="0" smtClean="0"/>
                <a:t>Покупали онлайн</a:t>
              </a:r>
              <a:r>
                <a:rPr lang="en-US" sz="1100" b="1" i="1" dirty="0" smtClean="0"/>
                <a:t> -</a:t>
              </a:r>
              <a:r>
                <a:rPr lang="ru-RU" sz="1100" b="1" i="1" dirty="0" smtClean="0"/>
                <a:t> </a:t>
              </a:r>
            </a:p>
            <a:p>
              <a:pPr lvl="0" algn="ctr"/>
              <a:r>
                <a:rPr lang="ru-RU" sz="1400" b="1" i="1" dirty="0" smtClean="0"/>
                <a:t>2</a:t>
              </a:r>
              <a:r>
                <a:rPr lang="uk-UA" sz="1400" b="1" i="1" dirty="0" smtClean="0"/>
                <a:t>,9 </a:t>
              </a:r>
              <a:r>
                <a:rPr lang="uk-UA" sz="1400" b="1" i="1" dirty="0"/>
                <a:t>млн</a:t>
              </a:r>
              <a:r>
                <a:rPr lang="uk-UA" sz="1400" b="1" i="1" dirty="0" smtClean="0"/>
                <a:t>.*</a:t>
              </a:r>
              <a:endParaRPr lang="ru-RU" sz="1400" b="1" i="1" cap="all" dirty="0"/>
            </a:p>
          </p:txBody>
        </p:sp>
        <p:grpSp>
          <p:nvGrpSpPr>
            <p:cNvPr id="283" name="Группа 282"/>
            <p:cNvGrpSpPr/>
            <p:nvPr/>
          </p:nvGrpSpPr>
          <p:grpSpPr>
            <a:xfrm>
              <a:off x="9521262" y="5085230"/>
              <a:ext cx="792110" cy="642303"/>
              <a:chOff x="8244510" y="5085230"/>
              <a:chExt cx="792110" cy="642303"/>
            </a:xfrm>
          </p:grpSpPr>
          <p:sp>
            <p:nvSpPr>
              <p:cNvPr id="284" name="Freeform 8"/>
              <p:cNvSpPr>
                <a:spLocks noChangeAspect="1" noEditPoints="1"/>
              </p:cNvSpPr>
              <p:nvPr/>
            </p:nvSpPr>
            <p:spPr bwMode="auto">
              <a:xfrm>
                <a:off x="8244510" y="5085230"/>
                <a:ext cx="648090" cy="642303"/>
              </a:xfrm>
              <a:custGeom>
                <a:avLst/>
                <a:gdLst/>
                <a:ahLst/>
                <a:cxnLst>
                  <a:cxn ang="0">
                    <a:pos x="369" y="253"/>
                  </a:cxn>
                  <a:cxn ang="0">
                    <a:pos x="87" y="253"/>
                  </a:cxn>
                  <a:cxn ang="0">
                    <a:pos x="87" y="229"/>
                  </a:cxn>
                  <a:cxn ang="0">
                    <a:pos x="371" y="188"/>
                  </a:cxn>
                  <a:cxn ang="0">
                    <a:pos x="379" y="178"/>
                  </a:cxn>
                  <a:cxn ang="0">
                    <a:pos x="379" y="57"/>
                  </a:cxn>
                  <a:cxn ang="0">
                    <a:pos x="369" y="47"/>
                  </a:cxn>
                  <a:cxn ang="0">
                    <a:pos x="87" y="47"/>
                  </a:cxn>
                  <a:cxn ang="0">
                    <a:pos x="87" y="10"/>
                  </a:cxn>
                  <a:cxn ang="0">
                    <a:pos x="77" y="0"/>
                  </a:cxn>
                  <a:cxn ang="0">
                    <a:pos x="10" y="0"/>
                  </a:cxn>
                  <a:cxn ang="0">
                    <a:pos x="0" y="10"/>
                  </a:cxn>
                  <a:cxn ang="0">
                    <a:pos x="10" y="20"/>
                  </a:cxn>
                  <a:cxn ang="0">
                    <a:pos x="67" y="20"/>
                  </a:cxn>
                  <a:cxn ang="0">
                    <a:pos x="67" y="263"/>
                  </a:cxn>
                  <a:cxn ang="0">
                    <a:pos x="77" y="273"/>
                  </a:cxn>
                  <a:cxn ang="0">
                    <a:pos x="369" y="273"/>
                  </a:cxn>
                  <a:cxn ang="0">
                    <a:pos x="379" y="263"/>
                  </a:cxn>
                  <a:cxn ang="0">
                    <a:pos x="369" y="253"/>
                  </a:cxn>
                  <a:cxn ang="0">
                    <a:pos x="307" y="67"/>
                  </a:cxn>
                  <a:cxn ang="0">
                    <a:pos x="359" y="67"/>
                  </a:cxn>
                  <a:cxn ang="0">
                    <a:pos x="359" y="169"/>
                  </a:cxn>
                  <a:cxn ang="0">
                    <a:pos x="307" y="177"/>
                  </a:cxn>
                  <a:cxn ang="0">
                    <a:pos x="307" y="67"/>
                  </a:cxn>
                  <a:cxn ang="0">
                    <a:pos x="230" y="67"/>
                  </a:cxn>
                  <a:cxn ang="0">
                    <a:pos x="287" y="67"/>
                  </a:cxn>
                  <a:cxn ang="0">
                    <a:pos x="287" y="180"/>
                  </a:cxn>
                  <a:cxn ang="0">
                    <a:pos x="230" y="188"/>
                  </a:cxn>
                  <a:cxn ang="0">
                    <a:pos x="230" y="67"/>
                  </a:cxn>
                  <a:cxn ang="0">
                    <a:pos x="152" y="67"/>
                  </a:cxn>
                  <a:cxn ang="0">
                    <a:pos x="210" y="67"/>
                  </a:cxn>
                  <a:cxn ang="0">
                    <a:pos x="210" y="191"/>
                  </a:cxn>
                  <a:cxn ang="0">
                    <a:pos x="152" y="199"/>
                  </a:cxn>
                  <a:cxn ang="0">
                    <a:pos x="152" y="67"/>
                  </a:cxn>
                  <a:cxn ang="0">
                    <a:pos x="87" y="67"/>
                  </a:cxn>
                  <a:cxn ang="0">
                    <a:pos x="132" y="67"/>
                  </a:cxn>
                  <a:cxn ang="0">
                    <a:pos x="132" y="202"/>
                  </a:cxn>
                  <a:cxn ang="0">
                    <a:pos x="87" y="208"/>
                  </a:cxn>
                  <a:cxn ang="0">
                    <a:pos x="87" y="67"/>
                  </a:cxn>
                  <a:cxn ang="0">
                    <a:pos x="162" y="334"/>
                  </a:cxn>
                  <a:cxn ang="0">
                    <a:pos x="120" y="376"/>
                  </a:cxn>
                  <a:cxn ang="0">
                    <a:pos x="78" y="334"/>
                  </a:cxn>
                  <a:cxn ang="0">
                    <a:pos x="120" y="292"/>
                  </a:cxn>
                  <a:cxn ang="0">
                    <a:pos x="162" y="334"/>
                  </a:cxn>
                  <a:cxn ang="0">
                    <a:pos x="366" y="334"/>
                  </a:cxn>
                  <a:cxn ang="0">
                    <a:pos x="324" y="376"/>
                  </a:cxn>
                  <a:cxn ang="0">
                    <a:pos x="281" y="334"/>
                  </a:cxn>
                  <a:cxn ang="0">
                    <a:pos x="324" y="292"/>
                  </a:cxn>
                  <a:cxn ang="0">
                    <a:pos x="366" y="334"/>
                  </a:cxn>
                </a:cxnLst>
                <a:rect l="0" t="0" r="r" b="b"/>
                <a:pathLst>
                  <a:path w="379" h="376">
                    <a:moveTo>
                      <a:pt x="369" y="253"/>
                    </a:moveTo>
                    <a:cubicBezTo>
                      <a:pt x="87" y="253"/>
                      <a:pt x="87" y="253"/>
                      <a:pt x="87" y="253"/>
                    </a:cubicBezTo>
                    <a:cubicBezTo>
                      <a:pt x="87" y="229"/>
                      <a:pt x="87" y="229"/>
                      <a:pt x="87" y="229"/>
                    </a:cubicBezTo>
                    <a:cubicBezTo>
                      <a:pt x="371" y="188"/>
                      <a:pt x="371" y="188"/>
                      <a:pt x="371" y="188"/>
                    </a:cubicBezTo>
                    <a:cubicBezTo>
                      <a:pt x="375" y="187"/>
                      <a:pt x="379" y="183"/>
                      <a:pt x="379" y="178"/>
                    </a:cubicBezTo>
                    <a:cubicBezTo>
                      <a:pt x="379" y="57"/>
                      <a:pt x="379" y="57"/>
                      <a:pt x="379" y="57"/>
                    </a:cubicBezTo>
                    <a:cubicBezTo>
                      <a:pt x="379" y="51"/>
                      <a:pt x="375" y="47"/>
                      <a:pt x="369" y="47"/>
                    </a:cubicBezTo>
                    <a:cubicBezTo>
                      <a:pt x="87" y="47"/>
                      <a:pt x="87" y="47"/>
                      <a:pt x="87" y="47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87" y="5"/>
                      <a:pt x="83" y="0"/>
                      <a:pt x="77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16"/>
                      <a:pt x="5" y="20"/>
                      <a:pt x="10" y="20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67" y="263"/>
                      <a:pt x="67" y="263"/>
                      <a:pt x="67" y="263"/>
                    </a:cubicBezTo>
                    <a:cubicBezTo>
                      <a:pt x="67" y="269"/>
                      <a:pt x="72" y="273"/>
                      <a:pt x="77" y="273"/>
                    </a:cubicBezTo>
                    <a:cubicBezTo>
                      <a:pt x="369" y="273"/>
                      <a:pt x="369" y="273"/>
                      <a:pt x="369" y="273"/>
                    </a:cubicBezTo>
                    <a:cubicBezTo>
                      <a:pt x="375" y="273"/>
                      <a:pt x="379" y="269"/>
                      <a:pt x="379" y="263"/>
                    </a:cubicBezTo>
                    <a:cubicBezTo>
                      <a:pt x="379" y="258"/>
                      <a:pt x="375" y="253"/>
                      <a:pt x="369" y="253"/>
                    </a:cubicBezTo>
                    <a:close/>
                    <a:moveTo>
                      <a:pt x="307" y="67"/>
                    </a:moveTo>
                    <a:cubicBezTo>
                      <a:pt x="359" y="67"/>
                      <a:pt x="359" y="67"/>
                      <a:pt x="359" y="67"/>
                    </a:cubicBezTo>
                    <a:cubicBezTo>
                      <a:pt x="359" y="169"/>
                      <a:pt x="359" y="169"/>
                      <a:pt x="359" y="169"/>
                    </a:cubicBezTo>
                    <a:cubicBezTo>
                      <a:pt x="307" y="177"/>
                      <a:pt x="307" y="177"/>
                      <a:pt x="307" y="177"/>
                    </a:cubicBezTo>
                    <a:lnTo>
                      <a:pt x="307" y="67"/>
                    </a:lnTo>
                    <a:close/>
                    <a:moveTo>
                      <a:pt x="230" y="67"/>
                    </a:move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180"/>
                      <a:pt x="287" y="180"/>
                      <a:pt x="287" y="180"/>
                    </a:cubicBezTo>
                    <a:cubicBezTo>
                      <a:pt x="230" y="188"/>
                      <a:pt x="230" y="188"/>
                      <a:pt x="230" y="188"/>
                    </a:cubicBezTo>
                    <a:lnTo>
                      <a:pt x="230" y="67"/>
                    </a:lnTo>
                    <a:close/>
                    <a:moveTo>
                      <a:pt x="152" y="67"/>
                    </a:moveTo>
                    <a:cubicBezTo>
                      <a:pt x="210" y="67"/>
                      <a:pt x="210" y="67"/>
                      <a:pt x="210" y="67"/>
                    </a:cubicBezTo>
                    <a:cubicBezTo>
                      <a:pt x="210" y="191"/>
                      <a:pt x="210" y="191"/>
                      <a:pt x="210" y="191"/>
                    </a:cubicBezTo>
                    <a:cubicBezTo>
                      <a:pt x="152" y="199"/>
                      <a:pt x="152" y="199"/>
                      <a:pt x="152" y="199"/>
                    </a:cubicBezTo>
                    <a:lnTo>
                      <a:pt x="152" y="67"/>
                    </a:lnTo>
                    <a:close/>
                    <a:moveTo>
                      <a:pt x="87" y="67"/>
                    </a:moveTo>
                    <a:cubicBezTo>
                      <a:pt x="132" y="67"/>
                      <a:pt x="132" y="67"/>
                      <a:pt x="132" y="67"/>
                    </a:cubicBezTo>
                    <a:cubicBezTo>
                      <a:pt x="132" y="202"/>
                      <a:pt x="132" y="202"/>
                      <a:pt x="132" y="202"/>
                    </a:cubicBezTo>
                    <a:cubicBezTo>
                      <a:pt x="87" y="208"/>
                      <a:pt x="87" y="208"/>
                      <a:pt x="87" y="208"/>
                    </a:cubicBezTo>
                    <a:lnTo>
                      <a:pt x="87" y="67"/>
                    </a:lnTo>
                    <a:close/>
                    <a:moveTo>
                      <a:pt x="162" y="334"/>
                    </a:moveTo>
                    <a:cubicBezTo>
                      <a:pt x="162" y="357"/>
                      <a:pt x="143" y="376"/>
                      <a:pt x="120" y="376"/>
                    </a:cubicBezTo>
                    <a:cubicBezTo>
                      <a:pt x="97" y="376"/>
                      <a:pt x="78" y="357"/>
                      <a:pt x="78" y="334"/>
                    </a:cubicBezTo>
                    <a:cubicBezTo>
                      <a:pt x="78" y="310"/>
                      <a:pt x="97" y="292"/>
                      <a:pt x="120" y="292"/>
                    </a:cubicBezTo>
                    <a:cubicBezTo>
                      <a:pt x="143" y="292"/>
                      <a:pt x="162" y="310"/>
                      <a:pt x="162" y="334"/>
                    </a:cubicBezTo>
                    <a:close/>
                    <a:moveTo>
                      <a:pt x="366" y="334"/>
                    </a:moveTo>
                    <a:cubicBezTo>
                      <a:pt x="366" y="357"/>
                      <a:pt x="347" y="376"/>
                      <a:pt x="324" y="376"/>
                    </a:cubicBezTo>
                    <a:cubicBezTo>
                      <a:pt x="300" y="376"/>
                      <a:pt x="281" y="357"/>
                      <a:pt x="281" y="334"/>
                    </a:cubicBezTo>
                    <a:cubicBezTo>
                      <a:pt x="281" y="310"/>
                      <a:pt x="300" y="292"/>
                      <a:pt x="324" y="292"/>
                    </a:cubicBezTo>
                    <a:cubicBezTo>
                      <a:pt x="347" y="292"/>
                      <a:pt x="366" y="310"/>
                      <a:pt x="366" y="334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285" name="Picture 57" descr="http://uc-life.ru/_ld/0/51.png"/>
              <p:cNvPicPr>
                <a:picLocks noChangeAspect="1" noChangeArrowheads="1"/>
              </p:cNvPicPr>
              <p:nvPr/>
            </p:nvPicPr>
            <p:blipFill>
              <a:blip r:embed="rId6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76570" y="5229250"/>
                <a:ext cx="360050" cy="4784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87" name="Прямоугольник 286"/>
          <p:cNvSpPr/>
          <p:nvPr/>
        </p:nvSpPr>
        <p:spPr>
          <a:xfrm>
            <a:off x="251400" y="6335830"/>
            <a:ext cx="642076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</a:t>
            </a:r>
            <a:r>
              <a:rPr lang="en-US" sz="1100" i="1" dirty="0" smtClean="0"/>
              <a:t> Omnibus</a:t>
            </a:r>
            <a:r>
              <a:rPr lang="ru-RU" sz="1100" i="1" dirty="0" smtClean="0"/>
              <a:t> </a:t>
            </a:r>
            <a:r>
              <a:rPr lang="en-US" sz="1100" i="1" dirty="0"/>
              <a:t>G</a:t>
            </a:r>
            <a:r>
              <a:rPr lang="en-US" sz="1100" i="1" dirty="0" smtClean="0"/>
              <a:t>fK Ukraine</a:t>
            </a:r>
            <a:r>
              <a:rPr lang="ru-RU" sz="1100" i="1" dirty="0" smtClean="0"/>
              <a:t>, вся Украина, 16+</a:t>
            </a:r>
            <a:endParaRPr lang="ru-RU" sz="1100" i="1" cap="all" dirty="0"/>
          </a:p>
        </p:txBody>
      </p:sp>
      <p:sp>
        <p:nvSpPr>
          <p:cNvPr id="288" name="Прямоугольник 287"/>
          <p:cNvSpPr/>
          <p:nvPr/>
        </p:nvSpPr>
        <p:spPr>
          <a:xfrm>
            <a:off x="311660" y="791060"/>
            <a:ext cx="368426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*Без учета населения Крыма и зоны АТО</a:t>
            </a:r>
            <a:endParaRPr lang="ru-RU" sz="1100" i="1" cap="all" dirty="0"/>
          </a:p>
        </p:txBody>
      </p:sp>
    </p:spTree>
    <p:extLst>
      <p:ext uri="{BB962C8B-B14F-4D97-AF65-F5344CB8AC3E}">
        <p14:creationId xmlns:p14="http://schemas.microsoft.com/office/powerpoint/2010/main" val="204302080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Группа 68"/>
          <p:cNvGrpSpPr/>
          <p:nvPr/>
        </p:nvGrpSpPr>
        <p:grpSpPr>
          <a:xfrm>
            <a:off x="-108651" y="2262603"/>
            <a:ext cx="9086363" cy="3376318"/>
            <a:chOff x="2496321" y="3314285"/>
            <a:chExt cx="5376757" cy="1232504"/>
          </a:xfrm>
        </p:grpSpPr>
        <p:sp>
          <p:nvSpPr>
            <p:cNvPr id="33" name="Textfeld 174"/>
            <p:cNvSpPr txBox="1"/>
            <p:nvPr/>
          </p:nvSpPr>
          <p:spPr bwMode="gray">
            <a:xfrm>
              <a:off x="7073237" y="4384598"/>
              <a:ext cx="792088" cy="149502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lvl="0" algn="ctr">
                <a:spcAft>
                  <a:spcPts val="600"/>
                </a:spcAft>
              </a:pPr>
              <a:r>
                <a:rPr lang="ru-RU" sz="1400" dirty="0">
                  <a:solidFill>
                    <a:prstClr val="black"/>
                  </a:solidFill>
                </a:rPr>
                <a:t>О</a:t>
              </a:r>
              <a:r>
                <a:rPr lang="ru-RU" sz="1400" dirty="0" smtClean="0">
                  <a:solidFill>
                    <a:prstClr val="black"/>
                  </a:solidFill>
                </a:rPr>
                <a:t>чень сильный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  <p:grpSp>
          <p:nvGrpSpPr>
            <p:cNvPr id="65" name="Группа 64"/>
            <p:cNvGrpSpPr/>
            <p:nvPr/>
          </p:nvGrpSpPr>
          <p:grpSpPr>
            <a:xfrm>
              <a:off x="2496321" y="3314285"/>
              <a:ext cx="5376757" cy="1232504"/>
              <a:chOff x="3245216" y="3314285"/>
              <a:chExt cx="5376757" cy="1232504"/>
            </a:xfrm>
          </p:grpSpPr>
          <p:cxnSp>
            <p:nvCxnSpPr>
              <p:cNvPr id="52" name="Gerade Verbindung 190"/>
              <p:cNvCxnSpPr/>
              <p:nvPr/>
            </p:nvCxnSpPr>
            <p:spPr bwMode="gray">
              <a:xfrm flipH="1" flipV="1">
                <a:off x="7218848" y="3388246"/>
                <a:ext cx="47" cy="1009991"/>
              </a:xfrm>
              <a:prstGeom prst="line">
                <a:avLst/>
              </a:prstGeom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4" name="Группа 63"/>
              <p:cNvGrpSpPr/>
              <p:nvPr/>
            </p:nvGrpSpPr>
            <p:grpSpPr>
              <a:xfrm>
                <a:off x="3245216" y="3314285"/>
                <a:ext cx="5376757" cy="1232504"/>
                <a:chOff x="3245216" y="3314285"/>
                <a:chExt cx="5376757" cy="1232504"/>
              </a:xfrm>
            </p:grpSpPr>
            <p:cxnSp>
              <p:nvCxnSpPr>
                <p:cNvPr id="53" name="Gerade Verbindung 190"/>
                <p:cNvCxnSpPr/>
                <p:nvPr/>
              </p:nvCxnSpPr>
              <p:spPr bwMode="gray">
                <a:xfrm flipH="1" flipV="1">
                  <a:off x="8270999" y="3341181"/>
                  <a:ext cx="5076" cy="1055163"/>
                </a:xfrm>
                <a:prstGeom prst="line">
                  <a:avLst/>
                </a:prstGeom>
                <a:ln w="1270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0" name="Группа 49"/>
                <p:cNvGrpSpPr/>
                <p:nvPr/>
              </p:nvGrpSpPr>
              <p:grpSpPr>
                <a:xfrm>
                  <a:off x="3245216" y="3314285"/>
                  <a:ext cx="5376757" cy="1232504"/>
                  <a:chOff x="3346022" y="3223231"/>
                  <a:chExt cx="5376757" cy="1232504"/>
                </a:xfrm>
              </p:grpSpPr>
              <p:grpSp>
                <p:nvGrpSpPr>
                  <p:cNvPr id="47" name="Группа 46"/>
                  <p:cNvGrpSpPr/>
                  <p:nvPr/>
                </p:nvGrpSpPr>
                <p:grpSpPr>
                  <a:xfrm>
                    <a:off x="3346022" y="3223231"/>
                    <a:ext cx="5376757" cy="1232504"/>
                    <a:chOff x="3346022" y="3223231"/>
                    <a:chExt cx="5376757" cy="1232504"/>
                  </a:xfrm>
                </p:grpSpPr>
                <p:cxnSp>
                  <p:nvCxnSpPr>
                    <p:cNvPr id="44" name="Gerade Verbindung 190"/>
                    <p:cNvCxnSpPr/>
                    <p:nvPr/>
                  </p:nvCxnSpPr>
                  <p:spPr bwMode="gray">
                    <a:xfrm flipV="1">
                      <a:off x="5266278" y="3243403"/>
                      <a:ext cx="0" cy="1060508"/>
                    </a:xfrm>
                    <a:prstGeom prst="line">
                      <a:avLst/>
                    </a:prstGeom>
                    <a:ln w="12700">
                      <a:solidFill>
                        <a:schemeClr val="bg1">
                          <a:lumMod val="8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2" name="Группа 41"/>
                    <p:cNvGrpSpPr/>
                    <p:nvPr/>
                  </p:nvGrpSpPr>
                  <p:grpSpPr>
                    <a:xfrm>
                      <a:off x="3346022" y="3223231"/>
                      <a:ext cx="5376757" cy="1232504"/>
                      <a:chOff x="3301241" y="3357365"/>
                      <a:chExt cx="5376757" cy="1232504"/>
                    </a:xfrm>
                  </p:grpSpPr>
                  <p:grpSp>
                    <p:nvGrpSpPr>
                      <p:cNvPr id="40" name="Группа 39"/>
                      <p:cNvGrpSpPr/>
                      <p:nvPr/>
                    </p:nvGrpSpPr>
                    <p:grpSpPr>
                      <a:xfrm>
                        <a:off x="3301241" y="3377525"/>
                        <a:ext cx="5376757" cy="1212344"/>
                        <a:chOff x="3301241" y="3377525"/>
                        <a:chExt cx="5376757" cy="1212344"/>
                      </a:xfrm>
                    </p:grpSpPr>
                    <p:grpSp>
                      <p:nvGrpSpPr>
                        <p:cNvPr id="38" name="Группа 37"/>
                        <p:cNvGrpSpPr/>
                        <p:nvPr/>
                      </p:nvGrpSpPr>
                      <p:grpSpPr>
                        <a:xfrm>
                          <a:off x="3301241" y="3377525"/>
                          <a:ext cx="5376757" cy="1212344"/>
                          <a:chOff x="3301241" y="3377525"/>
                          <a:chExt cx="5376757" cy="1212344"/>
                        </a:xfrm>
                      </p:grpSpPr>
                      <p:grpSp>
                        <p:nvGrpSpPr>
                          <p:cNvPr id="36" name="Группа 35"/>
                          <p:cNvGrpSpPr/>
                          <p:nvPr/>
                        </p:nvGrpSpPr>
                        <p:grpSpPr>
                          <a:xfrm>
                            <a:off x="3301241" y="3377525"/>
                            <a:ext cx="5376757" cy="1212344"/>
                            <a:chOff x="3301241" y="3377525"/>
                            <a:chExt cx="5376757" cy="1212344"/>
                          </a:xfrm>
                        </p:grpSpPr>
                        <p:grpSp>
                          <p:nvGrpSpPr>
                            <p:cNvPr id="29" name="Группа 28"/>
                            <p:cNvGrpSpPr/>
                            <p:nvPr/>
                          </p:nvGrpSpPr>
                          <p:grpSpPr>
                            <a:xfrm>
                              <a:off x="4861247" y="3377525"/>
                              <a:ext cx="3816751" cy="1212344"/>
                              <a:chOff x="4525385" y="3147933"/>
                              <a:chExt cx="3816751" cy="1212344"/>
                            </a:xfrm>
                          </p:grpSpPr>
                          <p:grpSp>
                            <p:nvGrpSpPr>
                              <p:cNvPr id="9" name="Gruppieren 3"/>
                              <p:cNvGrpSpPr/>
                              <p:nvPr/>
                            </p:nvGrpSpPr>
                            <p:grpSpPr bwMode="gray">
                              <a:xfrm>
                                <a:off x="4525385" y="3147933"/>
                                <a:ext cx="3816751" cy="1152004"/>
                                <a:chOff x="1784507" y="1608639"/>
                                <a:chExt cx="3668669" cy="948666"/>
                              </a:xfrm>
                            </p:grpSpPr>
                            <p:grpSp>
                              <p:nvGrpSpPr>
                                <p:cNvPr id="10" name="Gruppieren 169"/>
                                <p:cNvGrpSpPr/>
                                <p:nvPr/>
                              </p:nvGrpSpPr>
                              <p:grpSpPr bwMode="gray">
                                <a:xfrm rot="5400000">
                                  <a:off x="3144666" y="248794"/>
                                  <a:ext cx="948666" cy="3668355"/>
                                  <a:chOff x="2014963" y="1012811"/>
                                  <a:chExt cx="4333997" cy="1679813"/>
                                </a:xfrm>
                              </p:grpSpPr>
                              <p:cxnSp>
                                <p:nvCxnSpPr>
                                  <p:cNvPr id="21" name="Gerade Verbindung 192"/>
                                  <p:cNvCxnSpPr/>
                                  <p:nvPr/>
                                </p:nvCxnSpPr>
                                <p:spPr bwMode="gray">
                                  <a:xfrm flipH="1">
                                    <a:off x="2014971" y="1012811"/>
                                    <a:ext cx="4333982" cy="0"/>
                                  </a:xfrm>
                                  <a:prstGeom prst="line">
                                    <a:avLst/>
                                  </a:prstGeom>
                                  <a:ln>
                                    <a:solidFill>
                                      <a:schemeClr val="bg2">
                                        <a:lumMod val="40000"/>
                                        <a:lumOff val="60000"/>
                                      </a:schemeClr>
                                    </a:solidFill>
                                  </a:ln>
                                </p:spPr>
                                <p:style>
                                  <a:lnRef idx="1">
                                    <a:schemeClr val="accent1"/>
                                  </a:lnRef>
                                  <a:fillRef idx="0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tx1"/>
                                  </a:fontRef>
                                </p:style>
                              </p:cxnSp>
                              <p:cxnSp>
                                <p:nvCxnSpPr>
                                  <p:cNvPr id="22" name="Gerade Verbindung 193"/>
                                  <p:cNvCxnSpPr/>
                                  <p:nvPr/>
                                </p:nvCxnSpPr>
                                <p:spPr bwMode="gray">
                                  <a:xfrm flipH="1">
                                    <a:off x="2014978" y="2692624"/>
                                    <a:ext cx="4333982" cy="0"/>
                                  </a:xfrm>
                                  <a:prstGeom prst="line">
                                    <a:avLst/>
                                  </a:prstGeom>
                                  <a:ln>
                                    <a:solidFill>
                                      <a:schemeClr val="bg2">
                                        <a:lumMod val="40000"/>
                                        <a:lumOff val="60000"/>
                                      </a:schemeClr>
                                    </a:solidFill>
                                  </a:ln>
                                </p:spPr>
                                <p:style>
                                  <a:lnRef idx="1">
                                    <a:schemeClr val="accent1"/>
                                  </a:lnRef>
                                  <a:fillRef idx="0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tx1"/>
                                  </a:fontRef>
                                </p:style>
                              </p:cxnSp>
                              <p:cxnSp>
                                <p:nvCxnSpPr>
                                  <p:cNvPr id="23" name="Gerade Verbindung 194"/>
                                  <p:cNvCxnSpPr/>
                                  <p:nvPr/>
                                </p:nvCxnSpPr>
                                <p:spPr bwMode="gray">
                                  <a:xfrm flipH="1">
                                    <a:off x="2014963" y="1355112"/>
                                    <a:ext cx="4333982" cy="0"/>
                                  </a:xfrm>
                                  <a:prstGeom prst="line">
                                    <a:avLst/>
                                  </a:prstGeom>
                                  <a:ln>
                                    <a:solidFill>
                                      <a:schemeClr val="bg2">
                                        <a:lumMod val="40000"/>
                                        <a:lumOff val="60000"/>
                                      </a:schemeClr>
                                    </a:solidFill>
                                  </a:ln>
                                </p:spPr>
                                <p:style>
                                  <a:lnRef idx="1">
                                    <a:schemeClr val="accent1"/>
                                  </a:lnRef>
                                  <a:fillRef idx="0">
                                    <a:schemeClr val="accent1"/>
                                  </a:fillRef>
                                  <a:effectRef idx="0">
                                    <a:schemeClr val="accent1"/>
                                  </a:effectRef>
                                  <a:fontRef idx="minor">
                                    <a:schemeClr val="tx1"/>
                                  </a:fontRef>
                                </p:style>
                              </p:cxnSp>
                            </p:grpSp>
                            <p:sp>
                              <p:nvSpPr>
                                <p:cNvPr id="11" name="Rechteck 176"/>
                                <p:cNvSpPr/>
                                <p:nvPr/>
                              </p:nvSpPr>
                              <p:spPr bwMode="gray">
                                <a:xfrm>
                                  <a:off x="1784507" y="2320224"/>
                                  <a:ext cx="3668247" cy="118583"/>
                                </a:xfrm>
                                <a:prstGeom prst="rect">
                                  <a:avLst/>
                                </a:prstGeom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n w="12700">
                                  <a:noFill/>
                                  <a:round/>
                                  <a:headEnd/>
                                  <a:tailEnd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 sz="1400"/>
                                </a:p>
                              </p:txBody>
                            </p:sp>
                            <p:sp>
                              <p:nvSpPr>
                                <p:cNvPr id="12" name="Rechteck 177"/>
                                <p:cNvSpPr/>
                                <p:nvPr/>
                              </p:nvSpPr>
                              <p:spPr bwMode="gray">
                                <a:xfrm>
                                  <a:off x="1784840" y="2320224"/>
                                  <a:ext cx="3070097" cy="118583"/>
                                </a:xfrm>
                                <a:prstGeom prst="rect">
                                  <a:avLst/>
                                </a:prstGeom>
                                <a:solidFill>
                                  <a:srgbClr val="CDC300"/>
                                </a:solidFill>
                                <a:ln w="12700">
                                  <a:noFill/>
                                  <a:round/>
                                  <a:headEnd/>
                                  <a:tailEnd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r>
                                    <a:rPr lang="en-US" sz="1400" dirty="0" smtClean="0">
                                      <a:solidFill>
                                        <a:schemeClr val="bg1"/>
                                      </a:solidFill>
                                    </a:rPr>
                                    <a:t>3 </a:t>
                                  </a:r>
                                  <a:r>
                                    <a:rPr lang="uk-UA" sz="1400" dirty="0" err="1" smtClean="0">
                                      <a:solidFill>
                                        <a:schemeClr val="bg1"/>
                                      </a:solidFill>
                                    </a:rPr>
                                    <a:t>недели</a:t>
                                  </a:r>
                                  <a:r>
                                    <a:rPr lang="uk-UA" sz="1400" dirty="0" smtClean="0">
                                      <a:solidFill>
                                        <a:schemeClr val="bg1"/>
                                      </a:solidFill>
                                    </a:rPr>
                                    <a:t> в </a:t>
                                  </a:r>
                                  <a:r>
                                    <a:rPr lang="uk-UA" sz="1400" dirty="0" err="1" smtClean="0">
                                      <a:solidFill>
                                        <a:schemeClr val="bg1"/>
                                      </a:solidFill>
                                    </a:rPr>
                                    <a:t>среднем</a:t>
                                  </a:r>
                                  <a:endParaRPr lang="en-US" sz="1400" dirty="0">
                                    <a:solidFill>
                                      <a:schemeClr val="bg1"/>
                                    </a:solidFill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13" name="Rechteck 178"/>
                                <p:cNvSpPr/>
                                <p:nvPr/>
                              </p:nvSpPr>
                              <p:spPr bwMode="gray">
                                <a:xfrm>
                                  <a:off x="1784507" y="2083033"/>
                                  <a:ext cx="3668247" cy="118583"/>
                                </a:xfrm>
                                <a:prstGeom prst="rect">
                                  <a:avLst/>
                                </a:prstGeom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n w="12700">
                                  <a:noFill/>
                                  <a:round/>
                                  <a:headEnd/>
                                  <a:tailEnd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 sz="1400"/>
                                </a:p>
                              </p:txBody>
                            </p:sp>
                            <p:sp>
                              <p:nvSpPr>
                                <p:cNvPr id="14" name="Rechteck 179"/>
                                <p:cNvSpPr/>
                                <p:nvPr/>
                              </p:nvSpPr>
                              <p:spPr bwMode="gray">
                                <a:xfrm>
                                  <a:off x="1784839" y="2083033"/>
                                  <a:ext cx="1851922" cy="118583"/>
                                </a:xfrm>
                                <a:prstGeom prst="rect">
                                  <a:avLst/>
                                </a:prstGeom>
                                <a:solidFill>
                                  <a:srgbClr val="A1AF00"/>
                                </a:solidFill>
                                <a:ln w="12700">
                                  <a:noFill/>
                                  <a:round/>
                                  <a:headEnd/>
                                  <a:tailEnd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r>
                                    <a:rPr lang="en-US" sz="1400" dirty="0">
                                      <a:solidFill>
                                        <a:schemeClr val="bg1"/>
                                      </a:solidFill>
                                    </a:rPr>
                                    <a:t>2-3 </a:t>
                                  </a:r>
                                  <a:r>
                                    <a:rPr lang="ru-RU" sz="1400" dirty="0">
                                      <a:solidFill>
                                        <a:schemeClr val="bg1"/>
                                      </a:solidFill>
                                    </a:rPr>
                                    <a:t>недели</a:t>
                                  </a:r>
                                  <a:endParaRPr lang="en-US" sz="1400" dirty="0">
                                    <a:solidFill>
                                      <a:schemeClr val="bg1"/>
                                    </a:solidFill>
                                  </a:endParaRPr>
                                </a:p>
                              </p:txBody>
                            </p:sp>
                            <p:sp>
                              <p:nvSpPr>
                                <p:cNvPr id="15" name="Rechteck 180"/>
                                <p:cNvSpPr/>
                                <p:nvPr/>
                              </p:nvSpPr>
                              <p:spPr bwMode="gray">
                                <a:xfrm>
                                  <a:off x="1784507" y="1845819"/>
                                  <a:ext cx="3668247" cy="118583"/>
                                </a:xfrm>
                                <a:prstGeom prst="rect">
                                  <a:avLst/>
                                </a:prstGeom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n w="12700">
                                  <a:noFill/>
                                  <a:round/>
                                  <a:headEnd/>
                                  <a:tailEnd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 sz="1400"/>
                                </a:p>
                              </p:txBody>
                            </p:sp>
                            <p:sp>
                              <p:nvSpPr>
                                <p:cNvPr id="16" name="Rechteck 182"/>
                                <p:cNvSpPr/>
                                <p:nvPr/>
                              </p:nvSpPr>
                              <p:spPr bwMode="gray">
                                <a:xfrm>
                                  <a:off x="1784507" y="1608649"/>
                                  <a:ext cx="3668247" cy="118583"/>
                                </a:xfrm>
                                <a:prstGeom prst="rect">
                                  <a:avLst/>
                                </a:prstGeom>
                                <a:solidFill>
                                  <a:schemeClr val="bg1">
                                    <a:lumMod val="75000"/>
                                  </a:schemeClr>
                                </a:solidFill>
                                <a:ln w="12700">
                                  <a:noFill/>
                                  <a:round/>
                                  <a:headEnd/>
                                  <a:tailEnd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endParaRPr lang="en-US" sz="1400"/>
                                </a:p>
                              </p:txBody>
                            </p:sp>
                            <p:sp>
                              <p:nvSpPr>
                                <p:cNvPr id="17" name="Rechteck 183"/>
                                <p:cNvSpPr/>
                                <p:nvPr/>
                              </p:nvSpPr>
                              <p:spPr bwMode="gray">
                                <a:xfrm>
                                  <a:off x="1784839" y="1608649"/>
                                  <a:ext cx="1335463" cy="118583"/>
                                </a:xfrm>
                                <a:prstGeom prst="rect">
                                  <a:avLst/>
                                </a:prstGeom>
                                <a:solidFill>
                                  <a:schemeClr val="tx2"/>
                                </a:solidFill>
                                <a:ln w="12700">
                                  <a:noFill/>
                                  <a:round/>
                                  <a:headEnd/>
                                  <a:tailEnd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pPr algn="ctr"/>
                                  <a:r>
                                    <a:rPr lang="en-US" sz="1400" dirty="0" smtClean="0">
                                      <a:solidFill>
                                        <a:schemeClr val="bg1"/>
                                      </a:solidFill>
                                    </a:rPr>
                                    <a:t>2 </a:t>
                                  </a:r>
                                  <a:r>
                                    <a:rPr lang="ru-RU" sz="1400" dirty="0" smtClean="0">
                                      <a:solidFill>
                                        <a:schemeClr val="bg1"/>
                                      </a:solidFill>
                                    </a:rPr>
                                    <a:t>недели в среднем</a:t>
                                  </a:r>
                                  <a:r>
                                    <a:rPr lang="en-US" sz="1400" dirty="0" smtClean="0">
                                      <a:solidFill>
                                        <a:schemeClr val="bg1"/>
                                      </a:solidFill>
                                    </a:rPr>
                                    <a:t> </a:t>
                                  </a:r>
                                  <a:endParaRPr lang="en-US" sz="1400" dirty="0">
                                    <a:solidFill>
                                      <a:schemeClr val="bg1"/>
                                    </a:solidFill>
                                  </a:endParaRPr>
                                </a:p>
                              </p:txBody>
                            </p:sp>
                          </p:grpSp>
                          <p:sp>
                            <p:nvSpPr>
                              <p:cNvPr id="24" name="Textfeld 171"/>
                              <p:cNvSpPr txBox="1"/>
                              <p:nvPr/>
                            </p:nvSpPr>
                            <p:spPr bwMode="gray">
                              <a:xfrm>
                                <a:off x="4561635" y="4182936"/>
                                <a:ext cx="648000" cy="162000"/>
                              </a:xfrm>
                              <a:prstGeom prst="rect">
                                <a:avLst/>
                              </a:prstGeom>
                              <a:noFill/>
                            </p:spPr>
                            <p:txBody>
                              <a:bodyPr wrap="square" lIns="0" tIns="0" rIns="0" bIns="0" rtlCol="0" anchor="ctr" anchorCtr="0">
                                <a:noAutofit/>
                              </a:bodyPr>
                              <a:lstStyle/>
                              <a:p>
                                <a:pPr lvl="0" algn="ctr">
                                  <a:spcAft>
                                    <a:spcPts val="600"/>
                                  </a:spcAft>
                                </a:pPr>
                                <a:r>
                                  <a:rPr lang="uk-UA" sz="1400" dirty="0" err="1">
                                    <a:solidFill>
                                      <a:prstClr val="black"/>
                                    </a:solidFill>
                                  </a:rPr>
                                  <a:t>С</a:t>
                                </a:r>
                                <a:r>
                                  <a:rPr lang="uk-UA" sz="1400" dirty="0" err="1" smtClean="0">
                                    <a:solidFill>
                                      <a:prstClr val="black"/>
                                    </a:solidFill>
                                  </a:rPr>
                                  <a:t>лаб</a:t>
                                </a:r>
                                <a:r>
                                  <a:rPr lang="ru-RU" sz="1400" dirty="0" err="1" smtClean="0">
                                    <a:solidFill>
                                      <a:prstClr val="black"/>
                                    </a:solidFill>
                                  </a:rPr>
                                  <a:t>ый</a:t>
                                </a:r>
                                <a:endParaRPr lang="en-US" sz="1400" dirty="0">
                                  <a:solidFill>
                                    <a:prstClr val="black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25" name="Textfeld 172"/>
                              <p:cNvSpPr txBox="1"/>
                              <p:nvPr/>
                            </p:nvSpPr>
                            <p:spPr bwMode="gray">
                              <a:xfrm>
                                <a:off x="5591098" y="4189660"/>
                                <a:ext cx="648000" cy="162000"/>
                              </a:xfrm>
                              <a:prstGeom prst="rect">
                                <a:avLst/>
                              </a:prstGeom>
                              <a:noFill/>
                            </p:spPr>
                            <p:txBody>
                              <a:bodyPr wrap="square" lIns="0" tIns="0" rIns="0" bIns="0" rtlCol="0" anchor="ctr" anchorCtr="0">
                                <a:noAutofit/>
                              </a:bodyPr>
                              <a:lstStyle/>
                              <a:p>
                                <a:pPr lvl="0" algn="ctr">
                                  <a:spcAft>
                                    <a:spcPts val="600"/>
                                  </a:spcAft>
                                </a:pPr>
                                <a:r>
                                  <a:rPr lang="ru-RU" sz="1400" dirty="0">
                                    <a:solidFill>
                                      <a:prstClr val="black"/>
                                    </a:solidFill>
                                  </a:rPr>
                                  <a:t>С</a:t>
                                </a:r>
                                <a:r>
                                  <a:rPr lang="ru-RU" sz="1400" dirty="0" smtClean="0">
                                    <a:solidFill>
                                      <a:prstClr val="black"/>
                                    </a:solidFill>
                                  </a:rPr>
                                  <a:t>редний</a:t>
                                </a:r>
                                <a:endParaRPr lang="en-US" sz="1400" dirty="0">
                                  <a:solidFill>
                                    <a:prstClr val="black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27" name="Textfeld 174"/>
                              <p:cNvSpPr txBox="1"/>
                              <p:nvPr/>
                            </p:nvSpPr>
                            <p:spPr bwMode="gray">
                              <a:xfrm>
                                <a:off x="6628506" y="4198277"/>
                                <a:ext cx="648000" cy="162000"/>
                              </a:xfrm>
                              <a:prstGeom prst="rect">
                                <a:avLst/>
                              </a:prstGeom>
                              <a:noFill/>
                            </p:spPr>
                            <p:txBody>
                              <a:bodyPr wrap="square" lIns="0" tIns="0" rIns="0" bIns="0" rtlCol="0" anchor="ctr" anchorCtr="0">
                                <a:noAutofit/>
                              </a:bodyPr>
                              <a:lstStyle/>
                              <a:p>
                                <a:pPr lvl="0" algn="ctr">
                                  <a:spcAft>
                                    <a:spcPts val="600"/>
                                  </a:spcAft>
                                </a:pPr>
                                <a:r>
                                  <a:rPr lang="ru-RU" sz="1400" dirty="0">
                                    <a:solidFill>
                                      <a:prstClr val="black"/>
                                    </a:solidFill>
                                  </a:rPr>
                                  <a:t>С</a:t>
                                </a:r>
                                <a:r>
                                  <a:rPr lang="ru-RU" sz="1400" dirty="0" smtClean="0">
                                    <a:solidFill>
                                      <a:prstClr val="black"/>
                                    </a:solidFill>
                                  </a:rPr>
                                  <a:t>ильный</a:t>
                                </a:r>
                                <a:endParaRPr lang="en-US" sz="1400" dirty="0">
                                  <a:solidFill>
                                    <a:prstClr val="black"/>
                                  </a:solidFill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35" name="Textfeld 184"/>
                            <p:cNvSpPr txBox="1"/>
                            <p:nvPr/>
                          </p:nvSpPr>
                          <p:spPr bwMode="gray">
                            <a:xfrm>
                              <a:off x="3301241" y="4213827"/>
                              <a:ext cx="1675139" cy="178295"/>
                            </a:xfrm>
                            <a:prstGeom prst="rect">
                              <a:avLst/>
                            </a:prstGeom>
                            <a:noFill/>
                          </p:spPr>
                          <p:txBody>
                            <a:bodyPr wrap="square" lIns="144000" tIns="0" rIns="108000" bIns="0" rtlCol="0" anchor="ctr" anchorCtr="0">
                              <a:noAutofit/>
                            </a:bodyPr>
                            <a:lstStyle>
                              <a:defPPr>
                                <a:defRPr lang="de-DE"/>
                              </a:defPPr>
                              <a:lvl1pPr lvl="0" algn="ctr">
                                <a:spcAft>
                                  <a:spcPts val="600"/>
                                </a:spcAft>
                                <a:defRPr sz="1200">
                                  <a:solidFill>
                                    <a:prstClr val="black"/>
                                  </a:solidFill>
                                </a:defRPr>
                              </a:lvl1pPr>
                            </a:lstStyle>
                            <a:p>
                              <a:endParaRPr lang="en-US" sz="1400" b="1" dirty="0" smtClean="0"/>
                            </a:p>
                            <a:p>
                              <a:r>
                                <a:rPr lang="ru-RU" sz="1400" dirty="0" smtClean="0"/>
                                <a:t>Крупная бытовая техника</a:t>
                              </a:r>
                              <a:endParaRPr lang="en-US" sz="1400" dirty="0"/>
                            </a:p>
                            <a:p>
                              <a:endParaRPr lang="en-US" sz="1400" b="1" dirty="0"/>
                            </a:p>
                          </p:txBody>
                        </p:sp>
                      </p:grpSp>
                      <p:sp>
                        <p:nvSpPr>
                          <p:cNvPr id="37" name="Textfeld 184"/>
                          <p:cNvSpPr txBox="1"/>
                          <p:nvPr/>
                        </p:nvSpPr>
                        <p:spPr bwMode="gray">
                          <a:xfrm>
                            <a:off x="3343853" y="3942733"/>
                            <a:ext cx="1531551" cy="178295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square" lIns="144000" tIns="0" rIns="108000" bIns="0" rtlCol="0" anchor="ctr" anchorCtr="0">
                            <a:noAutofit/>
                          </a:bodyPr>
                          <a:lstStyle>
                            <a:defPPr>
                              <a:defRPr lang="de-DE"/>
                            </a:defPPr>
                            <a:lvl1pPr lvl="0" algn="ctr">
                              <a:spcAft>
                                <a:spcPts val="600"/>
                              </a:spcAft>
                              <a:defRPr sz="1200">
                                <a:solidFill>
                                  <a:prstClr val="black"/>
                                </a:solidFill>
                              </a:defRPr>
                            </a:lvl1pPr>
                          </a:lstStyle>
                          <a:p>
                            <a:r>
                              <a:rPr lang="ru-RU" sz="1400" dirty="0" smtClean="0"/>
                              <a:t>Малая бытовая техника</a:t>
                            </a:r>
                            <a:endParaRPr lang="en-US" sz="1400" dirty="0"/>
                          </a:p>
                        </p:txBody>
                      </p:sp>
                    </p:grpSp>
                    <p:sp>
                      <p:nvSpPr>
                        <p:cNvPr id="39" name="Textfeld 184"/>
                        <p:cNvSpPr txBox="1"/>
                        <p:nvPr/>
                      </p:nvSpPr>
                      <p:spPr bwMode="gray">
                        <a:xfrm>
                          <a:off x="3635896" y="3645370"/>
                          <a:ext cx="1308375" cy="178295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square" lIns="144000" tIns="0" rIns="108000" bIns="0" rtlCol="0" anchor="ctr" anchorCtr="0">
                          <a:noAutofit/>
                        </a:bodyPr>
                        <a:lstStyle>
                          <a:defPPr>
                            <a:defRPr lang="de-DE"/>
                          </a:defPPr>
                          <a:lvl1pPr lvl="0" algn="ctr">
                            <a:spcAft>
                              <a:spcPts val="600"/>
                            </a:spcAft>
                            <a:defRPr sz="1200">
                              <a:solidFill>
                                <a:prstClr val="black"/>
                              </a:solidFill>
                            </a:defRPr>
                          </a:lvl1pPr>
                        </a:lstStyle>
                        <a:p>
                          <a:r>
                            <a:rPr lang="ru-RU" sz="1400" dirty="0" smtClean="0"/>
                            <a:t>Телевизоры</a:t>
                          </a:r>
                          <a:endParaRPr lang="en-US" sz="1400" dirty="0"/>
                        </a:p>
                      </p:txBody>
                    </p:sp>
                  </p:grpSp>
                  <p:sp>
                    <p:nvSpPr>
                      <p:cNvPr id="41" name="Textfeld 184"/>
                      <p:cNvSpPr txBox="1"/>
                      <p:nvPr/>
                    </p:nvSpPr>
                    <p:spPr bwMode="gray">
                      <a:xfrm>
                        <a:off x="3429147" y="3357365"/>
                        <a:ext cx="1432099" cy="178295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144000" tIns="0" rIns="108000" bIns="0" rtlCol="0" anchor="ctr" anchorCtr="0">
                        <a:noAutofit/>
                      </a:bodyPr>
                      <a:lstStyle>
                        <a:defPPr>
                          <a:defRPr lang="de-DE"/>
                        </a:defPPr>
                        <a:lvl1pPr lvl="0" algn="ctr">
                          <a:spcAft>
                            <a:spcPts val="600"/>
                          </a:spcAft>
                          <a:defRPr sz="1200">
                            <a:solidFill>
                              <a:prstClr val="black"/>
                            </a:solidFill>
                          </a:defRPr>
                        </a:lvl1pPr>
                      </a:lstStyle>
                      <a:p>
                        <a:r>
                          <a:rPr lang="ru-RU" sz="1400" dirty="0" smtClean="0"/>
                          <a:t>Телеком-оборудование</a:t>
                        </a:r>
                        <a:endParaRPr lang="en-US" sz="1400" dirty="0"/>
                      </a:p>
                    </p:txBody>
                  </p:sp>
                </p:grpSp>
              </p:grpSp>
              <p:sp>
                <p:nvSpPr>
                  <p:cNvPr id="49" name="Rechteck 181"/>
                  <p:cNvSpPr/>
                  <p:nvPr/>
                </p:nvSpPr>
                <p:spPr bwMode="gray">
                  <a:xfrm>
                    <a:off x="4908579" y="3531408"/>
                    <a:ext cx="1825866" cy="144000"/>
                  </a:xfrm>
                  <a:prstGeom prst="rect">
                    <a:avLst/>
                  </a:prstGeom>
                  <a:solidFill>
                    <a:srgbClr val="00B0F0"/>
                  </a:solidFill>
                  <a:ln w="12700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r>
                      <a:rPr lang="en-US" sz="1400" dirty="0" smtClean="0">
                        <a:solidFill>
                          <a:schemeClr val="bg1"/>
                        </a:solidFill>
                      </a:rPr>
                      <a:t>2-3 </a:t>
                    </a:r>
                    <a:r>
                      <a:rPr lang="ru-RU" sz="1400" dirty="0" smtClean="0">
                        <a:solidFill>
                          <a:schemeClr val="bg1"/>
                        </a:solidFill>
                      </a:rPr>
                      <a:t>недели</a:t>
                    </a:r>
                    <a:endParaRPr lang="en-US" sz="1400" dirty="0">
                      <a:solidFill>
                        <a:schemeClr val="bg1"/>
                      </a:solidFill>
                    </a:endParaRPr>
                  </a:p>
                </p:txBody>
              </p:sp>
            </p:grpSp>
          </p:grpSp>
        </p:grpSp>
      </p:grpSp>
      <p:sp>
        <p:nvSpPr>
          <p:cNvPr id="62" name="TextBox 61"/>
          <p:cNvSpPr txBox="1"/>
          <p:nvPr/>
        </p:nvSpPr>
        <p:spPr>
          <a:xfrm>
            <a:off x="107504" y="1028733"/>
            <a:ext cx="8928992" cy="5760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Краткосрочный эффект на продажи</a:t>
            </a:r>
          </a:p>
        </p:txBody>
      </p:sp>
      <p:sp>
        <p:nvSpPr>
          <p:cNvPr id="43" name="Text Placeholder 2"/>
          <p:cNvSpPr txBox="1">
            <a:spLocks/>
          </p:cNvSpPr>
          <p:nvPr/>
        </p:nvSpPr>
        <p:spPr bwMode="gray">
          <a:xfrm>
            <a:off x="323850" y="6380968"/>
            <a:ext cx="8496300" cy="14446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i="1" dirty="0"/>
              <a:t>Источник: Р</a:t>
            </a:r>
            <a:r>
              <a:rPr lang="ru-RU" sz="1100" i="1" dirty="0" smtClean="0"/>
              <a:t>озничная панель </a:t>
            </a:r>
            <a:r>
              <a:rPr lang="en-US" sz="1100" i="1" dirty="0" smtClean="0"/>
              <a:t>GfK </a:t>
            </a:r>
            <a:r>
              <a:rPr lang="en-US" sz="1100" i="1" dirty="0"/>
              <a:t>Retail and </a:t>
            </a:r>
            <a:r>
              <a:rPr lang="en-US" sz="1100" i="1" dirty="0" smtClean="0"/>
              <a:t>Technology</a:t>
            </a:r>
            <a:endParaRPr lang="en-US" sz="1100" i="1" dirty="0"/>
          </a:p>
        </p:txBody>
      </p:sp>
      <p:sp>
        <p:nvSpPr>
          <p:cNvPr id="4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3850" y="260648"/>
            <a:ext cx="7848550" cy="647402"/>
          </a:xfrm>
          <a:prstGeom prst="rect">
            <a:avLst/>
          </a:prstGeom>
          <a:extLst/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Влияние девальвации на примере рынка </a:t>
            </a:r>
            <a:r>
              <a:rPr lang="ru-RU" dirty="0" err="1" smtClean="0"/>
              <a:t>БТиЭ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6181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97" name="Rectangle 5"/>
          <p:cNvSpPr>
            <a:spLocks noChangeArrowheads="1"/>
          </p:cNvSpPr>
          <p:nvPr/>
        </p:nvSpPr>
        <p:spPr bwMode="gray">
          <a:xfrm>
            <a:off x="647514" y="1052670"/>
            <a:ext cx="8171999" cy="681795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ru-RU" noProof="1">
                <a:latin typeface="Arial" pitchFamily="34" charset="0"/>
                <a:cs typeface="Arial" pitchFamily="34" charset="0"/>
              </a:rPr>
              <a:t>Текущая ситуация негативно отражается на благосостоянии потребителей, и потребитель это уже почувствовал</a:t>
            </a:r>
            <a:endParaRPr lang="en-US" noProof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251510" y="1006691"/>
            <a:ext cx="792000" cy="792000"/>
            <a:chOff x="251520" y="1628870"/>
            <a:chExt cx="864000" cy="864000"/>
          </a:xfrm>
        </p:grpSpPr>
        <p:sp>
          <p:nvSpPr>
            <p:cNvPr id="14" name="Ellipse 13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40" name="Group 25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1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2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171" name="Rectangle 5"/>
          <p:cNvSpPr>
            <a:spLocks noChangeArrowheads="1"/>
          </p:cNvSpPr>
          <p:nvPr/>
        </p:nvSpPr>
        <p:spPr bwMode="gray">
          <a:xfrm>
            <a:off x="647513" y="1801345"/>
            <a:ext cx="8171360" cy="681795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ru-RU" noProof="1">
                <a:latin typeface="Arial" pitchFamily="34" charset="0"/>
                <a:cs typeface="Arial" pitchFamily="34" charset="0"/>
              </a:rPr>
              <a:t>В 2014 доля затрат на продукты питания и товары первой необходимости выросла, и будет расти дальше в 2015</a:t>
            </a:r>
            <a:endParaRPr lang="en-US" noProof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2" name="Gruppieren 171"/>
          <p:cNvGrpSpPr/>
          <p:nvPr/>
        </p:nvGrpSpPr>
        <p:grpSpPr bwMode="gray">
          <a:xfrm>
            <a:off x="251069" y="1801346"/>
            <a:ext cx="792000" cy="792000"/>
            <a:chOff x="251520" y="1628870"/>
            <a:chExt cx="864000" cy="864000"/>
          </a:xfrm>
        </p:grpSpPr>
        <p:sp>
          <p:nvSpPr>
            <p:cNvPr id="173" name="Ellipse 172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74" name="Group 25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75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76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183" name="Rectangle 5"/>
          <p:cNvSpPr>
            <a:spLocks noChangeArrowheads="1"/>
          </p:cNvSpPr>
          <p:nvPr/>
        </p:nvSpPr>
        <p:spPr bwMode="gray">
          <a:xfrm>
            <a:off x="647512" y="2531177"/>
            <a:ext cx="8169771" cy="835338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ru-RU" noProof="1">
                <a:latin typeface="Arial" pitchFamily="34" charset="0"/>
                <a:cs typeface="Arial" pitchFamily="34" charset="0"/>
              </a:rPr>
              <a:t>Потребитель рациональный: больше анализирует текущую ситуацию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и </a:t>
            </a:r>
            <a:r>
              <a:rPr lang="ru-RU" noProof="1">
                <a:latin typeface="Arial" pitchFamily="34" charset="0"/>
                <a:cs typeface="Arial" pitchFamily="34" charset="0"/>
              </a:rPr>
              <a:t>тщательно делает свой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выбор. Переносит привычки из онлайн-шоппинга в традиционные магазины</a:t>
            </a:r>
            <a:endParaRPr lang="en-US" noProof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4" name="Gruppieren 183"/>
          <p:cNvGrpSpPr/>
          <p:nvPr/>
        </p:nvGrpSpPr>
        <p:grpSpPr bwMode="gray">
          <a:xfrm>
            <a:off x="259712" y="2502395"/>
            <a:ext cx="792000" cy="792000"/>
            <a:chOff x="251520" y="1628870"/>
            <a:chExt cx="864000" cy="864000"/>
          </a:xfrm>
        </p:grpSpPr>
        <p:sp>
          <p:nvSpPr>
            <p:cNvPr id="185" name="Ellipse 184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86" name="Group 25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87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88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189" name="Rectangle 5"/>
          <p:cNvSpPr>
            <a:spLocks noChangeArrowheads="1"/>
          </p:cNvSpPr>
          <p:nvPr/>
        </p:nvSpPr>
        <p:spPr bwMode="gray">
          <a:xfrm>
            <a:off x="647514" y="3419475"/>
            <a:ext cx="8171999" cy="681795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ru-RU" noProof="1" smtClean="0">
                <a:latin typeface="Arial" pitchFamily="34" charset="0"/>
                <a:cs typeface="Arial" pitchFamily="34" charset="0"/>
              </a:rPr>
              <a:t>Рынок FMCG: отказ от покупки или сокращение трат на категории/марки, которые вторичны или потеряли ценность</a:t>
            </a:r>
            <a:endParaRPr lang="en-US" noProof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0" name="Gruppieren 189"/>
          <p:cNvGrpSpPr/>
          <p:nvPr/>
        </p:nvGrpSpPr>
        <p:grpSpPr bwMode="gray">
          <a:xfrm>
            <a:off x="249746" y="3366515"/>
            <a:ext cx="792000" cy="792000"/>
            <a:chOff x="251520" y="1628870"/>
            <a:chExt cx="864000" cy="864000"/>
          </a:xfrm>
        </p:grpSpPr>
        <p:sp>
          <p:nvSpPr>
            <p:cNvPr id="191" name="Ellipse 190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192" name="Group 25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93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194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195" name="Rectangle 5"/>
          <p:cNvSpPr>
            <a:spLocks noChangeArrowheads="1"/>
          </p:cNvSpPr>
          <p:nvPr/>
        </p:nvSpPr>
        <p:spPr bwMode="gray">
          <a:xfrm>
            <a:off x="649608" y="4141546"/>
            <a:ext cx="8172000" cy="645914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ru-RU" noProof="1">
                <a:latin typeface="Arial" pitchFamily="34" charset="0"/>
                <a:cs typeface="Arial" pitchFamily="34" charset="0"/>
              </a:rPr>
              <a:t>Рынок БТиЭ: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на этом рынке бытовая техника – более </a:t>
            </a:r>
            <a:r>
              <a:rPr lang="ru-RU" noProof="1">
                <a:latin typeface="Arial" pitchFamily="34" charset="0"/>
                <a:cs typeface="Arial" pitchFamily="34" charset="0"/>
              </a:rPr>
              <a:t>стабильный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сектор, крупная бытовая техника – как инвестиция</a:t>
            </a:r>
            <a:endParaRPr lang="en-US" noProof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3" name="Gruppieren 189"/>
          <p:cNvGrpSpPr/>
          <p:nvPr/>
        </p:nvGrpSpPr>
        <p:grpSpPr bwMode="gray">
          <a:xfrm>
            <a:off x="251400" y="4109855"/>
            <a:ext cx="792000" cy="792000"/>
            <a:chOff x="251520" y="1628870"/>
            <a:chExt cx="864000" cy="864000"/>
          </a:xfrm>
        </p:grpSpPr>
        <p:sp>
          <p:nvSpPr>
            <p:cNvPr id="34" name="Ellipse 190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35" name="Group 2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6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38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39" name="Rectangle 5"/>
          <p:cNvSpPr>
            <a:spLocks noChangeArrowheads="1"/>
          </p:cNvSpPr>
          <p:nvPr/>
        </p:nvSpPr>
        <p:spPr bwMode="gray">
          <a:xfrm>
            <a:off x="659133" y="4863961"/>
            <a:ext cx="8172000" cy="696668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ru-RU" noProof="1">
                <a:latin typeface="Arial" pitchFamily="34" charset="0"/>
                <a:cs typeface="Arial" pitchFamily="34" charset="0"/>
              </a:rPr>
              <a:t>Рынок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интернет-торговли</a:t>
            </a:r>
            <a:r>
              <a:rPr lang="ru-RU" noProof="1">
                <a:latin typeface="Arial" pitchFamily="34" charset="0"/>
                <a:cs typeface="Arial" pitchFamily="34" charset="0"/>
              </a:rPr>
              <a:t>: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ситуация изменилась согласно общим экономическим тенденциям</a:t>
            </a:r>
            <a:endParaRPr lang="en-US" noProof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3" name="Gruppieren 189"/>
          <p:cNvGrpSpPr/>
          <p:nvPr/>
        </p:nvGrpSpPr>
        <p:grpSpPr bwMode="gray">
          <a:xfrm>
            <a:off x="260925" y="4878835"/>
            <a:ext cx="792000" cy="792000"/>
            <a:chOff x="251520" y="1628870"/>
            <a:chExt cx="864000" cy="864000"/>
          </a:xfrm>
        </p:grpSpPr>
        <p:sp>
          <p:nvSpPr>
            <p:cNvPr id="44" name="Ellipse 190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45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6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47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  <p:sp>
        <p:nvSpPr>
          <p:cNvPr id="48" name="Заголовок 2"/>
          <p:cNvSpPr txBox="1">
            <a:spLocks/>
          </p:cNvSpPr>
          <p:nvPr/>
        </p:nvSpPr>
        <p:spPr bwMode="gray">
          <a:xfrm>
            <a:off x="323528" y="260648"/>
            <a:ext cx="7813129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 smtClean="0">
                <a:latin typeface="Arial" charset="0"/>
              </a:rPr>
              <a:t>Выводы</a:t>
            </a:r>
            <a:endParaRPr lang="ru-RU" dirty="0">
              <a:latin typeface="Arial" charset="0"/>
            </a:endParaRPr>
          </a:p>
        </p:txBody>
      </p:sp>
      <p:sp>
        <p:nvSpPr>
          <p:cNvPr id="49" name="Rectangle 5"/>
          <p:cNvSpPr>
            <a:spLocks noChangeArrowheads="1"/>
          </p:cNvSpPr>
          <p:nvPr/>
        </p:nvSpPr>
        <p:spPr bwMode="gray">
          <a:xfrm>
            <a:off x="672975" y="5626825"/>
            <a:ext cx="8172000" cy="89860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504000" tIns="46800" rIns="90000" bIns="46800" anchor="ctr"/>
          <a:lstStyle/>
          <a:p>
            <a:pPr>
              <a:spcAft>
                <a:spcPct val="20000"/>
              </a:spcAft>
            </a:pPr>
            <a:r>
              <a:rPr lang="ru-RU" noProof="1">
                <a:latin typeface="Arial" pitchFamily="34" charset="0"/>
                <a:cs typeface="Arial" pitchFamily="34" charset="0"/>
              </a:rPr>
              <a:t>Рынок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интернет-торговли</a:t>
            </a:r>
            <a:r>
              <a:rPr lang="ru-RU" noProof="1">
                <a:latin typeface="Arial" pitchFamily="34" charset="0"/>
                <a:cs typeface="Arial" pitchFamily="34" charset="0"/>
              </a:rPr>
              <a:t>: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пользователи </a:t>
            </a:r>
            <a:r>
              <a:rPr lang="ru-RU" noProof="1">
                <a:latin typeface="Arial" pitchFamily="34" charset="0"/>
                <a:cs typeface="Arial" pitchFamily="34" charset="0"/>
              </a:rPr>
              <a:t>не только выбирают товар с мобильных девайсов, но и начали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покупать </a:t>
            </a:r>
            <a:r>
              <a:rPr lang="ru-RU" noProof="1">
                <a:latin typeface="Arial" pitchFamily="34" charset="0"/>
                <a:cs typeface="Arial" pitchFamily="34" charset="0"/>
              </a:rPr>
              <a:t>с их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помощью. </a:t>
            </a:r>
            <a:r>
              <a:rPr lang="ru-RU" noProof="1">
                <a:latin typeface="Arial" pitchFamily="34" charset="0"/>
                <a:cs typeface="Arial" pitchFamily="34" charset="0"/>
              </a:rPr>
              <a:t>Повышение интереса к покупкам через социальные </a:t>
            </a:r>
            <a:r>
              <a:rPr lang="ru-RU" noProof="1" smtClean="0">
                <a:latin typeface="Arial" pitchFamily="34" charset="0"/>
                <a:cs typeface="Arial" pitchFamily="34" charset="0"/>
              </a:rPr>
              <a:t>сети</a:t>
            </a:r>
            <a:endParaRPr lang="en-US" noProof="1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0" name="Gruppieren 189"/>
          <p:cNvGrpSpPr/>
          <p:nvPr/>
        </p:nvGrpSpPr>
        <p:grpSpPr bwMode="gray">
          <a:xfrm>
            <a:off x="312867" y="5661421"/>
            <a:ext cx="792000" cy="792000"/>
            <a:chOff x="251520" y="1628870"/>
            <a:chExt cx="864000" cy="864000"/>
          </a:xfrm>
        </p:grpSpPr>
        <p:sp>
          <p:nvSpPr>
            <p:cNvPr id="51" name="Ellipse 190"/>
            <p:cNvSpPr/>
            <p:nvPr/>
          </p:nvSpPr>
          <p:spPr bwMode="gray">
            <a:xfrm>
              <a:off x="251520" y="1628870"/>
              <a:ext cx="864000" cy="8640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/>
              <a:endParaRPr lang="en-US" sz="1600" dirty="0" smtClean="0">
                <a:solidFill>
                  <a:schemeClr val="tx1"/>
                </a:solidFill>
                <a:latin typeface="Arial" pitchFamily="34" charset="0"/>
              </a:endParaRPr>
            </a:p>
          </p:txBody>
        </p:sp>
        <p:grpSp>
          <p:nvGrpSpPr>
            <p:cNvPr id="52" name="Group 25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gray">
            <a:xfrm>
              <a:off x="359523" y="1745022"/>
              <a:ext cx="627623" cy="627623"/>
              <a:chOff x="2835" y="1211"/>
              <a:chExt cx="308" cy="30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3" name="Oval 26"/>
              <p:cNvSpPr>
                <a:spLocks noChangeArrowheads="1"/>
              </p:cNvSpPr>
              <p:nvPr/>
            </p:nvSpPr>
            <p:spPr bwMode="gray">
              <a:xfrm>
                <a:off x="2835" y="1211"/>
                <a:ext cx="308" cy="308"/>
              </a:xfrm>
              <a:prstGeom prst="ellipse">
                <a:avLst/>
              </a:prstGeom>
              <a:noFill/>
              <a:ln w="12700" algn="ctr">
                <a:solidFill>
                  <a:schemeClr val="bg2">
                    <a:lumMod val="40000"/>
                    <a:lumOff val="6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72000" tIns="72000" rIns="72000" bIns="72000" anchor="ctr"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  <p:sp>
            <p:nvSpPr>
              <p:cNvPr id="54" name="Freeform 27"/>
              <p:cNvSpPr>
                <a:spLocks/>
              </p:cNvSpPr>
              <p:nvPr/>
            </p:nvSpPr>
            <p:spPr bwMode="gray">
              <a:xfrm>
                <a:off x="2908" y="1280"/>
                <a:ext cx="172" cy="162"/>
              </a:xfrm>
              <a:custGeom>
                <a:avLst/>
                <a:gdLst/>
                <a:ahLst/>
                <a:cxnLst>
                  <a:cxn ang="0">
                    <a:pos x="333" y="0"/>
                  </a:cxn>
                  <a:cxn ang="0">
                    <a:pos x="342" y="12"/>
                  </a:cxn>
                  <a:cxn ang="0">
                    <a:pos x="224" y="135"/>
                  </a:cxn>
                  <a:cxn ang="0">
                    <a:pos x="126" y="290"/>
                  </a:cxn>
                  <a:cxn ang="0">
                    <a:pos x="108" y="302"/>
                  </a:cxn>
                  <a:cxn ang="0">
                    <a:pos x="77" y="326"/>
                  </a:cxn>
                  <a:cxn ang="0">
                    <a:pos x="63" y="287"/>
                  </a:cxn>
                  <a:cxn ang="0">
                    <a:pos x="56" y="271"/>
                  </a:cxn>
                  <a:cxn ang="0">
                    <a:pos x="28" y="220"/>
                  </a:cxn>
                  <a:cxn ang="0">
                    <a:pos x="0" y="198"/>
                  </a:cxn>
                  <a:cxn ang="0">
                    <a:pos x="49" y="170"/>
                  </a:cxn>
                  <a:cxn ang="0">
                    <a:pos x="91" y="222"/>
                  </a:cxn>
                  <a:cxn ang="0">
                    <a:pos x="98" y="239"/>
                  </a:cxn>
                  <a:cxn ang="0">
                    <a:pos x="205" y="102"/>
                  </a:cxn>
                  <a:cxn ang="0">
                    <a:pos x="333" y="0"/>
                  </a:cxn>
                </a:cxnLst>
                <a:rect l="0" t="0" r="r" b="b"/>
                <a:pathLst>
                  <a:path w="342" h="326">
                    <a:moveTo>
                      <a:pt x="333" y="0"/>
                    </a:moveTo>
                    <a:cubicBezTo>
                      <a:pt x="342" y="12"/>
                      <a:pt x="342" y="12"/>
                      <a:pt x="342" y="12"/>
                    </a:cubicBezTo>
                    <a:cubicBezTo>
                      <a:pt x="307" y="39"/>
                      <a:pt x="268" y="79"/>
                      <a:pt x="224" y="135"/>
                    </a:cubicBezTo>
                    <a:cubicBezTo>
                      <a:pt x="181" y="190"/>
                      <a:pt x="149" y="242"/>
                      <a:pt x="126" y="290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92" y="313"/>
                      <a:pt x="82" y="320"/>
                      <a:pt x="77" y="326"/>
                    </a:cubicBezTo>
                    <a:cubicBezTo>
                      <a:pt x="75" y="318"/>
                      <a:pt x="70" y="305"/>
                      <a:pt x="63" y="287"/>
                    </a:cubicBezTo>
                    <a:cubicBezTo>
                      <a:pt x="56" y="271"/>
                      <a:pt x="56" y="271"/>
                      <a:pt x="56" y="271"/>
                    </a:cubicBezTo>
                    <a:cubicBezTo>
                      <a:pt x="46" y="248"/>
                      <a:pt x="37" y="231"/>
                      <a:pt x="28" y="220"/>
                    </a:cubicBezTo>
                    <a:cubicBezTo>
                      <a:pt x="20" y="209"/>
                      <a:pt x="10" y="202"/>
                      <a:pt x="0" y="198"/>
                    </a:cubicBezTo>
                    <a:cubicBezTo>
                      <a:pt x="18" y="179"/>
                      <a:pt x="34" y="170"/>
                      <a:pt x="49" y="170"/>
                    </a:cubicBezTo>
                    <a:cubicBezTo>
                      <a:pt x="61" y="170"/>
                      <a:pt x="75" y="187"/>
                      <a:pt x="91" y="222"/>
                    </a:cubicBezTo>
                    <a:cubicBezTo>
                      <a:pt x="98" y="239"/>
                      <a:pt x="98" y="239"/>
                      <a:pt x="98" y="239"/>
                    </a:cubicBezTo>
                    <a:cubicBezTo>
                      <a:pt x="126" y="192"/>
                      <a:pt x="162" y="146"/>
                      <a:pt x="205" y="102"/>
                    </a:cubicBezTo>
                    <a:cubicBezTo>
                      <a:pt x="249" y="57"/>
                      <a:pt x="292" y="23"/>
                      <a:pt x="33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>
                  <a:latin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462047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" y="4293120"/>
            <a:ext cx="9144000" cy="2016280"/>
          </a:xfrm>
          <a:solidFill>
            <a:srgbClr val="FFFFFF">
              <a:alpha val="79000"/>
            </a:srgbClr>
          </a:solidFill>
        </p:spPr>
        <p:txBody>
          <a:bodyPr lIns="36000" bIns="144000"/>
          <a:lstStyle/>
          <a:p>
            <a:pPr marL="266700">
              <a:tabLst>
                <a:tab pos="8429625" algn="l"/>
              </a:tabLst>
            </a:pPr>
            <a:r>
              <a:rPr lang="ru-RU" sz="3000" cap="none" dirty="0">
                <a:solidFill>
                  <a:schemeClr val="tx2">
                    <a:lumMod val="75000"/>
                  </a:schemeClr>
                </a:solidFill>
              </a:rPr>
              <a:t>Спасибо за внимание!</a:t>
            </a:r>
            <a:br>
              <a:rPr lang="ru-RU" sz="3000" cap="none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3000" cap="none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ru-RU" sz="3000" cap="none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uk-UA" sz="3000" cap="none" dirty="0" err="1">
                <a:solidFill>
                  <a:schemeClr val="tx2">
                    <a:lumMod val="75000"/>
                  </a:schemeClr>
                </a:solidFill>
              </a:rPr>
              <a:t>Дарья</a:t>
            </a:r>
            <a:r>
              <a:rPr lang="uk-UA" sz="3000" cap="none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uk-UA" sz="3000" cap="none" dirty="0" err="1">
                <a:solidFill>
                  <a:schemeClr val="tx2">
                    <a:lumMod val="75000"/>
                  </a:schemeClr>
                </a:solidFill>
              </a:rPr>
              <a:t>Перекосова</a:t>
            </a:r>
            <a:r>
              <a:rPr lang="uk-UA" sz="3000" cap="none" dirty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en-US" sz="3000" cap="none" dirty="0">
                <a:solidFill>
                  <a:schemeClr val="tx2">
                    <a:lumMod val="75000"/>
                  </a:schemeClr>
                </a:solidFill>
              </a:rPr>
              <a:t>GfK Ukraine</a:t>
            </a:r>
            <a:r>
              <a:rPr lang="ru-RU" sz="3000" cap="none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ru-RU" sz="3000" cap="none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en-US" sz="3000" cap="none" dirty="0" smtClean="0">
                <a:solidFill>
                  <a:schemeClr val="tx2">
                    <a:lumMod val="75000"/>
                  </a:schemeClr>
                </a:solidFill>
              </a:rPr>
              <a:t>Darya.Perekosova@gfk.com</a:t>
            </a:r>
            <a:endParaRPr lang="en-US" sz="3000" cap="none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620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23854" y="117227"/>
            <a:ext cx="6335713" cy="647403"/>
          </a:xfrm>
        </p:spPr>
        <p:txBody>
          <a:bodyPr/>
          <a:lstStyle/>
          <a:p>
            <a:r>
              <a:rPr lang="ru-RU" dirty="0" smtClean="0">
                <a:latin typeface="Arial" charset="0"/>
              </a:rPr>
              <a:t>Оценка количества интернет-покупателей*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708163212"/>
              </p:ext>
            </p:extLst>
          </p:nvPr>
        </p:nvGraphicFramePr>
        <p:xfrm>
          <a:off x="4644010" y="2315873"/>
          <a:ext cx="4499990" cy="406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004049" y="1484876"/>
            <a:ext cx="388843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ru-RU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Оценка количества людей, совершающих покупки/ продажи через Интернет (тыс.</a:t>
            </a:r>
            <a:r>
              <a:rPr lang="en-US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чел</a:t>
            </a:r>
            <a:r>
              <a:rPr lang="en-US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ru-RU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uk-UA" b="1" dirty="0" err="1" smtClean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Овал 8"/>
          <p:cNvSpPr/>
          <p:nvPr/>
        </p:nvSpPr>
        <p:spPr bwMode="gray">
          <a:xfrm>
            <a:off x="56445" y="1628750"/>
            <a:ext cx="4494298" cy="4307254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Овал 9"/>
          <p:cNvSpPr/>
          <p:nvPr/>
        </p:nvSpPr>
        <p:spPr bwMode="gray">
          <a:xfrm>
            <a:off x="617930" y="2420860"/>
            <a:ext cx="3481908" cy="352849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48371" y="2784356"/>
            <a:ext cx="244998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3% населения Украины регулярно пользуются Интернет*</a:t>
            </a:r>
            <a:endParaRPr lang="uk-UA" b="1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Овал 11"/>
          <p:cNvSpPr/>
          <p:nvPr/>
        </p:nvSpPr>
        <p:spPr bwMode="gray">
          <a:xfrm>
            <a:off x="1250415" y="3847925"/>
            <a:ext cx="2045893" cy="2101425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74129" y="4352251"/>
            <a:ext cx="219846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Из них 1</a:t>
            </a:r>
            <a:r>
              <a:rPr lang="ru-R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</a:t>
            </a:r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% совершают покупки/ продажи через Интернет</a:t>
            </a:r>
            <a:endParaRPr lang="uk-UA" b="1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51400" y="6335830"/>
            <a:ext cx="642076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</a:t>
            </a:r>
            <a:r>
              <a:rPr lang="en-US" sz="1100" i="1" dirty="0" smtClean="0"/>
              <a:t> Omnibus</a:t>
            </a:r>
            <a:r>
              <a:rPr lang="ru-RU" sz="1100" i="1" dirty="0" smtClean="0"/>
              <a:t> </a:t>
            </a:r>
            <a:r>
              <a:rPr lang="en-US" sz="1100" i="1" dirty="0"/>
              <a:t>G</a:t>
            </a:r>
            <a:r>
              <a:rPr lang="en-US" sz="1100" i="1" dirty="0" smtClean="0"/>
              <a:t>fK Ukraine</a:t>
            </a:r>
            <a:r>
              <a:rPr lang="ru-RU" sz="1100" i="1" dirty="0" smtClean="0"/>
              <a:t>, вся Украина, 16+</a:t>
            </a:r>
            <a:endParaRPr lang="ru-RU" sz="1100" i="1" cap="all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23410" y="791060"/>
            <a:ext cx="368426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*Без учета населения Крыма и зоны АТО</a:t>
            </a:r>
            <a:endParaRPr lang="ru-RU" sz="1100" i="1" cap="all" dirty="0"/>
          </a:p>
        </p:txBody>
      </p:sp>
    </p:spTree>
    <p:extLst>
      <p:ext uri="{BB962C8B-B14F-4D97-AF65-F5344CB8AC3E}">
        <p14:creationId xmlns:p14="http://schemas.microsoft.com/office/powerpoint/2010/main" val="2402776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ми онлайн площадками пользуются </a:t>
            </a:r>
            <a:r>
              <a:rPr lang="ru-RU" dirty="0" smtClean="0"/>
              <a:t>интернет-пользователи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157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dirty="0"/>
              <a:t>Методология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pPr algn="r"/>
            <a:fld id="{1BDBE1E8-50F2-49BA-A952-1CC1DEAA5FBD}" type="slidenum">
              <a:rPr lang="en-US" smtClean="0"/>
              <a:pPr algn="r"/>
              <a:t>7</a:t>
            </a:fld>
            <a:endParaRPr lang="en-US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675028"/>
              </p:ext>
            </p:extLst>
          </p:nvPr>
        </p:nvGraphicFramePr>
        <p:xfrm>
          <a:off x="294835" y="1223100"/>
          <a:ext cx="8453745" cy="22779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64287"/>
                <a:gridCol w="5889458"/>
              </a:tblGrid>
              <a:tr h="373690">
                <a:tc>
                  <a:txBody>
                    <a:bodyPr/>
                    <a:lstStyle/>
                    <a:p>
                      <a:r>
                        <a:rPr lang="ru-RU" sz="1600" b="1" noProof="0" dirty="0" smtClean="0">
                          <a:solidFill>
                            <a:schemeClr val="bg1"/>
                          </a:solidFill>
                        </a:rPr>
                        <a:t>Метод</a:t>
                      </a:r>
                      <a:r>
                        <a:rPr lang="ru-RU" sz="1600" b="1" baseline="0" noProof="0" dirty="0" smtClean="0">
                          <a:solidFill>
                            <a:schemeClr val="bg1"/>
                          </a:solidFill>
                        </a:rPr>
                        <a:t> опроса</a:t>
                      </a:r>
                      <a:endParaRPr lang="ru-RU" sz="16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нлайн-опрос с помощью онлайн-панели 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fK Ukraine</a:t>
                      </a:r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325100">
                <a:tc>
                  <a:txBody>
                    <a:bodyPr/>
                    <a:lstStyle/>
                    <a:p>
                      <a:r>
                        <a:rPr lang="ru-RU" sz="1600" b="1" noProof="0" dirty="0" smtClean="0">
                          <a:solidFill>
                            <a:schemeClr val="bg1"/>
                          </a:solidFill>
                        </a:rPr>
                        <a:t>Выборка и особенности проведения</a:t>
                      </a:r>
                      <a:endParaRPr lang="ru-RU" sz="16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олее</a:t>
                      </a:r>
                      <a:r>
                        <a:rPr lang="ru-RU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1000 </a:t>
                      </a:r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нлайн-интервью с пользователями</a:t>
                      </a:r>
                      <a:r>
                        <a:rPr lang="ru-RU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нтернет в возрасте старше 18 лет, включая интервью как с «онлайн-покупателями», так и с «</a:t>
                      </a:r>
                      <a:r>
                        <a:rPr lang="ru-RU" sz="1600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покупателями</a:t>
                      </a:r>
                      <a:r>
                        <a:rPr lang="ru-RU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349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noProof="0" dirty="0" smtClean="0">
                          <a:solidFill>
                            <a:schemeClr val="bg1"/>
                          </a:solidFill>
                        </a:rPr>
                        <a:t>Период проведения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aseline="0" noProof="0" dirty="0" smtClean="0">
                          <a:solidFill>
                            <a:schemeClr val="tx1"/>
                          </a:solidFill>
                        </a:rPr>
                        <a:t>Всего было проведено 3 волны исследования в 2012-2014 годы. </a:t>
                      </a:r>
                      <a:endParaRPr lang="ru-RU" sz="16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6652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95860" y="189237"/>
            <a:ext cx="7848650" cy="647403"/>
          </a:xfrm>
        </p:spPr>
        <p:txBody>
          <a:bodyPr/>
          <a:lstStyle/>
          <a:p>
            <a:r>
              <a:rPr lang="ru-RU" dirty="0"/>
              <a:t>Какими онлайн площадками пользуются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интернет-пользователи</a:t>
            </a:r>
            <a:endParaRPr lang="en-US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994656"/>
              </p:ext>
            </p:extLst>
          </p:nvPr>
        </p:nvGraphicFramePr>
        <p:xfrm>
          <a:off x="611452" y="1541015"/>
          <a:ext cx="7921099" cy="46963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369"/>
                <a:gridCol w="1730422"/>
                <a:gridCol w="1798068"/>
                <a:gridCol w="1728240"/>
              </a:tblGrid>
              <a:tr h="939275">
                <a:tc>
                  <a:txBody>
                    <a:bodyPr/>
                    <a:lstStyle/>
                    <a:p>
                      <a:pPr algn="ctr"/>
                      <a:endParaRPr lang="uk-UA" sz="19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пользователей в 2012</a:t>
                      </a:r>
                      <a:endParaRPr lang="uk-UA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пользователей в 2013</a:t>
                      </a:r>
                      <a:endParaRPr lang="uk-UA" sz="16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пользователей в 2014</a:t>
                      </a:r>
                      <a:endParaRPr lang="uk-UA" sz="16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2"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9392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Торговые площадки и доски объявлений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93927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йс-</a:t>
                      </a:r>
                      <a:r>
                        <a:rPr lang="ru-RU" sz="16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егаторы</a:t>
                      </a:r>
                      <a:endParaRPr lang="ru-RU" sz="16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939275">
                <a:tc>
                  <a:txBody>
                    <a:bodyPr/>
                    <a:lstStyle/>
                    <a:p>
                      <a:pPr algn="ctr"/>
                      <a:r>
                        <a:rPr lang="ru-RU" sz="16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идочные</a:t>
                      </a:r>
                      <a:r>
                        <a:rPr lang="uk-UA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рталы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939275">
                <a:tc>
                  <a:txBody>
                    <a:bodyPr/>
                    <a:lstStyle/>
                    <a:p>
                      <a:pPr algn="ctr"/>
                      <a:r>
                        <a:rPr lang="uk-UA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упки через </a:t>
                      </a:r>
                      <a:r>
                        <a:rPr lang="ru-RU" sz="16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ые</a:t>
                      </a:r>
                      <a:r>
                        <a:rPr lang="uk-UA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ети 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/д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%</a:t>
                      </a:r>
                      <a:endParaRPr lang="uk-UA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65000">
                          <a:schemeClr val="accent2">
                            <a:tint val="37000"/>
                            <a:satMod val="300000"/>
                          </a:schemeClr>
                        </a:gs>
                        <a:gs pos="100000">
                          <a:schemeClr val="accent2">
                            <a:tint val="15000"/>
                            <a:satMod val="350000"/>
                          </a:schemeClr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29" name="Стрелка вниз 28"/>
          <p:cNvSpPr/>
          <p:nvPr/>
        </p:nvSpPr>
        <p:spPr bwMode="gray">
          <a:xfrm rot="10800000">
            <a:off x="6228230" y="2780903"/>
            <a:ext cx="248413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Стрелка вниз 29"/>
          <p:cNvSpPr/>
          <p:nvPr/>
        </p:nvSpPr>
        <p:spPr bwMode="gray">
          <a:xfrm rot="10800000">
            <a:off x="6228230" y="3645023"/>
            <a:ext cx="248413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Стрелка вниз 30"/>
          <p:cNvSpPr/>
          <p:nvPr/>
        </p:nvSpPr>
        <p:spPr bwMode="gray">
          <a:xfrm>
            <a:off x="6228230" y="4653163"/>
            <a:ext cx="248413" cy="360051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23410" y="6335830"/>
            <a:ext cx="759693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i="1" dirty="0" smtClean="0"/>
              <a:t>Источник: синдицированное регулярное исследование онлайн-торговли GfK Ukraine, вся Украина, 2012-2014 </a:t>
            </a:r>
            <a:endParaRPr lang="ru-RU" sz="1100" i="1" cap="all" dirty="0"/>
          </a:p>
        </p:txBody>
      </p:sp>
      <p:sp>
        <p:nvSpPr>
          <p:cNvPr id="8" name="Стрелка вниз 7"/>
          <p:cNvSpPr/>
          <p:nvPr/>
        </p:nvSpPr>
        <p:spPr bwMode="gray">
          <a:xfrm>
            <a:off x="7920348" y="4665563"/>
            <a:ext cx="248413" cy="360051"/>
          </a:xfrm>
          <a:prstGeom prst="downArrow">
            <a:avLst/>
          </a:prstGeom>
          <a:noFill/>
          <a:ln w="34925" cap="sq" algn="ctr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Стрелка вниз 8"/>
          <p:cNvSpPr/>
          <p:nvPr/>
        </p:nvSpPr>
        <p:spPr bwMode="gray">
          <a:xfrm rot="10800000">
            <a:off x="7920348" y="5517283"/>
            <a:ext cx="248413" cy="360051"/>
          </a:xfrm>
          <a:prstGeom prst="downArrow">
            <a:avLst/>
          </a:prstGeom>
          <a:noFill/>
          <a:ln w="34925" cap="sq" algn="ctr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uk-UA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8537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е товары наиболее активно покупают в сети?</a:t>
            </a:r>
          </a:p>
        </p:txBody>
      </p:sp>
    </p:spTree>
    <p:extLst>
      <p:ext uri="{BB962C8B-B14F-4D97-AF65-F5344CB8AC3E}">
        <p14:creationId xmlns:p14="http://schemas.microsoft.com/office/powerpoint/2010/main" val="78040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ireqTFU0SWHbYbHf9v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pxzcRckCKh7Bq5Dis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qSpFp9BUid5UH45Kf9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0iA8Dfk2qG6kV25Nm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sq.IMe0y94yuw88_F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ImcomcPEe1FhnW1sw5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Gwre6bK0CdaY_QEVvA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U2b9GM0G4iyAY6Xuv4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PzBTvsEiQd4tFgzff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Bugs.uLkiuLCQnka2c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qSpFp9BUid5UH45Kf9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0iA8Dfk2qG6kV25Nmp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ImcomcPEe1FhnW1sw5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qSpFp9BUid5UH45Kf9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0iA8Dfk2qG6kV25Nm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sq.IMe0y94yuw88_F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ImcomcPEe1FhnW1sw5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qSpFp9BUid5UH45Kf9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0iA8Dfk2qG6kV25Nm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cYpQF6ZUSN.Gw5c_yj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sq.IMe0y94yuw88_F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ImcomcPEe1FhnW1sw5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qSpFp9BUid5UH45Kf9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0iA8Dfk2qG6kV25Nm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U2b9GM0G4iyAY6Xuv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cYpQF6ZUSN.Gw5c_yj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sq.IMe0y94yuw88_F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ImcomcPEe1FhnW1sw5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qSpFp9BUid5UH45Kf9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0iA8Dfk2qG6kV25Nm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U2b9GM0G4iyAY6Xuv4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ireqTFU0SWHbYbHf9v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PzBTvsEiQd4tFgzffF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cYpQF6ZUSN.Gw5c_yj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sq.IMe0y94yuw88_FS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ImcomcPEe1FhnW1sw5x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qSpFp9BUid5UH45Kf9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0iA8Dfk2qG6kV25Nm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U2b9GM0G4iyAY6Xuv4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Bugs.uLkiuLCQnka2c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pxzcRckCKh7Bq5Dis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Gwre6bK0CdaY_QEVvA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U2b9GM0G4iyAY6Xuv4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Bugs.uLkiuLCQnka2c6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ireqTFU0SWHbYbHf9v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PzBTvsEiQd4tFgzff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cYpQF6ZUSN.Gw5c_yj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sq.IMe0y94yuw88_FS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ImcomcPEe1FhnW1sw5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qSpFp9BUid5UH45Kf9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0iA8Dfk2qG6kV25Nm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U2b9GM0G4iyAY6Xuv4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_tgUIaUk6ypUCqQdvMM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cYpQF6ZUSN.Gw5c_yjp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O_NAAOUKPZPX_2aLp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O_NAAOUKPZPX_2aLp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C2vE.QEkaJ40FjySsA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vO_NAAOUKPZPX_2aLpCg"/>
</p:tagLst>
</file>

<file path=ppt/theme/theme1.xml><?xml version="1.0" encoding="utf-8"?>
<a:theme xmlns:a="http://schemas.openxmlformats.org/drawingml/2006/main" name="GfK Master for PPT 2010 4-3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GfK Master for PPT 2010 4-3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lIns="0" tIns="0" rIns="0" bIns="0" rtlCol="0" anchor="ctr" anchorCtr="0">
        <a:noAutofit/>
      </a:bodyPr>
      <a:lstStyle>
        <a:defPPr>
          <a:lnSpc>
            <a:spcPct val="80000"/>
          </a:lnSpc>
          <a:spcBef>
            <a:spcPct val="0"/>
          </a:spcBef>
          <a:defRPr sz="2000" dirty="0"/>
        </a:defPPr>
      </a:lst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GfK Master for PPT 2010 4-3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GfK">
      <a:dk1>
        <a:sysClr val="windowText" lastClr="000000"/>
      </a:dk1>
      <a:lt1>
        <a:sysClr val="window" lastClr="FFFFFF"/>
      </a:lt1>
      <a:dk2>
        <a:srgbClr val="E95E0F"/>
      </a:dk2>
      <a:lt2>
        <a:srgbClr val="928580"/>
      </a:lt2>
      <a:accent1>
        <a:srgbClr val="E31B19"/>
      </a:accent1>
      <a:accent2>
        <a:srgbClr val="F9B200"/>
      </a:accent2>
      <a:accent3>
        <a:srgbClr val="FFD600"/>
      </a:accent3>
      <a:accent4>
        <a:srgbClr val="A1AF00"/>
      </a:accent4>
      <a:accent5>
        <a:srgbClr val="0087C8"/>
      </a:accent5>
      <a:accent6>
        <a:srgbClr val="004186"/>
      </a:accent6>
      <a:hlink>
        <a:srgbClr val="E95E0F"/>
      </a:hlink>
      <a:folHlink>
        <a:srgbClr val="92858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34</TotalTime>
  <Words>2876</Words>
  <Application>Microsoft Office PowerPoint</Application>
  <PresentationFormat>Экран (4:3)</PresentationFormat>
  <Paragraphs>488</Paragraphs>
  <Slides>42</Slides>
  <Notes>42</Notes>
  <HiddenSlides>6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2</vt:i4>
      </vt:variant>
    </vt:vector>
  </HeadingPairs>
  <TitlesOfParts>
    <vt:vector size="47" baseType="lpstr">
      <vt:lpstr>GfK Master for PPT 2010 4-3</vt:lpstr>
      <vt:lpstr>1_GfK Master for PPT 2010 4-3</vt:lpstr>
      <vt:lpstr>2_GfK Master for PPT 2010 4-3</vt:lpstr>
      <vt:lpstr>think-cell Slide</vt:lpstr>
      <vt:lpstr>Диаграмма</vt:lpstr>
      <vt:lpstr>Что и как украинцы покупают в онлайне и в оффлайне Дарья Перекосова,  старший исследователь GfK Ukraine</vt:lpstr>
      <vt:lpstr>План презентации</vt:lpstr>
      <vt:lpstr>Сколько интернет-пользователей и интернет-покупателей в Украине?</vt:lpstr>
      <vt:lpstr>Количество регулярных интернет-пользователей в  Украине*</vt:lpstr>
      <vt:lpstr>Оценка количества интернет-покупателей*</vt:lpstr>
      <vt:lpstr>Какими онлайн площадками пользуются интернет-пользователи?</vt:lpstr>
      <vt:lpstr>Методология</vt:lpstr>
      <vt:lpstr>Какими онлайн площадками пользуются  интернет-пользователи</vt:lpstr>
      <vt:lpstr>Какие товары наиболее активно покупают в сети?</vt:lpstr>
      <vt:lpstr>ТОП-5 товаров, которые приобретают в  интернет-магазинах</vt:lpstr>
      <vt:lpstr>Категории товаров, которые украинцы покупали через  интернет: динамика доли покупателей 2014 к 2013 году</vt:lpstr>
      <vt:lpstr>Какие товары не планируют покупать онлайн и почему?</vt:lpstr>
      <vt:lpstr>Барьеров все меньше и меньше: продолжает расти количество покупаемых категорий</vt:lpstr>
      <vt:lpstr>Что и почему покупают за границей?</vt:lpstr>
      <vt:lpstr>Презентация PowerPoint</vt:lpstr>
      <vt:lpstr>Презентация PowerPoint</vt:lpstr>
      <vt:lpstr>Как украинцы получают товары, заказанные в интернете?</vt:lpstr>
      <vt:lpstr>Презентация PowerPoint</vt:lpstr>
      <vt:lpstr>Какие устройства используют при выборе и покупке товаров?</vt:lpstr>
      <vt:lpstr>Какие устройства используют при выборе и покупке  товаров: растет доля покупок с мобильных девайсов</vt:lpstr>
      <vt:lpstr>Как используют мобильный телефон/смартфон в магазинах?</vt:lpstr>
      <vt:lpstr>Презентация PowerPoint</vt:lpstr>
      <vt:lpstr>Украина vs. мир: Когда Вы в магазине, что из следующего Вы обычно делаете с помощью мобильного телефона/смартфона? </vt:lpstr>
      <vt:lpstr>Презентация PowerPoint</vt:lpstr>
      <vt:lpstr>Украина: Что обычно делают с помощью мобильного телефона  в магазине Контактируют с другом или родственником, чтобы  посоветоваться</vt:lpstr>
      <vt:lpstr>Презентация PowerPoint</vt:lpstr>
      <vt:lpstr>Презентация PowerPoint</vt:lpstr>
      <vt:lpstr>Презентация PowerPoint</vt:lpstr>
      <vt:lpstr>Презентация PowerPoint</vt:lpstr>
      <vt:lpstr>Мир: Что обычно делают с помощью мобильного телефона  в магазине Сканируют штрих-коды или QR коды, чтобы получить  более подробную информацию о товарах</vt:lpstr>
      <vt:lpstr>Что происходит на рынке БТиЭ?</vt:lpstr>
      <vt:lpstr>Презентация PowerPoint</vt:lpstr>
      <vt:lpstr>Рынок БТиЭ: небольшое падение в гривнах, большое - в штуках</vt:lpstr>
      <vt:lpstr>Динамика товарооборота рынка БТиЭ</vt:lpstr>
      <vt:lpstr>Q1 2015: объем рынка, доля в товарообороте,  рост к предыдущему периоду</vt:lpstr>
      <vt:lpstr>Высокие цены на фоне валютных колебаний привели к росту показателей в денежном измерении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  Дарья Перекосова, GfK Ukraine Darya.Perekosova@gfk.com</vt:lpstr>
    </vt:vector>
  </TitlesOfParts>
  <Company>Gf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Title of presentation]</dc:title>
  <dc:subject>[Subtitle of presentation]</dc:subject>
  <dc:creator>[GfK Employee]</dc:creator>
  <dc:description>Optimized for MS PowerPoint 2010 (optionally can be used under MS PowerPoint 2007).</dc:description>
  <cp:lastModifiedBy>Admin</cp:lastModifiedBy>
  <cp:revision>684</cp:revision>
  <cp:lastPrinted>2015-05-21T15:13:18Z</cp:lastPrinted>
  <dcterms:created xsi:type="dcterms:W3CDTF">2011-11-05T20:11:32Z</dcterms:created>
  <dcterms:modified xsi:type="dcterms:W3CDTF">2015-05-21T22:36:45Z</dcterms:modified>
</cp:coreProperties>
</file>